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charts/colors1.xml" ContentType="application/vnd.ms-office.chartcolorstyle+xml"/>
  <Override PartName="/ppt/slideLayouts/slideLayout10.xml" ContentType="application/vnd.openxmlformats-officedocument.presentationml.slideLayout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charts/style1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26"/>
  </p:notesMasterIdLst>
  <p:sldIdLst>
    <p:sldId id="313" r:id="rId2"/>
    <p:sldId id="273" r:id="rId3"/>
    <p:sldId id="264" r:id="rId4"/>
    <p:sldId id="269" r:id="rId5"/>
    <p:sldId id="277" r:id="rId6"/>
    <p:sldId id="296" r:id="rId7"/>
    <p:sldId id="299" r:id="rId8"/>
    <p:sldId id="265" r:id="rId9"/>
    <p:sldId id="276" r:id="rId10"/>
    <p:sldId id="301" r:id="rId11"/>
    <p:sldId id="274" r:id="rId12"/>
    <p:sldId id="302" r:id="rId13"/>
    <p:sldId id="266" r:id="rId14"/>
    <p:sldId id="304" r:id="rId15"/>
    <p:sldId id="281" r:id="rId16"/>
    <p:sldId id="289" r:id="rId17"/>
    <p:sldId id="282" r:id="rId18"/>
    <p:sldId id="267" r:id="rId19"/>
    <p:sldId id="278" r:id="rId20"/>
    <p:sldId id="303" r:id="rId21"/>
    <p:sldId id="284" r:id="rId22"/>
    <p:sldId id="308" r:id="rId23"/>
    <p:sldId id="283" r:id="rId24"/>
    <p:sldId id="268" r:id="rId25"/>
  </p:sldIdLst>
  <p:sldSz cx="12192000" cy="6858000"/>
  <p:notesSz cx="6858000" cy="9144000"/>
  <p:embeddedFontLst>
    <p:embeddedFont>
      <p:font typeface="Calibri" pitchFamily="34" charset="0"/>
      <p:regular r:id="rId27"/>
      <p:bold r:id="rId28"/>
      <p:italic r:id="rId29"/>
      <p:boldItalic r:id="rId30"/>
    </p:embeddedFont>
    <p:embeddedFont>
      <p:font typeface="张海山锐谐体" charset="-122"/>
      <p:regular r:id="rId31"/>
    </p:embeddedFont>
    <p:embeddedFont>
      <p:font typeface="Meiryo UI" pitchFamily="34" charset="-128"/>
      <p:regular r:id="rId32"/>
      <p:bold r:id="rId33"/>
      <p:italic r:id="rId34"/>
      <p:boldItalic r:id="rId35"/>
    </p:embeddedFont>
    <p:embeddedFont>
      <p:font typeface="微软雅黑" pitchFamily="34" charset="-122"/>
      <p:regular r:id="rId36"/>
      <p:bold r:id="rId37"/>
    </p:embeddedFont>
  </p:embeddedFont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91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pos="347" userDrawn="1">
          <p15:clr>
            <a:srgbClr val="A4A3A4"/>
          </p15:clr>
        </p15:guide>
        <p15:guide id="7" pos="125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3161C"/>
    <a:srgbClr val="000000"/>
    <a:srgbClr val="333333"/>
    <a:srgbClr val="9A0000"/>
    <a:srgbClr val="4B4B4B"/>
    <a:srgbClr val="A7A7A7"/>
    <a:srgbClr val="3E3E3E"/>
    <a:srgbClr val="C00000"/>
    <a:srgbClr val="B8B8B8"/>
    <a:srgbClr val="73737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74" autoAdjust="0"/>
    <p:restoredTop sz="94660"/>
  </p:normalViewPr>
  <p:slideViewPr>
    <p:cSldViewPr>
      <p:cViewPr>
        <p:scale>
          <a:sx n="66" d="100"/>
          <a:sy n="66" d="100"/>
        </p:scale>
        <p:origin x="-1764" y="-912"/>
      </p:cViewPr>
      <p:guideLst>
        <p:guide orient="horz" pos="2160"/>
        <p:guide orient="horz" pos="391"/>
        <p:guide orient="horz" pos="3974"/>
        <p:guide pos="3840"/>
        <p:guide pos="7333"/>
        <p:guide pos="347"/>
        <p:guide pos="125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5" d="100"/>
        <a:sy n="65" d="100"/>
      </p:scale>
      <p:origin x="0" y="-2292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8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7.fntdata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3.fntdata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___1.xlsx"/><Relationship Id="rId2" Type="http://schemas.openxmlformats.org/officeDocument/2006/relationships/image" Target="../media/image13.png"/><Relationship Id="rId1" Type="http://schemas.openxmlformats.org/officeDocument/2006/relationships/image" Target="../media/image12.png"/><Relationship Id="rId5" Type="http://schemas.microsoft.com/office/2011/relationships/chartStyle" Target="style1.xml"/><Relationship Id="rId4" Type="http://schemas.microsoft.com/office/2011/relationships/chartColorStyle" Target="colors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zh-CN"/>
  <c:chart>
    <c:plotArea>
      <c:layout/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  <a:ln>
              <a:noFill/>
            </a:ln>
            <a:effectLst/>
          </c:spPr>
          <c:pictureOptions>
            <c:pictureFormat val="stack"/>
          </c:pictureOptions>
          <c:cat>
            <c:strRef>
              <c:f>Sheet1!$A$2:$A$4</c:f>
              <c:strCache>
                <c:ptCount val="3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blipFill>
              <a:blip xmlns:r="http://schemas.openxmlformats.org/officeDocument/2006/relationships" r:embed="rId2"/>
              <a:stretch>
                <a:fillRect/>
              </a:stretch>
            </a:blipFill>
            <a:ln>
              <a:noFill/>
            </a:ln>
            <a:effectLst/>
          </c:spPr>
          <c:dPt>
            <c:idx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  <a:ln>
                <a:noFill/>
              </a:ln>
              <a:effectLst/>
            </c:spPr>
            <c:pictureOptions>
              <c:pictureFormat val="stack"/>
            </c:pictureOptions>
          </c:dPt>
          <c:dPt>
            <c:idx val="1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  <a:ln>
                <a:noFill/>
              </a:ln>
              <a:effectLst/>
            </c:spPr>
            <c:pictureOptions>
              <c:pictureFormat val="stack"/>
            </c:pictureOptions>
          </c:dPt>
          <c:dPt>
            <c:idx val="2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  <a:ln>
                <a:noFill/>
              </a:ln>
              <a:effectLst/>
            </c:spPr>
            <c:pictureOptions>
              <c:pictureFormat val="stack"/>
            </c:pictureOptions>
          </c:dPt>
          <c:cat>
            <c:strRef>
              <c:f>Sheet1!$A$2:$A$4</c:f>
              <c:strCache>
                <c:ptCount val="3"/>
                <c:pt idx="0">
                  <c:v>类别 1</c:v>
                </c:pt>
                <c:pt idx="1">
                  <c:v>类别 2</c:v>
                </c:pt>
                <c:pt idx="2">
                  <c:v>类别 3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</c:numCache>
            </c:numRef>
          </c:val>
        </c:ser>
        <c:dLbls/>
        <c:overlap val="-27"/>
        <c:axId val="92711168"/>
        <c:axId val="93013888"/>
      </c:barChart>
      <c:catAx>
        <c:axId val="92711168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93013888"/>
        <c:crosses val="autoZero"/>
        <c:auto val="1"/>
        <c:lblAlgn val="ctr"/>
        <c:lblOffset val="100"/>
      </c:catAx>
      <c:valAx>
        <c:axId val="93013888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92711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6EAF62-6572-43D6-89B5-55773824DB5D}" type="datetimeFigureOut">
              <a:rPr lang="zh-CN" altLang="en-US" smtClean="0"/>
              <a:pPr/>
              <a:t>2015/9/2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755D6A-D711-4E71-85F4-32899B2AA371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360099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9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9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9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9/29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9/29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9/29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9/29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9/29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与标题">
    <p:bg>
      <p:bgPr>
        <a:blipFill dpi="0" rotWithShape="1">
          <a:blip r:embed="rId2" cstate="print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内容与标题">
    <p:bg>
      <p:bgPr>
        <a:blipFill dpi="0" rotWithShape="1">
          <a:blip r:embed="rId2" cstate="print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组合 8"/>
          <p:cNvGrpSpPr/>
          <p:nvPr userDrawn="1"/>
        </p:nvGrpSpPr>
        <p:grpSpPr>
          <a:xfrm>
            <a:off x="10920536" y="5589240"/>
            <a:ext cx="828092" cy="907904"/>
            <a:chOff x="8580276" y="2706921"/>
            <a:chExt cx="1476163" cy="1618435"/>
          </a:xfrm>
        </p:grpSpPr>
        <p:sp>
          <p:nvSpPr>
            <p:cNvPr id="10" name="Freeform 7"/>
            <p:cNvSpPr>
              <a:spLocks noEditPoints="1"/>
            </p:cNvSpPr>
            <p:nvPr/>
          </p:nvSpPr>
          <p:spPr bwMode="auto">
            <a:xfrm>
              <a:off x="8580276" y="2706921"/>
              <a:ext cx="1080248" cy="1618435"/>
            </a:xfrm>
            <a:custGeom>
              <a:avLst/>
              <a:gdLst>
                <a:gd name="T0" fmla="*/ 1698 w 1899"/>
                <a:gd name="T1" fmla="*/ 2844 h 2844"/>
                <a:gd name="T2" fmla="*/ 1542 w 1899"/>
                <a:gd name="T3" fmla="*/ 2534 h 2844"/>
                <a:gd name="T4" fmla="*/ 1215 w 1899"/>
                <a:gd name="T5" fmla="*/ 1897 h 2844"/>
                <a:gd name="T6" fmla="*/ 889 w 1899"/>
                <a:gd name="T7" fmla="*/ 1925 h 2844"/>
                <a:gd name="T8" fmla="*/ 946 w 1899"/>
                <a:gd name="T9" fmla="*/ 2844 h 2844"/>
                <a:gd name="T10" fmla="*/ 372 w 1899"/>
                <a:gd name="T11" fmla="*/ 1673 h 2844"/>
                <a:gd name="T12" fmla="*/ 338 w 1899"/>
                <a:gd name="T13" fmla="*/ 2235 h 2844"/>
                <a:gd name="T14" fmla="*/ 271 w 1899"/>
                <a:gd name="T15" fmla="*/ 2298 h 2844"/>
                <a:gd name="T16" fmla="*/ 347 w 1899"/>
                <a:gd name="T17" fmla="*/ 1360 h 2844"/>
                <a:gd name="T18" fmla="*/ 522 w 1899"/>
                <a:gd name="T19" fmla="*/ 1634 h 2844"/>
                <a:gd name="T20" fmla="*/ 599 w 1899"/>
                <a:gd name="T21" fmla="*/ 1650 h 2844"/>
                <a:gd name="T22" fmla="*/ 796 w 1899"/>
                <a:gd name="T23" fmla="*/ 1317 h 2844"/>
                <a:gd name="T24" fmla="*/ 1875 w 1899"/>
                <a:gd name="T25" fmla="*/ 1280 h 2844"/>
                <a:gd name="T26" fmla="*/ 1731 w 1899"/>
                <a:gd name="T27" fmla="*/ 1406 h 2844"/>
                <a:gd name="T28" fmla="*/ 1651 w 1899"/>
                <a:gd name="T29" fmla="*/ 2054 h 2844"/>
                <a:gd name="T30" fmla="*/ 1591 w 1899"/>
                <a:gd name="T31" fmla="*/ 2153 h 2844"/>
                <a:gd name="T32" fmla="*/ 1372 w 1899"/>
                <a:gd name="T33" fmla="*/ 2844 h 2844"/>
                <a:gd name="T34" fmla="*/ 1196 w 1899"/>
                <a:gd name="T35" fmla="*/ 1816 h 2844"/>
                <a:gd name="T36" fmla="*/ 1818 w 1899"/>
                <a:gd name="T37" fmla="*/ 1360 h 2844"/>
                <a:gd name="T38" fmla="*/ 1568 w 1899"/>
                <a:gd name="T39" fmla="*/ 1701 h 2844"/>
                <a:gd name="T40" fmla="*/ 1442 w 1899"/>
                <a:gd name="T41" fmla="*/ 1374 h 2844"/>
                <a:gd name="T42" fmla="*/ 1554 w 1899"/>
                <a:gd name="T43" fmla="*/ 1581 h 2844"/>
                <a:gd name="T44" fmla="*/ 1513 w 1899"/>
                <a:gd name="T45" fmla="*/ 1471 h 2844"/>
                <a:gd name="T46" fmla="*/ 1289 w 1899"/>
                <a:gd name="T47" fmla="*/ 1358 h 2844"/>
                <a:gd name="T48" fmla="*/ 1728 w 1899"/>
                <a:gd name="T49" fmla="*/ 1420 h 2844"/>
                <a:gd name="T50" fmla="*/ 563 w 1899"/>
                <a:gd name="T51" fmla="*/ 376 h 2844"/>
                <a:gd name="T52" fmla="*/ 729 w 1899"/>
                <a:gd name="T53" fmla="*/ 840 h 2844"/>
                <a:gd name="T54" fmla="*/ 709 w 1899"/>
                <a:gd name="T55" fmla="*/ 1066 h 2844"/>
                <a:gd name="T56" fmla="*/ 751 w 1899"/>
                <a:gd name="T57" fmla="*/ 1109 h 2844"/>
                <a:gd name="T58" fmla="*/ 587 w 1899"/>
                <a:gd name="T59" fmla="*/ 381 h 2844"/>
                <a:gd name="T60" fmla="*/ 647 w 1899"/>
                <a:gd name="T61" fmla="*/ 138 h 2844"/>
                <a:gd name="T62" fmla="*/ 869 w 1899"/>
                <a:gd name="T63" fmla="*/ 272 h 2844"/>
                <a:gd name="T64" fmla="*/ 349 w 1899"/>
                <a:gd name="T65" fmla="*/ 487 h 2844"/>
                <a:gd name="T66" fmla="*/ 295 w 1899"/>
                <a:gd name="T67" fmla="*/ 212 h 2844"/>
                <a:gd name="T68" fmla="*/ 282 w 1899"/>
                <a:gd name="T69" fmla="*/ 519 h 2844"/>
                <a:gd name="T70" fmla="*/ 215 w 1899"/>
                <a:gd name="T71" fmla="*/ 805 h 2844"/>
                <a:gd name="T72" fmla="*/ 378 w 1899"/>
                <a:gd name="T73" fmla="*/ 832 h 2844"/>
                <a:gd name="T74" fmla="*/ 381 w 1899"/>
                <a:gd name="T75" fmla="*/ 1257 h 2844"/>
                <a:gd name="T76" fmla="*/ 739 w 1899"/>
                <a:gd name="T77" fmla="*/ 1258 h 2844"/>
                <a:gd name="T78" fmla="*/ 308 w 1899"/>
                <a:gd name="T79" fmla="*/ 605 h 2844"/>
                <a:gd name="T80" fmla="*/ 345 w 1899"/>
                <a:gd name="T81" fmla="*/ 576 h 2844"/>
                <a:gd name="T82" fmla="*/ 359 w 1899"/>
                <a:gd name="T83" fmla="*/ 556 h 2844"/>
                <a:gd name="T84" fmla="*/ 305 w 1899"/>
                <a:gd name="T85" fmla="*/ 600 h 2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99" h="2844">
                  <a:moveTo>
                    <a:pt x="1595" y="2167"/>
                  </a:moveTo>
                  <a:cubicBezTo>
                    <a:pt x="1537" y="2343"/>
                    <a:pt x="1659" y="2596"/>
                    <a:pt x="1700" y="2685"/>
                  </a:cubicBezTo>
                  <a:cubicBezTo>
                    <a:pt x="1681" y="2732"/>
                    <a:pt x="1688" y="2796"/>
                    <a:pt x="1698" y="2844"/>
                  </a:cubicBezTo>
                  <a:cubicBezTo>
                    <a:pt x="1582" y="2844"/>
                    <a:pt x="1582" y="2844"/>
                    <a:pt x="1582" y="2844"/>
                  </a:cubicBezTo>
                  <a:cubicBezTo>
                    <a:pt x="1560" y="2743"/>
                    <a:pt x="1607" y="2706"/>
                    <a:pt x="1618" y="2684"/>
                  </a:cubicBezTo>
                  <a:cubicBezTo>
                    <a:pt x="1599" y="2649"/>
                    <a:pt x="1570" y="2596"/>
                    <a:pt x="1542" y="2534"/>
                  </a:cubicBezTo>
                  <a:cubicBezTo>
                    <a:pt x="1533" y="2422"/>
                    <a:pt x="1540" y="2279"/>
                    <a:pt x="1595" y="2167"/>
                  </a:cubicBezTo>
                  <a:close/>
                  <a:moveTo>
                    <a:pt x="1196" y="1816"/>
                  </a:moveTo>
                  <a:cubicBezTo>
                    <a:pt x="1208" y="1839"/>
                    <a:pt x="1215" y="1866"/>
                    <a:pt x="1215" y="1897"/>
                  </a:cubicBezTo>
                  <a:cubicBezTo>
                    <a:pt x="1191" y="1803"/>
                    <a:pt x="1078" y="1773"/>
                    <a:pt x="1003" y="1812"/>
                  </a:cubicBezTo>
                  <a:cubicBezTo>
                    <a:pt x="1035" y="1818"/>
                    <a:pt x="1066" y="1843"/>
                    <a:pt x="1084" y="1887"/>
                  </a:cubicBezTo>
                  <a:cubicBezTo>
                    <a:pt x="1031" y="1815"/>
                    <a:pt x="921" y="1849"/>
                    <a:pt x="889" y="1925"/>
                  </a:cubicBezTo>
                  <a:cubicBezTo>
                    <a:pt x="857" y="2032"/>
                    <a:pt x="908" y="2178"/>
                    <a:pt x="969" y="2261"/>
                  </a:cubicBezTo>
                  <a:cubicBezTo>
                    <a:pt x="970" y="2341"/>
                    <a:pt x="978" y="2555"/>
                    <a:pt x="979" y="2695"/>
                  </a:cubicBezTo>
                  <a:cubicBezTo>
                    <a:pt x="954" y="2718"/>
                    <a:pt x="946" y="2762"/>
                    <a:pt x="946" y="2844"/>
                  </a:cubicBezTo>
                  <a:cubicBezTo>
                    <a:pt x="921" y="2844"/>
                    <a:pt x="856" y="2844"/>
                    <a:pt x="831" y="2844"/>
                  </a:cubicBezTo>
                  <a:cubicBezTo>
                    <a:pt x="827" y="2783"/>
                    <a:pt x="847" y="2730"/>
                    <a:pt x="893" y="2692"/>
                  </a:cubicBezTo>
                  <a:cubicBezTo>
                    <a:pt x="934" y="2168"/>
                    <a:pt x="534" y="2036"/>
                    <a:pt x="372" y="1673"/>
                  </a:cubicBezTo>
                  <a:cubicBezTo>
                    <a:pt x="395" y="1755"/>
                    <a:pt x="432" y="1825"/>
                    <a:pt x="475" y="1890"/>
                  </a:cubicBezTo>
                  <a:cubicBezTo>
                    <a:pt x="314" y="1741"/>
                    <a:pt x="185" y="1795"/>
                    <a:pt x="174" y="1887"/>
                  </a:cubicBezTo>
                  <a:cubicBezTo>
                    <a:pt x="164" y="1984"/>
                    <a:pt x="213" y="2077"/>
                    <a:pt x="338" y="2235"/>
                  </a:cubicBezTo>
                  <a:cubicBezTo>
                    <a:pt x="331" y="2274"/>
                    <a:pt x="366" y="2345"/>
                    <a:pt x="403" y="2377"/>
                  </a:cubicBezTo>
                  <a:cubicBezTo>
                    <a:pt x="384" y="2395"/>
                    <a:pt x="334" y="2444"/>
                    <a:pt x="315" y="2463"/>
                  </a:cubicBezTo>
                  <a:cubicBezTo>
                    <a:pt x="279" y="2413"/>
                    <a:pt x="255" y="2364"/>
                    <a:pt x="271" y="2298"/>
                  </a:cubicBezTo>
                  <a:cubicBezTo>
                    <a:pt x="183" y="2098"/>
                    <a:pt x="0" y="1999"/>
                    <a:pt x="54" y="1807"/>
                  </a:cubicBezTo>
                  <a:cubicBezTo>
                    <a:pt x="75" y="1730"/>
                    <a:pt x="177" y="1637"/>
                    <a:pt x="335" y="1566"/>
                  </a:cubicBezTo>
                  <a:cubicBezTo>
                    <a:pt x="322" y="1498"/>
                    <a:pt x="329" y="1429"/>
                    <a:pt x="347" y="1360"/>
                  </a:cubicBezTo>
                  <a:cubicBezTo>
                    <a:pt x="389" y="1437"/>
                    <a:pt x="456" y="1522"/>
                    <a:pt x="549" y="1557"/>
                  </a:cubicBezTo>
                  <a:cubicBezTo>
                    <a:pt x="518" y="1566"/>
                    <a:pt x="523" y="1608"/>
                    <a:pt x="488" y="1627"/>
                  </a:cubicBezTo>
                  <a:cubicBezTo>
                    <a:pt x="522" y="1634"/>
                    <a:pt x="522" y="1634"/>
                    <a:pt x="522" y="1634"/>
                  </a:cubicBezTo>
                  <a:cubicBezTo>
                    <a:pt x="521" y="1641"/>
                    <a:pt x="518" y="1659"/>
                    <a:pt x="539" y="1663"/>
                  </a:cubicBezTo>
                  <a:cubicBezTo>
                    <a:pt x="560" y="1667"/>
                    <a:pt x="564" y="1650"/>
                    <a:pt x="566" y="1643"/>
                  </a:cubicBezTo>
                  <a:cubicBezTo>
                    <a:pt x="599" y="1650"/>
                    <a:pt x="599" y="1650"/>
                    <a:pt x="599" y="1650"/>
                  </a:cubicBezTo>
                  <a:cubicBezTo>
                    <a:pt x="574" y="1617"/>
                    <a:pt x="598" y="1577"/>
                    <a:pt x="567" y="1559"/>
                  </a:cubicBezTo>
                  <a:cubicBezTo>
                    <a:pt x="649" y="1538"/>
                    <a:pt x="782" y="1404"/>
                    <a:pt x="796" y="1317"/>
                  </a:cubicBezTo>
                  <a:cubicBezTo>
                    <a:pt x="796" y="1317"/>
                    <a:pt x="796" y="1317"/>
                    <a:pt x="796" y="1317"/>
                  </a:cubicBezTo>
                  <a:cubicBezTo>
                    <a:pt x="906" y="1368"/>
                    <a:pt x="1139" y="1332"/>
                    <a:pt x="1276" y="1287"/>
                  </a:cubicBezTo>
                  <a:cubicBezTo>
                    <a:pt x="1342" y="1265"/>
                    <a:pt x="1389" y="1247"/>
                    <a:pt x="1464" y="1257"/>
                  </a:cubicBezTo>
                  <a:cubicBezTo>
                    <a:pt x="1646" y="1271"/>
                    <a:pt x="1796" y="1355"/>
                    <a:pt x="1875" y="1280"/>
                  </a:cubicBezTo>
                  <a:cubicBezTo>
                    <a:pt x="1899" y="1336"/>
                    <a:pt x="1863" y="1404"/>
                    <a:pt x="1812" y="1407"/>
                  </a:cubicBezTo>
                  <a:cubicBezTo>
                    <a:pt x="1827" y="1415"/>
                    <a:pt x="1839" y="1416"/>
                    <a:pt x="1861" y="1413"/>
                  </a:cubicBezTo>
                  <a:cubicBezTo>
                    <a:pt x="1841" y="1453"/>
                    <a:pt x="1762" y="1437"/>
                    <a:pt x="1731" y="1406"/>
                  </a:cubicBezTo>
                  <a:cubicBezTo>
                    <a:pt x="1737" y="1429"/>
                    <a:pt x="1759" y="1445"/>
                    <a:pt x="1775" y="1449"/>
                  </a:cubicBezTo>
                  <a:cubicBezTo>
                    <a:pt x="1741" y="1462"/>
                    <a:pt x="1710" y="1450"/>
                    <a:pt x="1681" y="1428"/>
                  </a:cubicBezTo>
                  <a:cubicBezTo>
                    <a:pt x="1772" y="1637"/>
                    <a:pt x="1529" y="1906"/>
                    <a:pt x="1651" y="2054"/>
                  </a:cubicBezTo>
                  <a:cubicBezTo>
                    <a:pt x="1614" y="2038"/>
                    <a:pt x="1586" y="1984"/>
                    <a:pt x="1586" y="1944"/>
                  </a:cubicBezTo>
                  <a:cubicBezTo>
                    <a:pt x="1576" y="1971"/>
                    <a:pt x="1590" y="2162"/>
                    <a:pt x="1670" y="2207"/>
                  </a:cubicBezTo>
                  <a:cubicBezTo>
                    <a:pt x="1644" y="2211"/>
                    <a:pt x="1605" y="2175"/>
                    <a:pt x="1591" y="2153"/>
                  </a:cubicBezTo>
                  <a:cubicBezTo>
                    <a:pt x="1484" y="2329"/>
                    <a:pt x="1498" y="2593"/>
                    <a:pt x="1522" y="2685"/>
                  </a:cubicBezTo>
                  <a:cubicBezTo>
                    <a:pt x="1493" y="2732"/>
                    <a:pt x="1487" y="2796"/>
                    <a:pt x="1487" y="2844"/>
                  </a:cubicBezTo>
                  <a:cubicBezTo>
                    <a:pt x="1462" y="2844"/>
                    <a:pt x="1397" y="2844"/>
                    <a:pt x="1372" y="2844"/>
                  </a:cubicBezTo>
                  <a:cubicBezTo>
                    <a:pt x="1366" y="2743"/>
                    <a:pt x="1422" y="2706"/>
                    <a:pt x="1440" y="2684"/>
                  </a:cubicBezTo>
                  <a:cubicBezTo>
                    <a:pt x="1403" y="2584"/>
                    <a:pt x="1372" y="2325"/>
                    <a:pt x="1417" y="2136"/>
                  </a:cubicBezTo>
                  <a:cubicBezTo>
                    <a:pt x="1401" y="1993"/>
                    <a:pt x="1305" y="1868"/>
                    <a:pt x="1196" y="1816"/>
                  </a:cubicBezTo>
                  <a:close/>
                  <a:moveTo>
                    <a:pt x="1818" y="1360"/>
                  </a:moveTo>
                  <a:cubicBezTo>
                    <a:pt x="1791" y="1425"/>
                    <a:pt x="1698" y="1399"/>
                    <a:pt x="1678" y="1332"/>
                  </a:cubicBezTo>
                  <a:cubicBezTo>
                    <a:pt x="1707" y="1380"/>
                    <a:pt x="1787" y="1390"/>
                    <a:pt x="1818" y="1360"/>
                  </a:cubicBezTo>
                  <a:close/>
                  <a:moveTo>
                    <a:pt x="1568" y="1701"/>
                  </a:moveTo>
                  <a:cubicBezTo>
                    <a:pt x="1601" y="1725"/>
                    <a:pt x="1594" y="1819"/>
                    <a:pt x="1562" y="1842"/>
                  </a:cubicBezTo>
                  <a:cubicBezTo>
                    <a:pt x="1584" y="1811"/>
                    <a:pt x="1584" y="1730"/>
                    <a:pt x="1568" y="1701"/>
                  </a:cubicBezTo>
                  <a:close/>
                  <a:moveTo>
                    <a:pt x="1442" y="1374"/>
                  </a:moveTo>
                  <a:cubicBezTo>
                    <a:pt x="1505" y="1313"/>
                    <a:pt x="1644" y="1445"/>
                    <a:pt x="1654" y="1559"/>
                  </a:cubicBezTo>
                  <a:cubicBezTo>
                    <a:pt x="1623" y="1462"/>
                    <a:pt x="1500" y="1365"/>
                    <a:pt x="1442" y="1374"/>
                  </a:cubicBezTo>
                  <a:close/>
                  <a:moveTo>
                    <a:pt x="1554" y="1581"/>
                  </a:moveTo>
                  <a:cubicBezTo>
                    <a:pt x="1621" y="1573"/>
                    <a:pt x="1646" y="1719"/>
                    <a:pt x="1600" y="1794"/>
                  </a:cubicBezTo>
                  <a:cubicBezTo>
                    <a:pt x="1626" y="1720"/>
                    <a:pt x="1594" y="1603"/>
                    <a:pt x="1554" y="1581"/>
                  </a:cubicBezTo>
                  <a:close/>
                  <a:moveTo>
                    <a:pt x="1513" y="1471"/>
                  </a:moveTo>
                  <a:cubicBezTo>
                    <a:pt x="1588" y="1438"/>
                    <a:pt x="1667" y="1600"/>
                    <a:pt x="1638" y="1703"/>
                  </a:cubicBezTo>
                  <a:cubicBezTo>
                    <a:pt x="1644" y="1608"/>
                    <a:pt x="1567" y="1482"/>
                    <a:pt x="1513" y="1471"/>
                  </a:cubicBezTo>
                  <a:close/>
                  <a:moveTo>
                    <a:pt x="1289" y="1358"/>
                  </a:moveTo>
                  <a:cubicBezTo>
                    <a:pt x="1328" y="1246"/>
                    <a:pt x="1565" y="1289"/>
                    <a:pt x="1640" y="1405"/>
                  </a:cubicBezTo>
                  <a:cubicBezTo>
                    <a:pt x="1550" y="1322"/>
                    <a:pt x="1351" y="1306"/>
                    <a:pt x="1289" y="1358"/>
                  </a:cubicBezTo>
                  <a:close/>
                  <a:moveTo>
                    <a:pt x="1728" y="1420"/>
                  </a:moveTo>
                  <a:cubicBezTo>
                    <a:pt x="1699" y="1439"/>
                    <a:pt x="1650" y="1391"/>
                    <a:pt x="1652" y="1352"/>
                  </a:cubicBezTo>
                  <a:cubicBezTo>
                    <a:pt x="1659" y="1385"/>
                    <a:pt x="1704" y="1422"/>
                    <a:pt x="1728" y="1420"/>
                  </a:cubicBezTo>
                  <a:close/>
                  <a:moveTo>
                    <a:pt x="563" y="376"/>
                  </a:moveTo>
                  <a:cubicBezTo>
                    <a:pt x="528" y="325"/>
                    <a:pt x="466" y="381"/>
                    <a:pt x="466" y="451"/>
                  </a:cubicBezTo>
                  <a:cubicBezTo>
                    <a:pt x="476" y="396"/>
                    <a:pt x="533" y="359"/>
                    <a:pt x="563" y="376"/>
                  </a:cubicBezTo>
                  <a:close/>
                  <a:moveTo>
                    <a:pt x="729" y="840"/>
                  </a:moveTo>
                  <a:cubicBezTo>
                    <a:pt x="739" y="915"/>
                    <a:pt x="705" y="1052"/>
                    <a:pt x="783" y="1117"/>
                  </a:cubicBezTo>
                  <a:cubicBezTo>
                    <a:pt x="729" y="1043"/>
                    <a:pt x="756" y="895"/>
                    <a:pt x="729" y="840"/>
                  </a:cubicBezTo>
                  <a:close/>
                  <a:moveTo>
                    <a:pt x="709" y="1066"/>
                  </a:moveTo>
                  <a:cubicBezTo>
                    <a:pt x="670" y="1112"/>
                    <a:pt x="705" y="1197"/>
                    <a:pt x="758" y="1219"/>
                  </a:cubicBezTo>
                  <a:cubicBezTo>
                    <a:pt x="723" y="1199"/>
                    <a:pt x="695" y="1104"/>
                    <a:pt x="709" y="1066"/>
                  </a:cubicBezTo>
                  <a:close/>
                  <a:moveTo>
                    <a:pt x="735" y="1228"/>
                  </a:moveTo>
                  <a:cubicBezTo>
                    <a:pt x="756" y="1268"/>
                    <a:pt x="777" y="1284"/>
                    <a:pt x="820" y="1293"/>
                  </a:cubicBezTo>
                  <a:cubicBezTo>
                    <a:pt x="786" y="1271"/>
                    <a:pt x="757" y="1197"/>
                    <a:pt x="751" y="1109"/>
                  </a:cubicBezTo>
                  <a:cubicBezTo>
                    <a:pt x="768" y="1145"/>
                    <a:pt x="799" y="1157"/>
                    <a:pt x="813" y="1155"/>
                  </a:cubicBezTo>
                  <a:cubicBezTo>
                    <a:pt x="732" y="1113"/>
                    <a:pt x="898" y="667"/>
                    <a:pt x="491" y="462"/>
                  </a:cubicBezTo>
                  <a:cubicBezTo>
                    <a:pt x="497" y="406"/>
                    <a:pt x="575" y="434"/>
                    <a:pt x="587" y="381"/>
                  </a:cubicBezTo>
                  <a:cubicBezTo>
                    <a:pt x="605" y="299"/>
                    <a:pt x="487" y="308"/>
                    <a:pt x="451" y="411"/>
                  </a:cubicBezTo>
                  <a:cubicBezTo>
                    <a:pt x="442" y="365"/>
                    <a:pt x="451" y="313"/>
                    <a:pt x="477" y="261"/>
                  </a:cubicBezTo>
                  <a:cubicBezTo>
                    <a:pt x="519" y="177"/>
                    <a:pt x="583" y="142"/>
                    <a:pt x="647" y="138"/>
                  </a:cubicBezTo>
                  <a:cubicBezTo>
                    <a:pt x="685" y="156"/>
                    <a:pt x="717" y="184"/>
                    <a:pt x="733" y="215"/>
                  </a:cubicBezTo>
                  <a:cubicBezTo>
                    <a:pt x="727" y="187"/>
                    <a:pt x="713" y="161"/>
                    <a:pt x="694" y="140"/>
                  </a:cubicBezTo>
                  <a:cubicBezTo>
                    <a:pt x="775" y="153"/>
                    <a:pt x="849" y="210"/>
                    <a:pt x="869" y="272"/>
                  </a:cubicBezTo>
                  <a:cubicBezTo>
                    <a:pt x="858" y="101"/>
                    <a:pt x="580" y="0"/>
                    <a:pt x="432" y="195"/>
                  </a:cubicBezTo>
                  <a:cubicBezTo>
                    <a:pt x="359" y="293"/>
                    <a:pt x="358" y="406"/>
                    <a:pt x="382" y="476"/>
                  </a:cubicBezTo>
                  <a:cubicBezTo>
                    <a:pt x="371" y="479"/>
                    <a:pt x="360" y="483"/>
                    <a:pt x="349" y="487"/>
                  </a:cubicBezTo>
                  <a:cubicBezTo>
                    <a:pt x="314" y="421"/>
                    <a:pt x="305" y="293"/>
                    <a:pt x="390" y="185"/>
                  </a:cubicBezTo>
                  <a:cubicBezTo>
                    <a:pt x="446" y="113"/>
                    <a:pt x="522" y="82"/>
                    <a:pt x="596" y="80"/>
                  </a:cubicBezTo>
                  <a:cubicBezTo>
                    <a:pt x="494" y="49"/>
                    <a:pt x="362" y="81"/>
                    <a:pt x="295" y="212"/>
                  </a:cubicBezTo>
                  <a:cubicBezTo>
                    <a:pt x="261" y="279"/>
                    <a:pt x="254" y="346"/>
                    <a:pt x="263" y="404"/>
                  </a:cubicBezTo>
                  <a:cubicBezTo>
                    <a:pt x="226" y="388"/>
                    <a:pt x="190" y="402"/>
                    <a:pt x="197" y="450"/>
                  </a:cubicBezTo>
                  <a:cubicBezTo>
                    <a:pt x="204" y="496"/>
                    <a:pt x="265" y="486"/>
                    <a:pt x="282" y="519"/>
                  </a:cubicBezTo>
                  <a:cubicBezTo>
                    <a:pt x="139" y="600"/>
                    <a:pt x="42" y="740"/>
                    <a:pt x="109" y="775"/>
                  </a:cubicBezTo>
                  <a:cubicBezTo>
                    <a:pt x="92" y="831"/>
                    <a:pt x="146" y="869"/>
                    <a:pt x="203" y="850"/>
                  </a:cubicBezTo>
                  <a:cubicBezTo>
                    <a:pt x="205" y="832"/>
                    <a:pt x="209" y="817"/>
                    <a:pt x="215" y="805"/>
                  </a:cubicBezTo>
                  <a:cubicBezTo>
                    <a:pt x="290" y="767"/>
                    <a:pt x="354" y="864"/>
                    <a:pt x="314" y="913"/>
                  </a:cubicBezTo>
                  <a:cubicBezTo>
                    <a:pt x="370" y="886"/>
                    <a:pt x="365" y="813"/>
                    <a:pt x="341" y="792"/>
                  </a:cubicBezTo>
                  <a:cubicBezTo>
                    <a:pt x="350" y="795"/>
                    <a:pt x="368" y="805"/>
                    <a:pt x="378" y="832"/>
                  </a:cubicBezTo>
                  <a:cubicBezTo>
                    <a:pt x="379" y="804"/>
                    <a:pt x="365" y="763"/>
                    <a:pt x="313" y="743"/>
                  </a:cubicBezTo>
                  <a:cubicBezTo>
                    <a:pt x="381" y="731"/>
                    <a:pt x="460" y="740"/>
                    <a:pt x="484" y="688"/>
                  </a:cubicBezTo>
                  <a:cubicBezTo>
                    <a:pt x="567" y="870"/>
                    <a:pt x="454" y="1064"/>
                    <a:pt x="381" y="1257"/>
                  </a:cubicBezTo>
                  <a:cubicBezTo>
                    <a:pt x="393" y="1407"/>
                    <a:pt x="482" y="1520"/>
                    <a:pt x="558" y="1549"/>
                  </a:cubicBezTo>
                  <a:cubicBezTo>
                    <a:pt x="616" y="1530"/>
                    <a:pt x="773" y="1431"/>
                    <a:pt x="739" y="1258"/>
                  </a:cubicBezTo>
                  <a:cubicBezTo>
                    <a:pt x="739" y="1258"/>
                    <a:pt x="739" y="1258"/>
                    <a:pt x="739" y="1258"/>
                  </a:cubicBezTo>
                  <a:cubicBezTo>
                    <a:pt x="736" y="1249"/>
                    <a:pt x="735" y="1239"/>
                    <a:pt x="735" y="1228"/>
                  </a:cubicBezTo>
                  <a:close/>
                  <a:moveTo>
                    <a:pt x="305" y="600"/>
                  </a:moveTo>
                  <a:cubicBezTo>
                    <a:pt x="306" y="602"/>
                    <a:pt x="307" y="603"/>
                    <a:pt x="308" y="605"/>
                  </a:cubicBezTo>
                  <a:cubicBezTo>
                    <a:pt x="312" y="609"/>
                    <a:pt x="318" y="612"/>
                    <a:pt x="324" y="612"/>
                  </a:cubicBezTo>
                  <a:cubicBezTo>
                    <a:pt x="337" y="613"/>
                    <a:pt x="348" y="602"/>
                    <a:pt x="349" y="589"/>
                  </a:cubicBezTo>
                  <a:cubicBezTo>
                    <a:pt x="349" y="584"/>
                    <a:pt x="347" y="580"/>
                    <a:pt x="345" y="576"/>
                  </a:cubicBezTo>
                  <a:cubicBezTo>
                    <a:pt x="354" y="571"/>
                    <a:pt x="357" y="569"/>
                    <a:pt x="364" y="566"/>
                  </a:cubicBezTo>
                  <a:cubicBezTo>
                    <a:pt x="367" y="565"/>
                    <a:pt x="368" y="562"/>
                    <a:pt x="366" y="559"/>
                  </a:cubicBezTo>
                  <a:cubicBezTo>
                    <a:pt x="365" y="556"/>
                    <a:pt x="362" y="554"/>
                    <a:pt x="359" y="556"/>
                  </a:cubicBezTo>
                  <a:cubicBezTo>
                    <a:pt x="353" y="558"/>
                    <a:pt x="258" y="593"/>
                    <a:pt x="288" y="612"/>
                  </a:cubicBezTo>
                  <a:cubicBezTo>
                    <a:pt x="290" y="613"/>
                    <a:pt x="294" y="613"/>
                    <a:pt x="296" y="610"/>
                  </a:cubicBezTo>
                  <a:cubicBezTo>
                    <a:pt x="298" y="607"/>
                    <a:pt x="301" y="604"/>
                    <a:pt x="305" y="6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0800" dist="25400" dir="5400000" algn="t" rotWithShape="0">
                <a:prstClr val="black">
                  <a:alpha val="88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11" name="组合 10"/>
            <p:cNvGrpSpPr/>
            <p:nvPr/>
          </p:nvGrpSpPr>
          <p:grpSpPr>
            <a:xfrm>
              <a:off x="9264609" y="2718944"/>
              <a:ext cx="791830" cy="584256"/>
              <a:chOff x="9236075" y="1695450"/>
              <a:chExt cx="1731963" cy="1277938"/>
            </a:xfrm>
          </p:grpSpPr>
          <p:sp>
            <p:nvSpPr>
              <p:cNvPr id="12" name="Freeform 8"/>
              <p:cNvSpPr>
                <a:spLocks/>
              </p:cNvSpPr>
              <p:nvPr/>
            </p:nvSpPr>
            <p:spPr bwMode="auto">
              <a:xfrm>
                <a:off x="9675813" y="1695450"/>
                <a:ext cx="474663" cy="534987"/>
              </a:xfrm>
              <a:custGeom>
                <a:avLst/>
                <a:gdLst>
                  <a:gd name="T0" fmla="*/ 107 w 408"/>
                  <a:gd name="T1" fmla="*/ 307 h 458"/>
                  <a:gd name="T2" fmla="*/ 196 w 408"/>
                  <a:gd name="T3" fmla="*/ 275 h 458"/>
                  <a:gd name="T4" fmla="*/ 376 w 408"/>
                  <a:gd name="T5" fmla="*/ 196 h 458"/>
                  <a:gd name="T6" fmla="*/ 304 w 408"/>
                  <a:gd name="T7" fmla="*/ 26 h 458"/>
                  <a:gd name="T8" fmla="*/ 172 w 408"/>
                  <a:gd name="T9" fmla="*/ 14 h 458"/>
                  <a:gd name="T10" fmla="*/ 129 w 408"/>
                  <a:gd name="T11" fmla="*/ 96 h 458"/>
                  <a:gd name="T12" fmla="*/ 187 w 408"/>
                  <a:gd name="T13" fmla="*/ 125 h 458"/>
                  <a:gd name="T14" fmla="*/ 272 w 408"/>
                  <a:gd name="T15" fmla="*/ 83 h 458"/>
                  <a:gd name="T16" fmla="*/ 292 w 408"/>
                  <a:gd name="T17" fmla="*/ 158 h 458"/>
                  <a:gd name="T18" fmla="*/ 183 w 408"/>
                  <a:gd name="T19" fmla="*/ 212 h 458"/>
                  <a:gd name="T20" fmla="*/ 0 w 408"/>
                  <a:gd name="T21" fmla="*/ 343 h 458"/>
                  <a:gd name="T22" fmla="*/ 177 w 408"/>
                  <a:gd name="T23" fmla="*/ 433 h 458"/>
                  <a:gd name="T24" fmla="*/ 235 w 408"/>
                  <a:gd name="T25" fmla="*/ 458 h 458"/>
                  <a:gd name="T26" fmla="*/ 291 w 408"/>
                  <a:gd name="T27" fmla="*/ 347 h 458"/>
                  <a:gd name="T28" fmla="*/ 255 w 408"/>
                  <a:gd name="T29" fmla="*/ 328 h 458"/>
                  <a:gd name="T30" fmla="*/ 217 w 408"/>
                  <a:gd name="T31" fmla="*/ 363 h 458"/>
                  <a:gd name="T32" fmla="*/ 107 w 408"/>
                  <a:gd name="T33" fmla="*/ 307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8" h="458">
                    <a:moveTo>
                      <a:pt x="107" y="307"/>
                    </a:moveTo>
                    <a:cubicBezTo>
                      <a:pt x="125" y="285"/>
                      <a:pt x="162" y="278"/>
                      <a:pt x="196" y="275"/>
                    </a:cubicBezTo>
                    <a:cubicBezTo>
                      <a:pt x="259" y="269"/>
                      <a:pt x="343" y="262"/>
                      <a:pt x="376" y="196"/>
                    </a:cubicBezTo>
                    <a:cubicBezTo>
                      <a:pt x="408" y="134"/>
                      <a:pt x="396" y="73"/>
                      <a:pt x="304" y="26"/>
                    </a:cubicBezTo>
                    <a:cubicBezTo>
                      <a:pt x="260" y="4"/>
                      <a:pt x="214" y="0"/>
                      <a:pt x="172" y="14"/>
                    </a:cubicBezTo>
                    <a:cubicBezTo>
                      <a:pt x="152" y="45"/>
                      <a:pt x="145" y="60"/>
                      <a:pt x="129" y="96"/>
                    </a:cubicBezTo>
                    <a:cubicBezTo>
                      <a:pt x="149" y="109"/>
                      <a:pt x="165" y="117"/>
                      <a:pt x="187" y="125"/>
                    </a:cubicBezTo>
                    <a:cubicBezTo>
                      <a:pt x="215" y="68"/>
                      <a:pt x="246" y="69"/>
                      <a:pt x="272" y="83"/>
                    </a:cubicBezTo>
                    <a:cubicBezTo>
                      <a:pt x="301" y="98"/>
                      <a:pt x="307" y="130"/>
                      <a:pt x="292" y="158"/>
                    </a:cubicBezTo>
                    <a:cubicBezTo>
                      <a:pt x="269" y="201"/>
                      <a:pt x="225" y="207"/>
                      <a:pt x="183" y="212"/>
                    </a:cubicBezTo>
                    <a:cubicBezTo>
                      <a:pt x="84" y="227"/>
                      <a:pt x="41" y="255"/>
                      <a:pt x="0" y="343"/>
                    </a:cubicBezTo>
                    <a:cubicBezTo>
                      <a:pt x="177" y="433"/>
                      <a:pt x="177" y="433"/>
                      <a:pt x="177" y="433"/>
                    </a:cubicBezTo>
                    <a:cubicBezTo>
                      <a:pt x="197" y="443"/>
                      <a:pt x="213" y="451"/>
                      <a:pt x="235" y="458"/>
                    </a:cubicBezTo>
                    <a:cubicBezTo>
                      <a:pt x="257" y="423"/>
                      <a:pt x="276" y="385"/>
                      <a:pt x="291" y="347"/>
                    </a:cubicBezTo>
                    <a:cubicBezTo>
                      <a:pt x="255" y="328"/>
                      <a:pt x="255" y="328"/>
                      <a:pt x="255" y="328"/>
                    </a:cubicBezTo>
                    <a:cubicBezTo>
                      <a:pt x="241" y="338"/>
                      <a:pt x="230" y="349"/>
                      <a:pt x="217" y="363"/>
                    </a:cubicBezTo>
                    <a:cubicBezTo>
                      <a:pt x="107" y="307"/>
                      <a:pt x="107" y="307"/>
                      <a:pt x="107" y="30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" name="Freeform 9"/>
              <p:cNvSpPr>
                <a:spLocks/>
              </p:cNvSpPr>
              <p:nvPr/>
            </p:nvSpPr>
            <p:spPr bwMode="auto">
              <a:xfrm>
                <a:off x="9979025" y="1798638"/>
                <a:ext cx="109538" cy="155575"/>
              </a:xfrm>
              <a:custGeom>
                <a:avLst/>
                <a:gdLst>
                  <a:gd name="T0" fmla="*/ 0 w 93"/>
                  <a:gd name="T1" fmla="*/ 133 h 133"/>
                  <a:gd name="T2" fmla="*/ 67 w 93"/>
                  <a:gd name="T3" fmla="*/ 0 h 133"/>
                  <a:gd name="T4" fmla="*/ 80 w 93"/>
                  <a:gd name="T5" fmla="*/ 81 h 133"/>
                  <a:gd name="T6" fmla="*/ 0 w 93"/>
                  <a:gd name="T7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3" h="133">
                    <a:moveTo>
                      <a:pt x="0" y="133"/>
                    </a:moveTo>
                    <a:cubicBezTo>
                      <a:pt x="66" y="108"/>
                      <a:pt x="92" y="48"/>
                      <a:pt x="67" y="0"/>
                    </a:cubicBezTo>
                    <a:cubicBezTo>
                      <a:pt x="92" y="23"/>
                      <a:pt x="93" y="57"/>
                      <a:pt x="80" y="81"/>
                    </a:cubicBezTo>
                    <a:cubicBezTo>
                      <a:pt x="64" y="112"/>
                      <a:pt x="27" y="128"/>
                      <a:pt x="0" y="1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" name="Freeform 10"/>
              <p:cNvSpPr>
                <a:spLocks/>
              </p:cNvSpPr>
              <p:nvPr/>
            </p:nvSpPr>
            <p:spPr bwMode="auto">
              <a:xfrm>
                <a:off x="9871075" y="1731963"/>
                <a:ext cx="69850" cy="44450"/>
              </a:xfrm>
              <a:custGeom>
                <a:avLst/>
                <a:gdLst>
                  <a:gd name="T0" fmla="*/ 60 w 60"/>
                  <a:gd name="T1" fmla="*/ 3 h 38"/>
                  <a:gd name="T2" fmla="*/ 2 w 60"/>
                  <a:gd name="T3" fmla="*/ 38 h 38"/>
                  <a:gd name="T4" fmla="*/ 0 w 60"/>
                  <a:gd name="T5" fmla="*/ 37 h 38"/>
                  <a:gd name="T6" fmla="*/ 19 w 60"/>
                  <a:gd name="T7" fmla="*/ 5 h 38"/>
                  <a:gd name="T8" fmla="*/ 60 w 60"/>
                  <a:gd name="T9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38">
                    <a:moveTo>
                      <a:pt x="60" y="3"/>
                    </a:moveTo>
                    <a:cubicBezTo>
                      <a:pt x="35" y="5"/>
                      <a:pt x="17" y="21"/>
                      <a:pt x="2" y="38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5" y="27"/>
                      <a:pt x="11" y="15"/>
                      <a:pt x="19" y="5"/>
                    </a:cubicBezTo>
                    <a:cubicBezTo>
                      <a:pt x="33" y="2"/>
                      <a:pt x="45" y="0"/>
                      <a:pt x="60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5" name="Freeform 11"/>
              <p:cNvSpPr>
                <a:spLocks/>
              </p:cNvSpPr>
              <p:nvPr/>
            </p:nvSpPr>
            <p:spPr bwMode="auto">
              <a:xfrm>
                <a:off x="9782175" y="2076450"/>
                <a:ext cx="193675" cy="93662"/>
              </a:xfrm>
              <a:custGeom>
                <a:avLst/>
                <a:gdLst>
                  <a:gd name="T0" fmla="*/ 141 w 167"/>
                  <a:gd name="T1" fmla="*/ 80 h 80"/>
                  <a:gd name="T2" fmla="*/ 0 w 167"/>
                  <a:gd name="T3" fmla="*/ 8 h 80"/>
                  <a:gd name="T4" fmla="*/ 4 w 167"/>
                  <a:gd name="T5" fmla="*/ 0 h 80"/>
                  <a:gd name="T6" fmla="*/ 136 w 167"/>
                  <a:gd name="T7" fmla="*/ 67 h 80"/>
                  <a:gd name="T8" fmla="*/ 164 w 167"/>
                  <a:gd name="T9" fmla="*/ 29 h 80"/>
                  <a:gd name="T10" fmla="*/ 167 w 167"/>
                  <a:gd name="T11" fmla="*/ 30 h 80"/>
                  <a:gd name="T12" fmla="*/ 141 w 167"/>
                  <a:gd name="T13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7" h="80">
                    <a:moveTo>
                      <a:pt x="141" y="80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45" y="52"/>
                      <a:pt x="152" y="42"/>
                      <a:pt x="164" y="29"/>
                    </a:cubicBezTo>
                    <a:cubicBezTo>
                      <a:pt x="167" y="30"/>
                      <a:pt x="167" y="30"/>
                      <a:pt x="167" y="30"/>
                    </a:cubicBezTo>
                    <a:cubicBezTo>
                      <a:pt x="141" y="80"/>
                      <a:pt x="141" y="80"/>
                      <a:pt x="141" y="8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6" name="任意多边形 15"/>
              <p:cNvSpPr>
                <a:spLocks/>
              </p:cNvSpPr>
              <p:nvPr/>
            </p:nvSpPr>
            <p:spPr bwMode="auto">
              <a:xfrm>
                <a:off x="10051214" y="1953170"/>
                <a:ext cx="447340" cy="461140"/>
              </a:xfrm>
              <a:custGeom>
                <a:avLst/>
                <a:gdLst>
                  <a:gd name="connsiteX0" fmla="*/ 286370 w 447340"/>
                  <a:gd name="connsiteY0" fmla="*/ 87332 h 461140"/>
                  <a:gd name="connsiteX1" fmla="*/ 157161 w 447340"/>
                  <a:gd name="connsiteY1" fmla="*/ 177016 h 461140"/>
                  <a:gd name="connsiteX2" fmla="*/ 110638 w 447340"/>
                  <a:gd name="connsiteY2" fmla="*/ 360062 h 461140"/>
                  <a:gd name="connsiteX3" fmla="*/ 285098 w 447340"/>
                  <a:gd name="connsiteY3" fmla="*/ 286610 h 461140"/>
                  <a:gd name="connsiteX4" fmla="*/ 332784 w 447340"/>
                  <a:gd name="connsiteY4" fmla="*/ 103564 h 461140"/>
                  <a:gd name="connsiteX5" fmla="*/ 286370 w 447340"/>
                  <a:gd name="connsiteY5" fmla="*/ 87332 h 461140"/>
                  <a:gd name="connsiteX6" fmla="*/ 265982 w 447340"/>
                  <a:gd name="connsiteY6" fmla="*/ 70 h 461140"/>
                  <a:gd name="connsiteX7" fmla="*/ 381504 w 447340"/>
                  <a:gd name="connsiteY7" fmla="*/ 47502 h 461140"/>
                  <a:gd name="connsiteX8" fmla="*/ 371013 w 447340"/>
                  <a:gd name="connsiteY8" fmla="*/ 363031 h 461140"/>
                  <a:gd name="connsiteX9" fmla="*/ 63282 w 447340"/>
                  <a:gd name="connsiteY9" fmla="*/ 416788 h 461140"/>
                  <a:gd name="connsiteX10" fmla="*/ 71441 w 447340"/>
                  <a:gd name="connsiteY10" fmla="*/ 102428 h 461140"/>
                  <a:gd name="connsiteX11" fmla="*/ 265982 w 447340"/>
                  <a:gd name="connsiteY11" fmla="*/ 70 h 461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7340" h="461140">
                    <a:moveTo>
                      <a:pt x="286370" y="87332"/>
                    </a:moveTo>
                    <a:cubicBezTo>
                      <a:pt x="238066" y="90010"/>
                      <a:pt x="186819" y="142039"/>
                      <a:pt x="157161" y="177016"/>
                    </a:cubicBezTo>
                    <a:cubicBezTo>
                      <a:pt x="116453" y="222486"/>
                      <a:pt x="54811" y="311094"/>
                      <a:pt x="110638" y="360062"/>
                    </a:cubicBezTo>
                    <a:cubicBezTo>
                      <a:pt x="167628" y="409030"/>
                      <a:pt x="244391" y="333247"/>
                      <a:pt x="285098" y="286610"/>
                    </a:cubicBezTo>
                    <a:cubicBezTo>
                      <a:pt x="325805" y="238808"/>
                      <a:pt x="389774" y="153698"/>
                      <a:pt x="332784" y="103564"/>
                    </a:cubicBezTo>
                    <a:cubicBezTo>
                      <a:pt x="318245" y="91030"/>
                      <a:pt x="302471" y="86440"/>
                      <a:pt x="286370" y="87332"/>
                    </a:cubicBezTo>
                    <a:close/>
                    <a:moveTo>
                      <a:pt x="265982" y="70"/>
                    </a:moveTo>
                    <a:cubicBezTo>
                      <a:pt x="306210" y="1214"/>
                      <a:pt x="345660" y="16388"/>
                      <a:pt x="381504" y="47502"/>
                    </a:cubicBezTo>
                    <a:cubicBezTo>
                      <a:pt x="477087" y="130475"/>
                      <a:pt x="464265" y="253181"/>
                      <a:pt x="371013" y="363031"/>
                    </a:cubicBezTo>
                    <a:cubicBezTo>
                      <a:pt x="276596" y="470545"/>
                      <a:pt x="149540" y="491580"/>
                      <a:pt x="63282" y="416788"/>
                    </a:cubicBezTo>
                    <a:cubicBezTo>
                      <a:pt x="-22976" y="341996"/>
                      <a:pt x="-21810" y="209941"/>
                      <a:pt x="71441" y="102428"/>
                    </a:cubicBezTo>
                    <a:cubicBezTo>
                      <a:pt x="129724" y="35232"/>
                      <a:pt x="198934" y="-1835"/>
                      <a:pt x="265982" y="7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zh-CN" altLang="en-US"/>
              </a:p>
            </p:txBody>
          </p:sp>
          <p:sp>
            <p:nvSpPr>
              <p:cNvPr id="17" name="Freeform 14"/>
              <p:cNvSpPr>
                <a:spLocks/>
              </p:cNvSpPr>
              <p:nvPr/>
            </p:nvSpPr>
            <p:spPr bwMode="auto">
              <a:xfrm>
                <a:off x="10079038" y="1990725"/>
                <a:ext cx="227013" cy="246062"/>
              </a:xfrm>
              <a:custGeom>
                <a:avLst/>
                <a:gdLst>
                  <a:gd name="T0" fmla="*/ 195 w 195"/>
                  <a:gd name="T1" fmla="*/ 1 h 211"/>
                  <a:gd name="T2" fmla="*/ 8 w 195"/>
                  <a:gd name="T3" fmla="*/ 211 h 211"/>
                  <a:gd name="T4" fmla="*/ 195 w 195"/>
                  <a:gd name="T5" fmla="*/ 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5" h="211">
                    <a:moveTo>
                      <a:pt x="195" y="1"/>
                    </a:moveTo>
                    <a:cubicBezTo>
                      <a:pt x="114" y="17"/>
                      <a:pt x="16" y="130"/>
                      <a:pt x="8" y="211"/>
                    </a:cubicBezTo>
                    <a:cubicBezTo>
                      <a:pt x="0" y="118"/>
                      <a:pt x="100" y="0"/>
                      <a:pt x="19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8" name="Freeform 15"/>
              <p:cNvSpPr>
                <a:spLocks/>
              </p:cNvSpPr>
              <p:nvPr/>
            </p:nvSpPr>
            <p:spPr bwMode="auto">
              <a:xfrm>
                <a:off x="10231438" y="2114550"/>
                <a:ext cx="222250" cy="247650"/>
              </a:xfrm>
              <a:custGeom>
                <a:avLst/>
                <a:gdLst>
                  <a:gd name="T0" fmla="*/ 181 w 190"/>
                  <a:gd name="T1" fmla="*/ 0 h 212"/>
                  <a:gd name="T2" fmla="*/ 0 w 190"/>
                  <a:gd name="T3" fmla="*/ 212 h 212"/>
                  <a:gd name="T4" fmla="*/ 181 w 190"/>
                  <a:gd name="T5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0" h="212">
                    <a:moveTo>
                      <a:pt x="181" y="0"/>
                    </a:moveTo>
                    <a:cubicBezTo>
                      <a:pt x="190" y="89"/>
                      <a:pt x="85" y="204"/>
                      <a:pt x="0" y="212"/>
                    </a:cubicBezTo>
                    <a:cubicBezTo>
                      <a:pt x="76" y="187"/>
                      <a:pt x="170" y="79"/>
                      <a:pt x="18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9" name="Freeform 16"/>
              <p:cNvSpPr>
                <a:spLocks/>
              </p:cNvSpPr>
              <p:nvPr/>
            </p:nvSpPr>
            <p:spPr bwMode="auto">
              <a:xfrm>
                <a:off x="10260013" y="2260600"/>
                <a:ext cx="488950" cy="439737"/>
              </a:xfrm>
              <a:custGeom>
                <a:avLst/>
                <a:gdLst>
                  <a:gd name="T0" fmla="*/ 300 w 420"/>
                  <a:gd name="T1" fmla="*/ 67 h 376"/>
                  <a:gd name="T2" fmla="*/ 300 w 420"/>
                  <a:gd name="T3" fmla="*/ 68 h 376"/>
                  <a:gd name="T4" fmla="*/ 82 w 420"/>
                  <a:gd name="T5" fmla="*/ 223 h 376"/>
                  <a:gd name="T6" fmla="*/ 37 w 420"/>
                  <a:gd name="T7" fmla="*/ 169 h 376"/>
                  <a:gd name="T8" fmla="*/ 0 w 420"/>
                  <a:gd name="T9" fmla="*/ 195 h 376"/>
                  <a:gd name="T10" fmla="*/ 128 w 420"/>
                  <a:gd name="T11" fmla="*/ 376 h 376"/>
                  <a:gd name="T12" fmla="*/ 165 w 420"/>
                  <a:gd name="T13" fmla="*/ 350 h 376"/>
                  <a:gd name="T14" fmla="*/ 131 w 420"/>
                  <a:gd name="T15" fmla="*/ 293 h 376"/>
                  <a:gd name="T16" fmla="*/ 420 w 420"/>
                  <a:gd name="T17" fmla="*/ 88 h 376"/>
                  <a:gd name="T18" fmla="*/ 376 w 420"/>
                  <a:gd name="T19" fmla="*/ 26 h 376"/>
                  <a:gd name="T20" fmla="*/ 255 w 420"/>
                  <a:gd name="T21" fmla="*/ 0 h 376"/>
                  <a:gd name="T22" fmla="*/ 239 w 420"/>
                  <a:gd name="T23" fmla="*/ 45 h 376"/>
                  <a:gd name="T24" fmla="*/ 278 w 420"/>
                  <a:gd name="T25" fmla="*/ 61 h 376"/>
                  <a:gd name="T26" fmla="*/ 300 w 420"/>
                  <a:gd name="T27" fmla="*/ 67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20" h="376">
                    <a:moveTo>
                      <a:pt x="300" y="67"/>
                    </a:moveTo>
                    <a:cubicBezTo>
                      <a:pt x="300" y="68"/>
                      <a:pt x="300" y="68"/>
                      <a:pt x="300" y="68"/>
                    </a:cubicBezTo>
                    <a:cubicBezTo>
                      <a:pt x="82" y="223"/>
                      <a:pt x="82" y="223"/>
                      <a:pt x="82" y="223"/>
                    </a:cubicBezTo>
                    <a:cubicBezTo>
                      <a:pt x="67" y="204"/>
                      <a:pt x="52" y="186"/>
                      <a:pt x="37" y="169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35" y="259"/>
                      <a:pt x="80" y="321"/>
                      <a:pt x="128" y="376"/>
                    </a:cubicBezTo>
                    <a:cubicBezTo>
                      <a:pt x="165" y="350"/>
                      <a:pt x="165" y="350"/>
                      <a:pt x="165" y="350"/>
                    </a:cubicBezTo>
                    <a:cubicBezTo>
                      <a:pt x="155" y="331"/>
                      <a:pt x="144" y="312"/>
                      <a:pt x="131" y="293"/>
                    </a:cubicBezTo>
                    <a:cubicBezTo>
                      <a:pt x="420" y="88"/>
                      <a:pt x="420" y="88"/>
                      <a:pt x="420" y="88"/>
                    </a:cubicBezTo>
                    <a:cubicBezTo>
                      <a:pt x="408" y="65"/>
                      <a:pt x="393" y="44"/>
                      <a:pt x="376" y="26"/>
                    </a:cubicBezTo>
                    <a:cubicBezTo>
                      <a:pt x="255" y="0"/>
                      <a:pt x="255" y="0"/>
                      <a:pt x="255" y="0"/>
                    </a:cubicBezTo>
                    <a:cubicBezTo>
                      <a:pt x="248" y="14"/>
                      <a:pt x="242" y="29"/>
                      <a:pt x="239" y="45"/>
                    </a:cubicBezTo>
                    <a:cubicBezTo>
                      <a:pt x="278" y="61"/>
                      <a:pt x="278" y="61"/>
                      <a:pt x="278" y="61"/>
                    </a:cubicBezTo>
                    <a:cubicBezTo>
                      <a:pt x="285" y="64"/>
                      <a:pt x="292" y="66"/>
                      <a:pt x="300" y="6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0" name="Freeform 17"/>
              <p:cNvSpPr>
                <a:spLocks/>
              </p:cNvSpPr>
              <p:nvPr/>
            </p:nvSpPr>
            <p:spPr bwMode="auto">
              <a:xfrm>
                <a:off x="10375900" y="2355850"/>
                <a:ext cx="287338" cy="203200"/>
              </a:xfrm>
              <a:custGeom>
                <a:avLst/>
                <a:gdLst>
                  <a:gd name="T0" fmla="*/ 169 w 181"/>
                  <a:gd name="T1" fmla="*/ 0 h 128"/>
                  <a:gd name="T2" fmla="*/ 181 w 181"/>
                  <a:gd name="T3" fmla="*/ 3 h 128"/>
                  <a:gd name="T4" fmla="*/ 5 w 181"/>
                  <a:gd name="T5" fmla="*/ 128 h 128"/>
                  <a:gd name="T6" fmla="*/ 0 w 181"/>
                  <a:gd name="T7" fmla="*/ 120 h 128"/>
                  <a:gd name="T8" fmla="*/ 169 w 181"/>
                  <a:gd name="T9" fmla="*/ 0 h 128"/>
                  <a:gd name="T10" fmla="*/ 169 w 181"/>
                  <a:gd name="T11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1" h="128">
                    <a:moveTo>
                      <a:pt x="169" y="0"/>
                    </a:moveTo>
                    <a:lnTo>
                      <a:pt x="181" y="3"/>
                    </a:lnTo>
                    <a:lnTo>
                      <a:pt x="5" y="128"/>
                    </a:lnTo>
                    <a:lnTo>
                      <a:pt x="0" y="120"/>
                    </a:lnTo>
                    <a:lnTo>
                      <a:pt x="169" y="0"/>
                    </a:lnTo>
                    <a:lnTo>
                      <a:pt x="16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" name="Freeform 18"/>
              <p:cNvSpPr>
                <a:spLocks/>
              </p:cNvSpPr>
              <p:nvPr/>
            </p:nvSpPr>
            <p:spPr bwMode="auto">
              <a:xfrm>
                <a:off x="10452100" y="2532063"/>
                <a:ext cx="515938" cy="441325"/>
              </a:xfrm>
              <a:custGeom>
                <a:avLst/>
                <a:gdLst>
                  <a:gd name="T0" fmla="*/ 372 w 443"/>
                  <a:gd name="T1" fmla="*/ 55 h 379"/>
                  <a:gd name="T2" fmla="*/ 343 w 443"/>
                  <a:gd name="T3" fmla="*/ 0 h 379"/>
                  <a:gd name="T4" fmla="*/ 153 w 443"/>
                  <a:gd name="T5" fmla="*/ 85 h 379"/>
                  <a:gd name="T6" fmla="*/ 178 w 443"/>
                  <a:gd name="T7" fmla="*/ 147 h 379"/>
                  <a:gd name="T8" fmla="*/ 216 w 443"/>
                  <a:gd name="T9" fmla="*/ 191 h 379"/>
                  <a:gd name="T10" fmla="*/ 174 w 443"/>
                  <a:gd name="T11" fmla="*/ 265 h 379"/>
                  <a:gd name="T12" fmla="*/ 78 w 443"/>
                  <a:gd name="T13" fmla="*/ 250 h 379"/>
                  <a:gd name="T14" fmla="*/ 123 w 443"/>
                  <a:gd name="T15" fmla="*/ 166 h 379"/>
                  <a:gd name="T16" fmla="*/ 96 w 443"/>
                  <a:gd name="T17" fmla="*/ 107 h 379"/>
                  <a:gd name="T18" fmla="*/ 17 w 443"/>
                  <a:gd name="T19" fmla="*/ 145 h 379"/>
                  <a:gd name="T20" fmla="*/ 20 w 443"/>
                  <a:gd name="T21" fmla="*/ 271 h 379"/>
                  <a:gd name="T22" fmla="*/ 205 w 443"/>
                  <a:gd name="T23" fmla="*/ 351 h 379"/>
                  <a:gd name="T24" fmla="*/ 278 w 443"/>
                  <a:gd name="T25" fmla="*/ 183 h 379"/>
                  <a:gd name="T26" fmla="*/ 246 w 443"/>
                  <a:gd name="T27" fmla="*/ 131 h 379"/>
                  <a:gd name="T28" fmla="*/ 321 w 443"/>
                  <a:gd name="T29" fmla="*/ 97 h 379"/>
                  <a:gd name="T30" fmla="*/ 364 w 443"/>
                  <a:gd name="T31" fmla="*/ 193 h 379"/>
                  <a:gd name="T32" fmla="*/ 335 w 443"/>
                  <a:gd name="T33" fmla="*/ 221 h 379"/>
                  <a:gd name="T34" fmla="*/ 353 w 443"/>
                  <a:gd name="T35" fmla="*/ 259 h 379"/>
                  <a:gd name="T36" fmla="*/ 443 w 443"/>
                  <a:gd name="T37" fmla="*/ 222 h 379"/>
                  <a:gd name="T38" fmla="*/ 426 w 443"/>
                  <a:gd name="T39" fmla="*/ 174 h 379"/>
                  <a:gd name="T40" fmla="*/ 372 w 443"/>
                  <a:gd name="T41" fmla="*/ 55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43" h="379">
                    <a:moveTo>
                      <a:pt x="372" y="55"/>
                    </a:moveTo>
                    <a:cubicBezTo>
                      <a:pt x="363" y="36"/>
                      <a:pt x="354" y="17"/>
                      <a:pt x="343" y="0"/>
                    </a:cubicBezTo>
                    <a:cubicBezTo>
                      <a:pt x="153" y="85"/>
                      <a:pt x="153" y="85"/>
                      <a:pt x="153" y="85"/>
                    </a:cubicBezTo>
                    <a:cubicBezTo>
                      <a:pt x="161" y="112"/>
                      <a:pt x="165" y="124"/>
                      <a:pt x="178" y="147"/>
                    </a:cubicBezTo>
                    <a:cubicBezTo>
                      <a:pt x="195" y="155"/>
                      <a:pt x="211" y="178"/>
                      <a:pt x="216" y="191"/>
                    </a:cubicBezTo>
                    <a:cubicBezTo>
                      <a:pt x="227" y="219"/>
                      <a:pt x="212" y="249"/>
                      <a:pt x="174" y="265"/>
                    </a:cubicBezTo>
                    <a:cubicBezTo>
                      <a:pt x="142" y="280"/>
                      <a:pt x="95" y="290"/>
                      <a:pt x="78" y="250"/>
                    </a:cubicBezTo>
                    <a:cubicBezTo>
                      <a:pt x="64" y="218"/>
                      <a:pt x="75" y="193"/>
                      <a:pt x="123" y="166"/>
                    </a:cubicBezTo>
                    <a:cubicBezTo>
                      <a:pt x="115" y="143"/>
                      <a:pt x="107" y="126"/>
                      <a:pt x="96" y="107"/>
                    </a:cubicBezTo>
                    <a:cubicBezTo>
                      <a:pt x="66" y="119"/>
                      <a:pt x="43" y="130"/>
                      <a:pt x="17" y="145"/>
                    </a:cubicBezTo>
                    <a:cubicBezTo>
                      <a:pt x="1" y="187"/>
                      <a:pt x="0" y="227"/>
                      <a:pt x="20" y="271"/>
                    </a:cubicBezTo>
                    <a:cubicBezTo>
                      <a:pt x="62" y="364"/>
                      <a:pt x="138" y="379"/>
                      <a:pt x="205" y="351"/>
                    </a:cubicBezTo>
                    <a:cubicBezTo>
                      <a:pt x="288" y="316"/>
                      <a:pt x="308" y="254"/>
                      <a:pt x="278" y="183"/>
                    </a:cubicBezTo>
                    <a:cubicBezTo>
                      <a:pt x="273" y="169"/>
                      <a:pt x="261" y="145"/>
                      <a:pt x="246" y="131"/>
                    </a:cubicBezTo>
                    <a:cubicBezTo>
                      <a:pt x="321" y="97"/>
                      <a:pt x="321" y="97"/>
                      <a:pt x="321" y="97"/>
                    </a:cubicBezTo>
                    <a:cubicBezTo>
                      <a:pt x="364" y="193"/>
                      <a:pt x="364" y="193"/>
                      <a:pt x="364" y="193"/>
                    </a:cubicBezTo>
                    <a:cubicBezTo>
                      <a:pt x="353" y="203"/>
                      <a:pt x="341" y="213"/>
                      <a:pt x="335" y="221"/>
                    </a:cubicBezTo>
                    <a:cubicBezTo>
                      <a:pt x="353" y="259"/>
                      <a:pt x="353" y="259"/>
                      <a:pt x="353" y="259"/>
                    </a:cubicBezTo>
                    <a:cubicBezTo>
                      <a:pt x="381" y="250"/>
                      <a:pt x="414" y="237"/>
                      <a:pt x="443" y="222"/>
                    </a:cubicBezTo>
                    <a:cubicBezTo>
                      <a:pt x="439" y="205"/>
                      <a:pt x="433" y="189"/>
                      <a:pt x="426" y="174"/>
                    </a:cubicBezTo>
                    <a:cubicBezTo>
                      <a:pt x="372" y="55"/>
                      <a:pt x="372" y="55"/>
                      <a:pt x="372" y="5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" name="Freeform 19"/>
              <p:cNvSpPr>
                <a:spLocks/>
              </p:cNvSpPr>
              <p:nvPr/>
            </p:nvSpPr>
            <p:spPr bwMode="auto">
              <a:xfrm>
                <a:off x="10567988" y="2806700"/>
                <a:ext cx="179388" cy="104775"/>
              </a:xfrm>
              <a:custGeom>
                <a:avLst/>
                <a:gdLst>
                  <a:gd name="T0" fmla="*/ 83 w 153"/>
                  <a:gd name="T1" fmla="*/ 64 h 90"/>
                  <a:gd name="T2" fmla="*/ 151 w 153"/>
                  <a:gd name="T3" fmla="*/ 0 h 90"/>
                  <a:gd name="T4" fmla="*/ 86 w 153"/>
                  <a:gd name="T5" fmla="*/ 78 h 90"/>
                  <a:gd name="T6" fmla="*/ 0 w 153"/>
                  <a:gd name="T7" fmla="*/ 75 h 90"/>
                  <a:gd name="T8" fmla="*/ 83 w 153"/>
                  <a:gd name="T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3" h="90">
                    <a:moveTo>
                      <a:pt x="83" y="64"/>
                    </a:moveTo>
                    <a:cubicBezTo>
                      <a:pt x="110" y="54"/>
                      <a:pt x="139" y="33"/>
                      <a:pt x="151" y="0"/>
                    </a:cubicBezTo>
                    <a:cubicBezTo>
                      <a:pt x="153" y="36"/>
                      <a:pt x="121" y="64"/>
                      <a:pt x="86" y="78"/>
                    </a:cubicBezTo>
                    <a:cubicBezTo>
                      <a:pt x="54" y="90"/>
                      <a:pt x="26" y="90"/>
                      <a:pt x="0" y="75"/>
                    </a:cubicBezTo>
                    <a:cubicBezTo>
                      <a:pt x="29" y="82"/>
                      <a:pt x="57" y="76"/>
                      <a:pt x="83" y="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" name="Freeform 20"/>
              <p:cNvSpPr>
                <a:spLocks/>
              </p:cNvSpPr>
              <p:nvPr/>
            </p:nvSpPr>
            <p:spPr bwMode="auto">
              <a:xfrm>
                <a:off x="10677525" y="2586038"/>
                <a:ext cx="133350" cy="65087"/>
              </a:xfrm>
              <a:custGeom>
                <a:avLst/>
                <a:gdLst>
                  <a:gd name="T0" fmla="*/ 17 w 115"/>
                  <a:gd name="T1" fmla="*/ 55 h 55"/>
                  <a:gd name="T2" fmla="*/ 0 w 115"/>
                  <a:gd name="T3" fmla="*/ 50 h 55"/>
                  <a:gd name="T4" fmla="*/ 111 w 115"/>
                  <a:gd name="T5" fmla="*/ 0 h 55"/>
                  <a:gd name="T6" fmla="*/ 115 w 115"/>
                  <a:gd name="T7" fmla="*/ 10 h 55"/>
                  <a:gd name="T8" fmla="*/ 17 w 115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5" h="55">
                    <a:moveTo>
                      <a:pt x="17" y="55"/>
                    </a:moveTo>
                    <a:cubicBezTo>
                      <a:pt x="12" y="52"/>
                      <a:pt x="7" y="51"/>
                      <a:pt x="0" y="50"/>
                    </a:cubicBezTo>
                    <a:cubicBezTo>
                      <a:pt x="111" y="0"/>
                      <a:pt x="111" y="0"/>
                      <a:pt x="111" y="0"/>
                    </a:cubicBezTo>
                    <a:cubicBezTo>
                      <a:pt x="115" y="10"/>
                      <a:pt x="115" y="10"/>
                      <a:pt x="115" y="10"/>
                    </a:cubicBezTo>
                    <a:cubicBezTo>
                      <a:pt x="17" y="55"/>
                      <a:pt x="17" y="55"/>
                      <a:pt x="17" y="5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" name="Freeform 21"/>
              <p:cNvSpPr>
                <a:spLocks/>
              </p:cNvSpPr>
              <p:nvPr/>
            </p:nvSpPr>
            <p:spPr bwMode="auto">
              <a:xfrm>
                <a:off x="10499725" y="2698750"/>
                <a:ext cx="46038" cy="65087"/>
              </a:xfrm>
              <a:custGeom>
                <a:avLst/>
                <a:gdLst>
                  <a:gd name="T0" fmla="*/ 3 w 40"/>
                  <a:gd name="T1" fmla="*/ 56 h 56"/>
                  <a:gd name="T2" fmla="*/ 5 w 40"/>
                  <a:gd name="T3" fmla="*/ 18 h 56"/>
                  <a:gd name="T4" fmla="*/ 39 w 40"/>
                  <a:gd name="T5" fmla="*/ 0 h 56"/>
                  <a:gd name="T6" fmla="*/ 40 w 40"/>
                  <a:gd name="T7" fmla="*/ 1 h 56"/>
                  <a:gd name="T8" fmla="*/ 3 w 40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56">
                    <a:moveTo>
                      <a:pt x="3" y="56"/>
                    </a:moveTo>
                    <a:cubicBezTo>
                      <a:pt x="0" y="43"/>
                      <a:pt x="2" y="30"/>
                      <a:pt x="5" y="18"/>
                    </a:cubicBezTo>
                    <a:cubicBezTo>
                      <a:pt x="16" y="10"/>
                      <a:pt x="28" y="5"/>
                      <a:pt x="39" y="0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22" y="16"/>
                      <a:pt x="6" y="32"/>
                      <a:pt x="3" y="5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" name="Freeform 22"/>
              <p:cNvSpPr>
                <a:spLocks/>
              </p:cNvSpPr>
              <p:nvPr/>
            </p:nvSpPr>
            <p:spPr bwMode="auto">
              <a:xfrm>
                <a:off x="10868025" y="2768600"/>
                <a:ext cx="53975" cy="30162"/>
              </a:xfrm>
              <a:custGeom>
                <a:avLst/>
                <a:gdLst>
                  <a:gd name="T0" fmla="*/ 47 w 47"/>
                  <a:gd name="T1" fmla="*/ 5 h 26"/>
                  <a:gd name="T2" fmla="*/ 1 w 47"/>
                  <a:gd name="T3" fmla="*/ 26 h 26"/>
                  <a:gd name="T4" fmla="*/ 0 w 47"/>
                  <a:gd name="T5" fmla="*/ 23 h 26"/>
                  <a:gd name="T6" fmla="*/ 33 w 47"/>
                  <a:gd name="T7" fmla="*/ 0 h 26"/>
                  <a:gd name="T8" fmla="*/ 47 w 47"/>
                  <a:gd name="T9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26">
                    <a:moveTo>
                      <a:pt x="47" y="5"/>
                    </a:moveTo>
                    <a:cubicBezTo>
                      <a:pt x="1" y="26"/>
                      <a:pt x="1" y="26"/>
                      <a:pt x="1" y="26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9" y="15"/>
                      <a:pt x="17" y="8"/>
                      <a:pt x="33" y="0"/>
                    </a:cubicBezTo>
                    <a:cubicBezTo>
                      <a:pt x="47" y="5"/>
                      <a:pt x="47" y="5"/>
                      <a:pt x="47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" name="Freeform 23"/>
              <p:cNvSpPr>
                <a:spLocks noEditPoints="1"/>
              </p:cNvSpPr>
              <p:nvPr/>
            </p:nvSpPr>
            <p:spPr bwMode="auto">
              <a:xfrm>
                <a:off x="9236075" y="2574925"/>
                <a:ext cx="212725" cy="174625"/>
              </a:xfrm>
              <a:custGeom>
                <a:avLst/>
                <a:gdLst>
                  <a:gd name="T0" fmla="*/ 124 w 183"/>
                  <a:gd name="T1" fmla="*/ 3 h 150"/>
                  <a:gd name="T2" fmla="*/ 124 w 183"/>
                  <a:gd name="T3" fmla="*/ 17 h 150"/>
                  <a:gd name="T4" fmla="*/ 138 w 183"/>
                  <a:gd name="T5" fmla="*/ 18 h 150"/>
                  <a:gd name="T6" fmla="*/ 126 w 183"/>
                  <a:gd name="T7" fmla="*/ 72 h 150"/>
                  <a:gd name="T8" fmla="*/ 124 w 183"/>
                  <a:gd name="T9" fmla="*/ 85 h 150"/>
                  <a:gd name="T10" fmla="*/ 123 w 183"/>
                  <a:gd name="T11" fmla="*/ 85 h 150"/>
                  <a:gd name="T12" fmla="*/ 121 w 183"/>
                  <a:gd name="T13" fmla="*/ 73 h 150"/>
                  <a:gd name="T14" fmla="*/ 104 w 183"/>
                  <a:gd name="T15" fmla="*/ 2 h 150"/>
                  <a:gd name="T16" fmla="*/ 77 w 183"/>
                  <a:gd name="T17" fmla="*/ 2 h 150"/>
                  <a:gd name="T18" fmla="*/ 59 w 183"/>
                  <a:gd name="T19" fmla="*/ 74 h 150"/>
                  <a:gd name="T20" fmla="*/ 56 w 183"/>
                  <a:gd name="T21" fmla="*/ 87 h 150"/>
                  <a:gd name="T22" fmla="*/ 56 w 183"/>
                  <a:gd name="T23" fmla="*/ 87 h 150"/>
                  <a:gd name="T24" fmla="*/ 54 w 183"/>
                  <a:gd name="T25" fmla="*/ 74 h 150"/>
                  <a:gd name="T26" fmla="*/ 42 w 183"/>
                  <a:gd name="T27" fmla="*/ 18 h 150"/>
                  <a:gd name="T28" fmla="*/ 56 w 183"/>
                  <a:gd name="T29" fmla="*/ 17 h 150"/>
                  <a:gd name="T30" fmla="*/ 56 w 183"/>
                  <a:gd name="T31" fmla="*/ 3 h 150"/>
                  <a:gd name="T32" fmla="*/ 0 w 183"/>
                  <a:gd name="T33" fmla="*/ 3 h 150"/>
                  <a:gd name="T34" fmla="*/ 0 w 183"/>
                  <a:gd name="T35" fmla="*/ 17 h 150"/>
                  <a:gd name="T36" fmla="*/ 13 w 183"/>
                  <a:gd name="T37" fmla="*/ 18 h 150"/>
                  <a:gd name="T38" fmla="*/ 44 w 183"/>
                  <a:gd name="T39" fmla="*/ 149 h 150"/>
                  <a:gd name="T40" fmla="*/ 70 w 183"/>
                  <a:gd name="T41" fmla="*/ 149 h 150"/>
                  <a:gd name="T42" fmla="*/ 89 w 183"/>
                  <a:gd name="T43" fmla="*/ 69 h 150"/>
                  <a:gd name="T44" fmla="*/ 91 w 183"/>
                  <a:gd name="T45" fmla="*/ 57 h 150"/>
                  <a:gd name="T46" fmla="*/ 92 w 183"/>
                  <a:gd name="T47" fmla="*/ 57 h 150"/>
                  <a:gd name="T48" fmla="*/ 94 w 183"/>
                  <a:gd name="T49" fmla="*/ 69 h 150"/>
                  <a:gd name="T50" fmla="*/ 113 w 183"/>
                  <a:gd name="T51" fmla="*/ 149 h 150"/>
                  <a:gd name="T52" fmla="*/ 139 w 183"/>
                  <a:gd name="T53" fmla="*/ 149 h 150"/>
                  <a:gd name="T54" fmla="*/ 171 w 183"/>
                  <a:gd name="T55" fmla="*/ 18 h 150"/>
                  <a:gd name="T56" fmla="*/ 183 w 183"/>
                  <a:gd name="T57" fmla="*/ 17 h 150"/>
                  <a:gd name="T58" fmla="*/ 183 w 183"/>
                  <a:gd name="T59" fmla="*/ 3 h 150"/>
                  <a:gd name="T60" fmla="*/ 124 w 183"/>
                  <a:gd name="T61" fmla="*/ 3 h 150"/>
                  <a:gd name="T62" fmla="*/ 150 w 183"/>
                  <a:gd name="T63" fmla="*/ 18 h 150"/>
                  <a:gd name="T64" fmla="*/ 154 w 183"/>
                  <a:gd name="T65" fmla="*/ 18 h 150"/>
                  <a:gd name="T66" fmla="*/ 129 w 183"/>
                  <a:gd name="T67" fmla="*/ 132 h 150"/>
                  <a:gd name="T68" fmla="*/ 124 w 183"/>
                  <a:gd name="T69" fmla="*/ 132 h 150"/>
                  <a:gd name="T70" fmla="*/ 150 w 183"/>
                  <a:gd name="T71" fmla="*/ 18 h 150"/>
                  <a:gd name="T72" fmla="*/ 88 w 183"/>
                  <a:gd name="T73" fmla="*/ 18 h 150"/>
                  <a:gd name="T74" fmla="*/ 60 w 183"/>
                  <a:gd name="T75" fmla="*/ 132 h 150"/>
                  <a:gd name="T76" fmla="*/ 55 w 183"/>
                  <a:gd name="T77" fmla="*/ 132 h 150"/>
                  <a:gd name="T78" fmla="*/ 84 w 183"/>
                  <a:gd name="T79" fmla="*/ 18 h 150"/>
                  <a:gd name="T80" fmla="*/ 88 w 183"/>
                  <a:gd name="T81" fmla="*/ 1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3" h="150">
                    <a:moveTo>
                      <a:pt x="124" y="3"/>
                    </a:moveTo>
                    <a:cubicBezTo>
                      <a:pt x="124" y="17"/>
                      <a:pt x="124" y="17"/>
                      <a:pt x="124" y="17"/>
                    </a:cubicBezTo>
                    <a:cubicBezTo>
                      <a:pt x="128" y="18"/>
                      <a:pt x="134" y="18"/>
                      <a:pt x="138" y="18"/>
                    </a:cubicBezTo>
                    <a:cubicBezTo>
                      <a:pt x="126" y="72"/>
                      <a:pt x="126" y="72"/>
                      <a:pt x="126" y="72"/>
                    </a:cubicBezTo>
                    <a:cubicBezTo>
                      <a:pt x="125" y="77"/>
                      <a:pt x="125" y="80"/>
                      <a:pt x="124" y="85"/>
                    </a:cubicBezTo>
                    <a:cubicBezTo>
                      <a:pt x="123" y="85"/>
                      <a:pt x="123" y="85"/>
                      <a:pt x="123" y="85"/>
                    </a:cubicBezTo>
                    <a:cubicBezTo>
                      <a:pt x="123" y="81"/>
                      <a:pt x="122" y="77"/>
                      <a:pt x="121" y="73"/>
                    </a:cubicBezTo>
                    <a:cubicBezTo>
                      <a:pt x="104" y="2"/>
                      <a:pt x="104" y="2"/>
                      <a:pt x="104" y="2"/>
                    </a:cubicBezTo>
                    <a:cubicBezTo>
                      <a:pt x="94" y="1"/>
                      <a:pt x="87" y="1"/>
                      <a:pt x="77" y="2"/>
                    </a:cubicBezTo>
                    <a:cubicBezTo>
                      <a:pt x="59" y="74"/>
                      <a:pt x="59" y="74"/>
                      <a:pt x="59" y="74"/>
                    </a:cubicBezTo>
                    <a:cubicBezTo>
                      <a:pt x="58" y="78"/>
                      <a:pt x="57" y="82"/>
                      <a:pt x="56" y="87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5" y="82"/>
                      <a:pt x="54" y="78"/>
                      <a:pt x="54" y="74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6" y="18"/>
                      <a:pt x="52" y="18"/>
                      <a:pt x="56" y="17"/>
                    </a:cubicBezTo>
                    <a:cubicBezTo>
                      <a:pt x="56" y="3"/>
                      <a:pt x="56" y="3"/>
                      <a:pt x="56" y="3"/>
                    </a:cubicBezTo>
                    <a:cubicBezTo>
                      <a:pt x="36" y="0"/>
                      <a:pt x="21" y="0"/>
                      <a:pt x="0" y="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5" y="18"/>
                      <a:pt x="8" y="18"/>
                      <a:pt x="13" y="18"/>
                    </a:cubicBezTo>
                    <a:cubicBezTo>
                      <a:pt x="44" y="149"/>
                      <a:pt x="44" y="149"/>
                      <a:pt x="44" y="149"/>
                    </a:cubicBezTo>
                    <a:cubicBezTo>
                      <a:pt x="53" y="150"/>
                      <a:pt x="61" y="150"/>
                      <a:pt x="70" y="149"/>
                    </a:cubicBezTo>
                    <a:cubicBezTo>
                      <a:pt x="89" y="69"/>
                      <a:pt x="89" y="69"/>
                      <a:pt x="89" y="69"/>
                    </a:cubicBezTo>
                    <a:cubicBezTo>
                      <a:pt x="90" y="65"/>
                      <a:pt x="91" y="61"/>
                      <a:pt x="91" y="57"/>
                    </a:cubicBezTo>
                    <a:cubicBezTo>
                      <a:pt x="92" y="57"/>
                      <a:pt x="92" y="57"/>
                      <a:pt x="92" y="57"/>
                    </a:cubicBezTo>
                    <a:cubicBezTo>
                      <a:pt x="92" y="62"/>
                      <a:pt x="93" y="65"/>
                      <a:pt x="94" y="69"/>
                    </a:cubicBezTo>
                    <a:cubicBezTo>
                      <a:pt x="113" y="149"/>
                      <a:pt x="113" y="149"/>
                      <a:pt x="113" y="149"/>
                    </a:cubicBezTo>
                    <a:cubicBezTo>
                      <a:pt x="125" y="150"/>
                      <a:pt x="130" y="150"/>
                      <a:pt x="139" y="149"/>
                    </a:cubicBezTo>
                    <a:cubicBezTo>
                      <a:pt x="171" y="18"/>
                      <a:pt x="171" y="18"/>
                      <a:pt x="171" y="18"/>
                    </a:cubicBezTo>
                    <a:cubicBezTo>
                      <a:pt x="176" y="18"/>
                      <a:pt x="178" y="18"/>
                      <a:pt x="183" y="17"/>
                    </a:cubicBezTo>
                    <a:cubicBezTo>
                      <a:pt x="183" y="3"/>
                      <a:pt x="183" y="3"/>
                      <a:pt x="183" y="3"/>
                    </a:cubicBezTo>
                    <a:cubicBezTo>
                      <a:pt x="163" y="1"/>
                      <a:pt x="143" y="0"/>
                      <a:pt x="124" y="3"/>
                    </a:cubicBezTo>
                    <a:close/>
                    <a:moveTo>
                      <a:pt x="150" y="18"/>
                    </a:moveTo>
                    <a:cubicBezTo>
                      <a:pt x="154" y="18"/>
                      <a:pt x="154" y="18"/>
                      <a:pt x="154" y="18"/>
                    </a:cubicBezTo>
                    <a:cubicBezTo>
                      <a:pt x="129" y="132"/>
                      <a:pt x="129" y="132"/>
                      <a:pt x="129" y="132"/>
                    </a:cubicBezTo>
                    <a:cubicBezTo>
                      <a:pt x="124" y="132"/>
                      <a:pt x="124" y="132"/>
                      <a:pt x="124" y="132"/>
                    </a:cubicBezTo>
                    <a:cubicBezTo>
                      <a:pt x="150" y="18"/>
                      <a:pt x="150" y="18"/>
                      <a:pt x="150" y="18"/>
                    </a:cubicBezTo>
                    <a:close/>
                    <a:moveTo>
                      <a:pt x="88" y="18"/>
                    </a:moveTo>
                    <a:cubicBezTo>
                      <a:pt x="60" y="132"/>
                      <a:pt x="60" y="132"/>
                      <a:pt x="60" y="132"/>
                    </a:cubicBezTo>
                    <a:cubicBezTo>
                      <a:pt x="55" y="132"/>
                      <a:pt x="55" y="132"/>
                      <a:pt x="55" y="132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8" y="18"/>
                      <a:pt x="88" y="18"/>
                      <a:pt x="88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" name="Freeform 24"/>
              <p:cNvSpPr>
                <a:spLocks noEditPoints="1"/>
              </p:cNvSpPr>
              <p:nvPr/>
            </p:nvSpPr>
            <p:spPr bwMode="auto">
              <a:xfrm>
                <a:off x="9451975" y="2573338"/>
                <a:ext cx="146050" cy="177800"/>
              </a:xfrm>
              <a:custGeom>
                <a:avLst/>
                <a:gdLst>
                  <a:gd name="T0" fmla="*/ 125 w 125"/>
                  <a:gd name="T1" fmla="*/ 76 h 152"/>
                  <a:gd name="T2" fmla="*/ 62 w 125"/>
                  <a:gd name="T3" fmla="*/ 0 h 152"/>
                  <a:gd name="T4" fmla="*/ 0 w 125"/>
                  <a:gd name="T5" fmla="*/ 76 h 152"/>
                  <a:gd name="T6" fmla="*/ 62 w 125"/>
                  <a:gd name="T7" fmla="*/ 152 h 152"/>
                  <a:gd name="T8" fmla="*/ 125 w 125"/>
                  <a:gd name="T9" fmla="*/ 76 h 152"/>
                  <a:gd name="T10" fmla="*/ 90 w 125"/>
                  <a:gd name="T11" fmla="*/ 76 h 152"/>
                  <a:gd name="T12" fmla="*/ 62 w 125"/>
                  <a:gd name="T13" fmla="*/ 129 h 152"/>
                  <a:gd name="T14" fmla="*/ 35 w 125"/>
                  <a:gd name="T15" fmla="*/ 76 h 152"/>
                  <a:gd name="T16" fmla="*/ 62 w 125"/>
                  <a:gd name="T17" fmla="*/ 23 h 152"/>
                  <a:gd name="T18" fmla="*/ 90 w 125"/>
                  <a:gd name="T19" fmla="*/ 76 h 152"/>
                  <a:gd name="T20" fmla="*/ 30 w 125"/>
                  <a:gd name="T21" fmla="*/ 20 h 152"/>
                  <a:gd name="T22" fmla="*/ 15 w 125"/>
                  <a:gd name="T23" fmla="*/ 76 h 152"/>
                  <a:gd name="T24" fmla="*/ 29 w 125"/>
                  <a:gd name="T25" fmla="*/ 130 h 152"/>
                  <a:gd name="T26" fmla="*/ 10 w 125"/>
                  <a:gd name="T27" fmla="*/ 76 h 152"/>
                  <a:gd name="T28" fmla="*/ 30 w 125"/>
                  <a:gd name="T29" fmla="*/ 20 h 152"/>
                  <a:gd name="T30" fmla="*/ 105 w 125"/>
                  <a:gd name="T31" fmla="*/ 76 h 152"/>
                  <a:gd name="T32" fmla="*/ 87 w 125"/>
                  <a:gd name="T33" fmla="*/ 130 h 152"/>
                  <a:gd name="T34" fmla="*/ 100 w 125"/>
                  <a:gd name="T35" fmla="*/ 76 h 152"/>
                  <a:gd name="T36" fmla="*/ 86 w 125"/>
                  <a:gd name="T37" fmla="*/ 22 h 152"/>
                  <a:gd name="T38" fmla="*/ 105 w 125"/>
                  <a:gd name="T39" fmla="*/ 76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5" h="152">
                    <a:moveTo>
                      <a:pt x="125" y="76"/>
                    </a:moveTo>
                    <a:cubicBezTo>
                      <a:pt x="125" y="32"/>
                      <a:pt x="108" y="0"/>
                      <a:pt x="62" y="0"/>
                    </a:cubicBezTo>
                    <a:cubicBezTo>
                      <a:pt x="17" y="0"/>
                      <a:pt x="0" y="32"/>
                      <a:pt x="0" y="76"/>
                    </a:cubicBezTo>
                    <a:cubicBezTo>
                      <a:pt x="0" y="121"/>
                      <a:pt x="18" y="152"/>
                      <a:pt x="62" y="152"/>
                    </a:cubicBezTo>
                    <a:cubicBezTo>
                      <a:pt x="106" y="152"/>
                      <a:pt x="125" y="121"/>
                      <a:pt x="125" y="76"/>
                    </a:cubicBezTo>
                    <a:close/>
                    <a:moveTo>
                      <a:pt x="90" y="76"/>
                    </a:moveTo>
                    <a:cubicBezTo>
                      <a:pt x="90" y="96"/>
                      <a:pt x="89" y="129"/>
                      <a:pt x="62" y="129"/>
                    </a:cubicBezTo>
                    <a:cubicBezTo>
                      <a:pt x="36" y="129"/>
                      <a:pt x="35" y="95"/>
                      <a:pt x="35" y="76"/>
                    </a:cubicBezTo>
                    <a:cubicBezTo>
                      <a:pt x="35" y="57"/>
                      <a:pt x="36" y="23"/>
                      <a:pt x="62" y="23"/>
                    </a:cubicBezTo>
                    <a:cubicBezTo>
                      <a:pt x="89" y="23"/>
                      <a:pt x="90" y="57"/>
                      <a:pt x="90" y="76"/>
                    </a:cubicBezTo>
                    <a:close/>
                    <a:moveTo>
                      <a:pt x="30" y="20"/>
                    </a:moveTo>
                    <a:cubicBezTo>
                      <a:pt x="17" y="35"/>
                      <a:pt x="15" y="58"/>
                      <a:pt x="15" y="76"/>
                    </a:cubicBezTo>
                    <a:cubicBezTo>
                      <a:pt x="15" y="94"/>
                      <a:pt x="17" y="115"/>
                      <a:pt x="29" y="130"/>
                    </a:cubicBezTo>
                    <a:cubicBezTo>
                      <a:pt x="13" y="118"/>
                      <a:pt x="10" y="95"/>
                      <a:pt x="10" y="76"/>
                    </a:cubicBezTo>
                    <a:cubicBezTo>
                      <a:pt x="10" y="51"/>
                      <a:pt x="16" y="30"/>
                      <a:pt x="30" y="20"/>
                    </a:cubicBezTo>
                    <a:close/>
                    <a:moveTo>
                      <a:pt x="105" y="76"/>
                    </a:moveTo>
                    <a:cubicBezTo>
                      <a:pt x="105" y="95"/>
                      <a:pt x="102" y="119"/>
                      <a:pt x="87" y="130"/>
                    </a:cubicBezTo>
                    <a:cubicBezTo>
                      <a:pt x="98" y="116"/>
                      <a:pt x="100" y="94"/>
                      <a:pt x="100" y="76"/>
                    </a:cubicBezTo>
                    <a:cubicBezTo>
                      <a:pt x="100" y="58"/>
                      <a:pt x="98" y="37"/>
                      <a:pt x="86" y="22"/>
                    </a:cubicBezTo>
                    <a:cubicBezTo>
                      <a:pt x="103" y="34"/>
                      <a:pt x="105" y="57"/>
                      <a:pt x="105" y="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" name="Freeform 25"/>
              <p:cNvSpPr>
                <a:spLocks noEditPoints="1"/>
              </p:cNvSpPr>
              <p:nvPr/>
            </p:nvSpPr>
            <p:spPr bwMode="auto">
              <a:xfrm>
                <a:off x="9909175" y="2573338"/>
                <a:ext cx="149225" cy="176212"/>
              </a:xfrm>
              <a:custGeom>
                <a:avLst/>
                <a:gdLst>
                  <a:gd name="T0" fmla="*/ 15 w 127"/>
                  <a:gd name="T1" fmla="*/ 17 h 150"/>
                  <a:gd name="T2" fmla="*/ 15 w 127"/>
                  <a:gd name="T3" fmla="*/ 133 h 150"/>
                  <a:gd name="T4" fmla="*/ 0 w 127"/>
                  <a:gd name="T5" fmla="*/ 134 h 150"/>
                  <a:gd name="T6" fmla="*/ 0 w 127"/>
                  <a:gd name="T7" fmla="*/ 149 h 150"/>
                  <a:gd name="T8" fmla="*/ 32 w 127"/>
                  <a:gd name="T9" fmla="*/ 150 h 150"/>
                  <a:gd name="T10" fmla="*/ 62 w 127"/>
                  <a:gd name="T11" fmla="*/ 150 h 150"/>
                  <a:gd name="T12" fmla="*/ 127 w 127"/>
                  <a:gd name="T13" fmla="*/ 75 h 150"/>
                  <a:gd name="T14" fmla="*/ 62 w 127"/>
                  <a:gd name="T15" fmla="*/ 0 h 150"/>
                  <a:gd name="T16" fmla="*/ 32 w 127"/>
                  <a:gd name="T17" fmla="*/ 0 h 150"/>
                  <a:gd name="T18" fmla="*/ 0 w 127"/>
                  <a:gd name="T19" fmla="*/ 2 h 150"/>
                  <a:gd name="T20" fmla="*/ 0 w 127"/>
                  <a:gd name="T21" fmla="*/ 16 h 150"/>
                  <a:gd name="T22" fmla="*/ 15 w 127"/>
                  <a:gd name="T23" fmla="*/ 17 h 150"/>
                  <a:gd name="T24" fmla="*/ 60 w 127"/>
                  <a:gd name="T25" fmla="*/ 126 h 150"/>
                  <a:gd name="T26" fmla="*/ 48 w 127"/>
                  <a:gd name="T27" fmla="*/ 126 h 150"/>
                  <a:gd name="T28" fmla="*/ 48 w 127"/>
                  <a:gd name="T29" fmla="*/ 24 h 150"/>
                  <a:gd name="T30" fmla="*/ 60 w 127"/>
                  <a:gd name="T31" fmla="*/ 24 h 150"/>
                  <a:gd name="T32" fmla="*/ 90 w 127"/>
                  <a:gd name="T33" fmla="*/ 75 h 150"/>
                  <a:gd name="T34" fmla="*/ 60 w 127"/>
                  <a:gd name="T35" fmla="*/ 126 h 150"/>
                  <a:gd name="T36" fmla="*/ 25 w 127"/>
                  <a:gd name="T37" fmla="*/ 17 h 150"/>
                  <a:gd name="T38" fmla="*/ 29 w 127"/>
                  <a:gd name="T39" fmla="*/ 17 h 150"/>
                  <a:gd name="T40" fmla="*/ 29 w 127"/>
                  <a:gd name="T41" fmla="*/ 133 h 150"/>
                  <a:gd name="T42" fmla="*/ 25 w 127"/>
                  <a:gd name="T43" fmla="*/ 133 h 150"/>
                  <a:gd name="T44" fmla="*/ 25 w 127"/>
                  <a:gd name="T45" fmla="*/ 17 h 150"/>
                  <a:gd name="T46" fmla="*/ 107 w 127"/>
                  <a:gd name="T47" fmla="*/ 75 h 150"/>
                  <a:gd name="T48" fmla="*/ 84 w 127"/>
                  <a:gd name="T49" fmla="*/ 130 h 150"/>
                  <a:gd name="T50" fmla="*/ 102 w 127"/>
                  <a:gd name="T51" fmla="*/ 75 h 150"/>
                  <a:gd name="T52" fmla="*/ 83 w 127"/>
                  <a:gd name="T53" fmla="*/ 19 h 150"/>
                  <a:gd name="T54" fmla="*/ 107 w 127"/>
                  <a:gd name="T55" fmla="*/ 75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7" h="150">
                    <a:moveTo>
                      <a:pt x="15" y="17"/>
                    </a:moveTo>
                    <a:cubicBezTo>
                      <a:pt x="15" y="133"/>
                      <a:pt x="15" y="133"/>
                      <a:pt x="15" y="133"/>
                    </a:cubicBezTo>
                    <a:cubicBezTo>
                      <a:pt x="10" y="133"/>
                      <a:pt x="4" y="133"/>
                      <a:pt x="0" y="134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1" y="150"/>
                      <a:pt x="21" y="150"/>
                      <a:pt x="32" y="150"/>
                    </a:cubicBezTo>
                    <a:cubicBezTo>
                      <a:pt x="62" y="150"/>
                      <a:pt x="62" y="150"/>
                      <a:pt x="62" y="150"/>
                    </a:cubicBezTo>
                    <a:cubicBezTo>
                      <a:pt x="107" y="150"/>
                      <a:pt x="127" y="117"/>
                      <a:pt x="127" y="75"/>
                    </a:cubicBezTo>
                    <a:cubicBezTo>
                      <a:pt x="127" y="33"/>
                      <a:pt x="108" y="0"/>
                      <a:pt x="6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1" y="0"/>
                      <a:pt x="10" y="0"/>
                      <a:pt x="0" y="2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4" y="17"/>
                      <a:pt x="10" y="17"/>
                      <a:pt x="15" y="17"/>
                    </a:cubicBezTo>
                    <a:close/>
                    <a:moveTo>
                      <a:pt x="60" y="126"/>
                    </a:moveTo>
                    <a:cubicBezTo>
                      <a:pt x="48" y="126"/>
                      <a:pt x="48" y="126"/>
                      <a:pt x="48" y="126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60" y="24"/>
                      <a:pt x="60" y="24"/>
                      <a:pt x="60" y="24"/>
                    </a:cubicBezTo>
                    <a:cubicBezTo>
                      <a:pt x="87" y="24"/>
                      <a:pt x="90" y="57"/>
                      <a:pt x="90" y="75"/>
                    </a:cubicBezTo>
                    <a:cubicBezTo>
                      <a:pt x="90" y="94"/>
                      <a:pt x="87" y="126"/>
                      <a:pt x="60" y="126"/>
                    </a:cubicBezTo>
                    <a:close/>
                    <a:moveTo>
                      <a:pt x="25" y="17"/>
                    </a:move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33"/>
                      <a:pt x="29" y="133"/>
                      <a:pt x="29" y="133"/>
                    </a:cubicBezTo>
                    <a:cubicBezTo>
                      <a:pt x="25" y="133"/>
                      <a:pt x="25" y="133"/>
                      <a:pt x="25" y="133"/>
                    </a:cubicBezTo>
                    <a:cubicBezTo>
                      <a:pt x="25" y="17"/>
                      <a:pt x="25" y="17"/>
                      <a:pt x="25" y="17"/>
                    </a:cubicBezTo>
                    <a:close/>
                    <a:moveTo>
                      <a:pt x="107" y="75"/>
                    </a:moveTo>
                    <a:cubicBezTo>
                      <a:pt x="107" y="95"/>
                      <a:pt x="103" y="117"/>
                      <a:pt x="84" y="130"/>
                    </a:cubicBezTo>
                    <a:cubicBezTo>
                      <a:pt x="99" y="117"/>
                      <a:pt x="102" y="94"/>
                      <a:pt x="102" y="75"/>
                    </a:cubicBezTo>
                    <a:cubicBezTo>
                      <a:pt x="102" y="57"/>
                      <a:pt x="98" y="29"/>
                      <a:pt x="83" y="19"/>
                    </a:cubicBezTo>
                    <a:cubicBezTo>
                      <a:pt x="102" y="27"/>
                      <a:pt x="107" y="56"/>
                      <a:pt x="107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" name="Freeform 26"/>
              <p:cNvSpPr>
                <a:spLocks noEditPoints="1"/>
              </p:cNvSpPr>
              <p:nvPr/>
            </p:nvSpPr>
            <p:spPr bwMode="auto">
              <a:xfrm>
                <a:off x="9515475" y="2776538"/>
                <a:ext cx="74613" cy="100012"/>
              </a:xfrm>
              <a:custGeom>
                <a:avLst/>
                <a:gdLst>
                  <a:gd name="T0" fmla="*/ 0 w 64"/>
                  <a:gd name="T1" fmla="*/ 43 h 85"/>
                  <a:gd name="T2" fmla="*/ 33 w 64"/>
                  <a:gd name="T3" fmla="*/ 85 h 85"/>
                  <a:gd name="T4" fmla="*/ 53 w 64"/>
                  <a:gd name="T5" fmla="*/ 77 h 85"/>
                  <a:gd name="T6" fmla="*/ 56 w 64"/>
                  <a:gd name="T7" fmla="*/ 84 h 85"/>
                  <a:gd name="T8" fmla="*/ 64 w 64"/>
                  <a:gd name="T9" fmla="*/ 84 h 85"/>
                  <a:gd name="T10" fmla="*/ 64 w 64"/>
                  <a:gd name="T11" fmla="*/ 40 h 85"/>
                  <a:gd name="T12" fmla="*/ 31 w 64"/>
                  <a:gd name="T13" fmla="*/ 40 h 85"/>
                  <a:gd name="T14" fmla="*/ 31 w 64"/>
                  <a:gd name="T15" fmla="*/ 48 h 85"/>
                  <a:gd name="T16" fmla="*/ 47 w 64"/>
                  <a:gd name="T17" fmla="*/ 51 h 85"/>
                  <a:gd name="T18" fmla="*/ 47 w 64"/>
                  <a:gd name="T19" fmla="*/ 54 h 85"/>
                  <a:gd name="T20" fmla="*/ 35 w 64"/>
                  <a:gd name="T21" fmla="*/ 72 h 85"/>
                  <a:gd name="T22" fmla="*/ 20 w 64"/>
                  <a:gd name="T23" fmla="*/ 43 h 85"/>
                  <a:gd name="T24" fmla="*/ 35 w 64"/>
                  <a:gd name="T25" fmla="*/ 13 h 85"/>
                  <a:gd name="T26" fmla="*/ 48 w 64"/>
                  <a:gd name="T27" fmla="*/ 28 h 85"/>
                  <a:gd name="T28" fmla="*/ 63 w 64"/>
                  <a:gd name="T29" fmla="*/ 28 h 85"/>
                  <a:gd name="T30" fmla="*/ 62 w 64"/>
                  <a:gd name="T31" fmla="*/ 10 h 85"/>
                  <a:gd name="T32" fmla="*/ 36 w 64"/>
                  <a:gd name="T33" fmla="*/ 0 h 85"/>
                  <a:gd name="T34" fmla="*/ 0 w 64"/>
                  <a:gd name="T35" fmla="*/ 43 h 85"/>
                  <a:gd name="T36" fmla="*/ 46 w 64"/>
                  <a:gd name="T37" fmla="*/ 10 h 85"/>
                  <a:gd name="T38" fmla="*/ 53 w 64"/>
                  <a:gd name="T39" fmla="*/ 14 h 85"/>
                  <a:gd name="T40" fmla="*/ 53 w 64"/>
                  <a:gd name="T41" fmla="*/ 23 h 85"/>
                  <a:gd name="T42" fmla="*/ 52 w 64"/>
                  <a:gd name="T43" fmla="*/ 23 h 85"/>
                  <a:gd name="T44" fmla="*/ 46 w 64"/>
                  <a:gd name="T45" fmla="*/ 10 h 85"/>
                  <a:gd name="T46" fmla="*/ 46 w 64"/>
                  <a:gd name="T47" fmla="*/ 73 h 85"/>
                  <a:gd name="T48" fmla="*/ 51 w 64"/>
                  <a:gd name="T49" fmla="*/ 54 h 85"/>
                  <a:gd name="T50" fmla="*/ 51 w 64"/>
                  <a:gd name="T51" fmla="*/ 51 h 85"/>
                  <a:gd name="T52" fmla="*/ 54 w 64"/>
                  <a:gd name="T53" fmla="*/ 51 h 85"/>
                  <a:gd name="T54" fmla="*/ 54 w 64"/>
                  <a:gd name="T55" fmla="*/ 54 h 85"/>
                  <a:gd name="T56" fmla="*/ 46 w 64"/>
                  <a:gd name="T57" fmla="*/ 73 h 85"/>
                  <a:gd name="T58" fmla="*/ 18 w 64"/>
                  <a:gd name="T59" fmla="*/ 11 h 85"/>
                  <a:gd name="T60" fmla="*/ 9 w 64"/>
                  <a:gd name="T61" fmla="*/ 43 h 85"/>
                  <a:gd name="T62" fmla="*/ 17 w 64"/>
                  <a:gd name="T63" fmla="*/ 73 h 85"/>
                  <a:gd name="T64" fmla="*/ 6 w 64"/>
                  <a:gd name="T65" fmla="*/ 43 h 85"/>
                  <a:gd name="T66" fmla="*/ 18 w 64"/>
                  <a:gd name="T67" fmla="*/ 1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4" h="85">
                    <a:moveTo>
                      <a:pt x="0" y="43"/>
                    </a:moveTo>
                    <a:cubicBezTo>
                      <a:pt x="0" y="71"/>
                      <a:pt x="10" y="85"/>
                      <a:pt x="33" y="85"/>
                    </a:cubicBezTo>
                    <a:cubicBezTo>
                      <a:pt x="41" y="85"/>
                      <a:pt x="48" y="82"/>
                      <a:pt x="53" y="77"/>
                    </a:cubicBezTo>
                    <a:cubicBezTo>
                      <a:pt x="54" y="79"/>
                      <a:pt x="55" y="82"/>
                      <a:pt x="56" y="84"/>
                    </a:cubicBezTo>
                    <a:cubicBezTo>
                      <a:pt x="64" y="84"/>
                      <a:pt x="64" y="84"/>
                      <a:pt x="64" y="84"/>
                    </a:cubicBezTo>
                    <a:cubicBezTo>
                      <a:pt x="64" y="40"/>
                      <a:pt x="64" y="40"/>
                      <a:pt x="64" y="40"/>
                    </a:cubicBezTo>
                    <a:cubicBezTo>
                      <a:pt x="53" y="39"/>
                      <a:pt x="41" y="39"/>
                      <a:pt x="31" y="40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36" y="49"/>
                      <a:pt x="41" y="50"/>
                      <a:pt x="47" y="51"/>
                    </a:cubicBezTo>
                    <a:cubicBezTo>
                      <a:pt x="47" y="54"/>
                      <a:pt x="47" y="54"/>
                      <a:pt x="47" y="54"/>
                    </a:cubicBezTo>
                    <a:cubicBezTo>
                      <a:pt x="47" y="65"/>
                      <a:pt x="42" y="72"/>
                      <a:pt x="35" y="72"/>
                    </a:cubicBezTo>
                    <a:cubicBezTo>
                      <a:pt x="21" y="73"/>
                      <a:pt x="20" y="53"/>
                      <a:pt x="20" y="43"/>
                    </a:cubicBezTo>
                    <a:cubicBezTo>
                      <a:pt x="20" y="32"/>
                      <a:pt x="22" y="12"/>
                      <a:pt x="35" y="13"/>
                    </a:cubicBezTo>
                    <a:cubicBezTo>
                      <a:pt x="43" y="13"/>
                      <a:pt x="47" y="17"/>
                      <a:pt x="48" y="28"/>
                    </a:cubicBezTo>
                    <a:cubicBezTo>
                      <a:pt x="53" y="29"/>
                      <a:pt x="57" y="29"/>
                      <a:pt x="63" y="28"/>
                    </a:cubicBezTo>
                    <a:cubicBezTo>
                      <a:pt x="63" y="21"/>
                      <a:pt x="63" y="17"/>
                      <a:pt x="62" y="10"/>
                    </a:cubicBezTo>
                    <a:cubicBezTo>
                      <a:pt x="56" y="3"/>
                      <a:pt x="47" y="0"/>
                      <a:pt x="36" y="0"/>
                    </a:cubicBezTo>
                    <a:cubicBezTo>
                      <a:pt x="11" y="0"/>
                      <a:pt x="0" y="14"/>
                      <a:pt x="0" y="43"/>
                    </a:cubicBezTo>
                    <a:close/>
                    <a:moveTo>
                      <a:pt x="46" y="10"/>
                    </a:moveTo>
                    <a:cubicBezTo>
                      <a:pt x="48" y="11"/>
                      <a:pt x="51" y="12"/>
                      <a:pt x="53" y="14"/>
                    </a:cubicBezTo>
                    <a:cubicBezTo>
                      <a:pt x="53" y="17"/>
                      <a:pt x="53" y="20"/>
                      <a:pt x="53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1" y="18"/>
                      <a:pt x="50" y="14"/>
                      <a:pt x="46" y="10"/>
                    </a:cubicBezTo>
                    <a:close/>
                    <a:moveTo>
                      <a:pt x="46" y="73"/>
                    </a:moveTo>
                    <a:cubicBezTo>
                      <a:pt x="51" y="67"/>
                      <a:pt x="51" y="61"/>
                      <a:pt x="51" y="54"/>
                    </a:cubicBezTo>
                    <a:cubicBezTo>
                      <a:pt x="51" y="51"/>
                      <a:pt x="51" y="51"/>
                      <a:pt x="51" y="51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4" y="54"/>
                      <a:pt x="54" y="54"/>
                      <a:pt x="54" y="54"/>
                    </a:cubicBezTo>
                    <a:cubicBezTo>
                      <a:pt x="54" y="62"/>
                      <a:pt x="52" y="68"/>
                      <a:pt x="46" y="73"/>
                    </a:cubicBezTo>
                    <a:close/>
                    <a:moveTo>
                      <a:pt x="18" y="11"/>
                    </a:moveTo>
                    <a:cubicBezTo>
                      <a:pt x="10" y="20"/>
                      <a:pt x="9" y="32"/>
                      <a:pt x="9" y="43"/>
                    </a:cubicBezTo>
                    <a:cubicBezTo>
                      <a:pt x="9" y="53"/>
                      <a:pt x="10" y="65"/>
                      <a:pt x="17" y="73"/>
                    </a:cubicBezTo>
                    <a:cubicBezTo>
                      <a:pt x="8" y="66"/>
                      <a:pt x="6" y="53"/>
                      <a:pt x="6" y="43"/>
                    </a:cubicBezTo>
                    <a:cubicBezTo>
                      <a:pt x="6" y="28"/>
                      <a:pt x="9" y="16"/>
                      <a:pt x="18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" name="Freeform 27"/>
              <p:cNvSpPr>
                <a:spLocks noEditPoints="1"/>
              </p:cNvSpPr>
              <p:nvPr/>
            </p:nvSpPr>
            <p:spPr bwMode="auto">
              <a:xfrm>
                <a:off x="9855200" y="2778125"/>
                <a:ext cx="85725" cy="98425"/>
              </a:xfrm>
              <a:custGeom>
                <a:avLst/>
                <a:gdLst>
                  <a:gd name="T0" fmla="*/ 49 w 74"/>
                  <a:gd name="T1" fmla="*/ 73 h 84"/>
                  <a:gd name="T2" fmla="*/ 41 w 74"/>
                  <a:gd name="T3" fmla="*/ 74 h 84"/>
                  <a:gd name="T4" fmla="*/ 41 w 74"/>
                  <a:gd name="T5" fmla="*/ 82 h 84"/>
                  <a:gd name="T6" fmla="*/ 74 w 74"/>
                  <a:gd name="T7" fmla="*/ 82 h 84"/>
                  <a:gd name="T8" fmla="*/ 74 w 74"/>
                  <a:gd name="T9" fmla="*/ 74 h 84"/>
                  <a:gd name="T10" fmla="*/ 68 w 74"/>
                  <a:gd name="T11" fmla="*/ 73 h 84"/>
                  <a:gd name="T12" fmla="*/ 46 w 74"/>
                  <a:gd name="T13" fmla="*/ 0 h 84"/>
                  <a:gd name="T14" fmla="*/ 16 w 74"/>
                  <a:gd name="T15" fmla="*/ 1 h 84"/>
                  <a:gd name="T16" fmla="*/ 16 w 74"/>
                  <a:gd name="T17" fmla="*/ 9 h 84"/>
                  <a:gd name="T18" fmla="*/ 25 w 74"/>
                  <a:gd name="T19" fmla="*/ 10 h 84"/>
                  <a:gd name="T20" fmla="*/ 7 w 74"/>
                  <a:gd name="T21" fmla="*/ 73 h 84"/>
                  <a:gd name="T22" fmla="*/ 0 w 74"/>
                  <a:gd name="T23" fmla="*/ 74 h 84"/>
                  <a:gd name="T24" fmla="*/ 0 w 74"/>
                  <a:gd name="T25" fmla="*/ 82 h 84"/>
                  <a:gd name="T26" fmla="*/ 28 w 74"/>
                  <a:gd name="T27" fmla="*/ 82 h 84"/>
                  <a:gd name="T28" fmla="*/ 28 w 74"/>
                  <a:gd name="T29" fmla="*/ 74 h 84"/>
                  <a:gd name="T30" fmla="*/ 20 w 74"/>
                  <a:gd name="T31" fmla="*/ 73 h 84"/>
                  <a:gd name="T32" fmla="*/ 23 w 74"/>
                  <a:gd name="T33" fmla="*/ 60 h 84"/>
                  <a:gd name="T34" fmla="*/ 46 w 74"/>
                  <a:gd name="T35" fmla="*/ 60 h 84"/>
                  <a:gd name="T36" fmla="*/ 49 w 74"/>
                  <a:gd name="T37" fmla="*/ 73 h 84"/>
                  <a:gd name="T38" fmla="*/ 26 w 74"/>
                  <a:gd name="T39" fmla="*/ 49 h 84"/>
                  <a:gd name="T40" fmla="*/ 34 w 74"/>
                  <a:gd name="T41" fmla="*/ 20 h 84"/>
                  <a:gd name="T42" fmla="*/ 42 w 74"/>
                  <a:gd name="T43" fmla="*/ 49 h 84"/>
                  <a:gd name="T44" fmla="*/ 26 w 74"/>
                  <a:gd name="T45" fmla="*/ 49 h 84"/>
                  <a:gd name="T46" fmla="*/ 55 w 74"/>
                  <a:gd name="T47" fmla="*/ 73 h 84"/>
                  <a:gd name="T48" fmla="*/ 37 w 74"/>
                  <a:gd name="T49" fmla="*/ 10 h 84"/>
                  <a:gd name="T50" fmla="*/ 40 w 74"/>
                  <a:gd name="T51" fmla="*/ 10 h 84"/>
                  <a:gd name="T52" fmla="*/ 57 w 74"/>
                  <a:gd name="T53" fmla="*/ 73 h 84"/>
                  <a:gd name="T54" fmla="*/ 55 w 74"/>
                  <a:gd name="T55" fmla="*/ 7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4" h="84">
                    <a:moveTo>
                      <a:pt x="49" y="73"/>
                    </a:moveTo>
                    <a:cubicBezTo>
                      <a:pt x="47" y="73"/>
                      <a:pt x="44" y="74"/>
                      <a:pt x="41" y="74"/>
                    </a:cubicBezTo>
                    <a:cubicBezTo>
                      <a:pt x="41" y="82"/>
                      <a:pt x="41" y="82"/>
                      <a:pt x="41" y="82"/>
                    </a:cubicBezTo>
                    <a:cubicBezTo>
                      <a:pt x="53" y="84"/>
                      <a:pt x="62" y="84"/>
                      <a:pt x="74" y="82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1" y="74"/>
                      <a:pt x="70" y="73"/>
                      <a:pt x="68" y="73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36" y="0"/>
                      <a:pt x="27" y="0"/>
                      <a:pt x="16" y="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9" y="9"/>
                      <a:pt x="22" y="10"/>
                      <a:pt x="25" y="10"/>
                    </a:cubicBezTo>
                    <a:cubicBezTo>
                      <a:pt x="7" y="73"/>
                      <a:pt x="7" y="73"/>
                      <a:pt x="7" y="73"/>
                    </a:cubicBezTo>
                    <a:cubicBezTo>
                      <a:pt x="5" y="73"/>
                      <a:pt x="3" y="74"/>
                      <a:pt x="0" y="74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12" y="84"/>
                      <a:pt x="16" y="84"/>
                      <a:pt x="28" y="82"/>
                    </a:cubicBezTo>
                    <a:cubicBezTo>
                      <a:pt x="28" y="74"/>
                      <a:pt x="28" y="74"/>
                      <a:pt x="28" y="74"/>
                    </a:cubicBezTo>
                    <a:cubicBezTo>
                      <a:pt x="25" y="74"/>
                      <a:pt x="22" y="73"/>
                      <a:pt x="20" y="73"/>
                    </a:cubicBezTo>
                    <a:cubicBezTo>
                      <a:pt x="23" y="60"/>
                      <a:pt x="23" y="60"/>
                      <a:pt x="23" y="60"/>
                    </a:cubicBezTo>
                    <a:cubicBezTo>
                      <a:pt x="46" y="60"/>
                      <a:pt x="46" y="60"/>
                      <a:pt x="46" y="60"/>
                    </a:cubicBezTo>
                    <a:cubicBezTo>
                      <a:pt x="49" y="73"/>
                      <a:pt x="49" y="73"/>
                      <a:pt x="49" y="73"/>
                    </a:cubicBezTo>
                    <a:close/>
                    <a:moveTo>
                      <a:pt x="26" y="49"/>
                    </a:moveTo>
                    <a:cubicBezTo>
                      <a:pt x="34" y="20"/>
                      <a:pt x="34" y="20"/>
                      <a:pt x="34" y="20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26" y="49"/>
                      <a:pt x="26" y="49"/>
                      <a:pt x="26" y="49"/>
                    </a:cubicBezTo>
                    <a:close/>
                    <a:moveTo>
                      <a:pt x="55" y="73"/>
                    </a:moveTo>
                    <a:cubicBezTo>
                      <a:pt x="37" y="10"/>
                      <a:pt x="37" y="10"/>
                      <a:pt x="37" y="10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57" y="73"/>
                      <a:pt x="57" y="73"/>
                      <a:pt x="57" y="73"/>
                    </a:cubicBezTo>
                    <a:cubicBezTo>
                      <a:pt x="55" y="73"/>
                      <a:pt x="55" y="73"/>
                      <a:pt x="55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" name="Freeform 28"/>
              <p:cNvSpPr>
                <a:spLocks noEditPoints="1"/>
              </p:cNvSpPr>
              <p:nvPr/>
            </p:nvSpPr>
            <p:spPr bwMode="auto">
              <a:xfrm>
                <a:off x="9944100" y="2778125"/>
                <a:ext cx="73025" cy="98425"/>
              </a:xfrm>
              <a:custGeom>
                <a:avLst/>
                <a:gdLst>
                  <a:gd name="T0" fmla="*/ 41 w 63"/>
                  <a:gd name="T1" fmla="*/ 73 h 84"/>
                  <a:gd name="T2" fmla="*/ 41 w 63"/>
                  <a:gd name="T3" fmla="*/ 13 h 84"/>
                  <a:gd name="T4" fmla="*/ 49 w 63"/>
                  <a:gd name="T5" fmla="*/ 13 h 84"/>
                  <a:gd name="T6" fmla="*/ 53 w 63"/>
                  <a:gd name="T7" fmla="*/ 27 h 84"/>
                  <a:gd name="T8" fmla="*/ 62 w 63"/>
                  <a:gd name="T9" fmla="*/ 27 h 84"/>
                  <a:gd name="T10" fmla="*/ 62 w 63"/>
                  <a:gd name="T11" fmla="*/ 1 h 84"/>
                  <a:gd name="T12" fmla="*/ 49 w 63"/>
                  <a:gd name="T13" fmla="*/ 0 h 84"/>
                  <a:gd name="T14" fmla="*/ 13 w 63"/>
                  <a:gd name="T15" fmla="*/ 0 h 84"/>
                  <a:gd name="T16" fmla="*/ 0 w 63"/>
                  <a:gd name="T17" fmla="*/ 1 h 84"/>
                  <a:gd name="T18" fmla="*/ 1 w 63"/>
                  <a:gd name="T19" fmla="*/ 27 h 84"/>
                  <a:gd name="T20" fmla="*/ 9 w 63"/>
                  <a:gd name="T21" fmla="*/ 27 h 84"/>
                  <a:gd name="T22" fmla="*/ 13 w 63"/>
                  <a:gd name="T23" fmla="*/ 13 h 84"/>
                  <a:gd name="T24" fmla="*/ 22 w 63"/>
                  <a:gd name="T25" fmla="*/ 13 h 84"/>
                  <a:gd name="T26" fmla="*/ 22 w 63"/>
                  <a:gd name="T27" fmla="*/ 73 h 84"/>
                  <a:gd name="T28" fmla="*/ 14 w 63"/>
                  <a:gd name="T29" fmla="*/ 74 h 84"/>
                  <a:gd name="T30" fmla="*/ 14 w 63"/>
                  <a:gd name="T31" fmla="*/ 82 h 84"/>
                  <a:gd name="T32" fmla="*/ 49 w 63"/>
                  <a:gd name="T33" fmla="*/ 82 h 84"/>
                  <a:gd name="T34" fmla="*/ 49 w 63"/>
                  <a:gd name="T35" fmla="*/ 74 h 84"/>
                  <a:gd name="T36" fmla="*/ 41 w 63"/>
                  <a:gd name="T37" fmla="*/ 73 h 84"/>
                  <a:gd name="T38" fmla="*/ 28 w 63"/>
                  <a:gd name="T39" fmla="*/ 13 h 84"/>
                  <a:gd name="T40" fmla="*/ 30 w 63"/>
                  <a:gd name="T41" fmla="*/ 13 h 84"/>
                  <a:gd name="T42" fmla="*/ 30 w 63"/>
                  <a:gd name="T43" fmla="*/ 73 h 84"/>
                  <a:gd name="T44" fmla="*/ 28 w 63"/>
                  <a:gd name="T45" fmla="*/ 73 h 84"/>
                  <a:gd name="T46" fmla="*/ 28 w 63"/>
                  <a:gd name="T47" fmla="*/ 1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84">
                    <a:moveTo>
                      <a:pt x="41" y="73"/>
                    </a:moveTo>
                    <a:cubicBezTo>
                      <a:pt x="41" y="13"/>
                      <a:pt x="41" y="13"/>
                      <a:pt x="41" y="13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0" y="18"/>
                      <a:pt x="52" y="24"/>
                      <a:pt x="53" y="27"/>
                    </a:cubicBezTo>
                    <a:cubicBezTo>
                      <a:pt x="62" y="27"/>
                      <a:pt x="62" y="27"/>
                      <a:pt x="62" y="27"/>
                    </a:cubicBezTo>
                    <a:cubicBezTo>
                      <a:pt x="63" y="19"/>
                      <a:pt x="63" y="10"/>
                      <a:pt x="62" y="1"/>
                    </a:cubicBezTo>
                    <a:cubicBezTo>
                      <a:pt x="58" y="1"/>
                      <a:pt x="54" y="0"/>
                      <a:pt x="49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1"/>
                      <a:pt x="0" y="1"/>
                    </a:cubicBezTo>
                    <a:cubicBezTo>
                      <a:pt x="0" y="10"/>
                      <a:pt x="0" y="19"/>
                      <a:pt x="1" y="27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11" y="24"/>
                      <a:pt x="13" y="18"/>
                      <a:pt x="13" y="13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19" y="73"/>
                      <a:pt x="16" y="74"/>
                      <a:pt x="14" y="74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25" y="84"/>
                      <a:pt x="37" y="84"/>
                      <a:pt x="49" y="82"/>
                    </a:cubicBezTo>
                    <a:cubicBezTo>
                      <a:pt x="49" y="74"/>
                      <a:pt x="49" y="74"/>
                      <a:pt x="49" y="74"/>
                    </a:cubicBezTo>
                    <a:cubicBezTo>
                      <a:pt x="46" y="74"/>
                      <a:pt x="43" y="73"/>
                      <a:pt x="41" y="73"/>
                    </a:cubicBezTo>
                    <a:close/>
                    <a:moveTo>
                      <a:pt x="28" y="13"/>
                    </a:moveTo>
                    <a:cubicBezTo>
                      <a:pt x="30" y="13"/>
                      <a:pt x="30" y="13"/>
                      <a:pt x="30" y="13"/>
                    </a:cubicBezTo>
                    <a:cubicBezTo>
                      <a:pt x="30" y="73"/>
                      <a:pt x="30" y="73"/>
                      <a:pt x="30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13"/>
                      <a:pt x="28" y="13"/>
                      <a:pt x="28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" name="Freeform 29"/>
              <p:cNvSpPr>
                <a:spLocks/>
              </p:cNvSpPr>
              <p:nvPr/>
            </p:nvSpPr>
            <p:spPr bwMode="auto">
              <a:xfrm>
                <a:off x="9613900" y="2543175"/>
                <a:ext cx="277813" cy="333375"/>
              </a:xfrm>
              <a:custGeom>
                <a:avLst/>
                <a:gdLst>
                  <a:gd name="T0" fmla="*/ 95 w 237"/>
                  <a:gd name="T1" fmla="*/ 177 h 285"/>
                  <a:gd name="T2" fmla="*/ 66 w 237"/>
                  <a:gd name="T3" fmla="*/ 161 h 285"/>
                  <a:gd name="T4" fmla="*/ 55 w 237"/>
                  <a:gd name="T5" fmla="*/ 122 h 285"/>
                  <a:gd name="T6" fmla="*/ 63 w 237"/>
                  <a:gd name="T7" fmla="*/ 76 h 285"/>
                  <a:gd name="T8" fmla="*/ 85 w 237"/>
                  <a:gd name="T9" fmla="*/ 37 h 285"/>
                  <a:gd name="T10" fmla="*/ 116 w 237"/>
                  <a:gd name="T11" fmla="*/ 10 h 285"/>
                  <a:gd name="T12" fmla="*/ 152 w 237"/>
                  <a:gd name="T13" fmla="*/ 0 h 285"/>
                  <a:gd name="T14" fmla="*/ 185 w 237"/>
                  <a:gd name="T15" fmla="*/ 6 h 285"/>
                  <a:gd name="T16" fmla="*/ 212 w 237"/>
                  <a:gd name="T17" fmla="*/ 25 h 285"/>
                  <a:gd name="T18" fmla="*/ 230 w 237"/>
                  <a:gd name="T19" fmla="*/ 56 h 285"/>
                  <a:gd name="T20" fmla="*/ 237 w 237"/>
                  <a:gd name="T21" fmla="*/ 100 h 285"/>
                  <a:gd name="T22" fmla="*/ 230 w 237"/>
                  <a:gd name="T23" fmla="*/ 153 h 285"/>
                  <a:gd name="T24" fmla="*/ 208 w 237"/>
                  <a:gd name="T25" fmla="*/ 204 h 285"/>
                  <a:gd name="T26" fmla="*/ 176 w 237"/>
                  <a:gd name="T27" fmla="*/ 246 h 285"/>
                  <a:gd name="T28" fmla="*/ 134 w 237"/>
                  <a:gd name="T29" fmla="*/ 275 h 285"/>
                  <a:gd name="T30" fmla="*/ 85 w 237"/>
                  <a:gd name="T31" fmla="*/ 285 h 285"/>
                  <a:gd name="T32" fmla="*/ 22 w 237"/>
                  <a:gd name="T33" fmla="*/ 260 h 285"/>
                  <a:gd name="T34" fmla="*/ 0 w 237"/>
                  <a:gd name="T35" fmla="*/ 188 h 285"/>
                  <a:gd name="T36" fmla="*/ 25 w 237"/>
                  <a:gd name="T37" fmla="*/ 93 h 285"/>
                  <a:gd name="T38" fmla="*/ 55 w 237"/>
                  <a:gd name="T39" fmla="*/ 57 h 285"/>
                  <a:gd name="T40" fmla="*/ 60 w 237"/>
                  <a:gd name="T41" fmla="*/ 64 h 285"/>
                  <a:gd name="T42" fmla="*/ 38 w 237"/>
                  <a:gd name="T43" fmla="*/ 116 h 285"/>
                  <a:gd name="T44" fmla="*/ 30 w 237"/>
                  <a:gd name="T45" fmla="*/ 172 h 285"/>
                  <a:gd name="T46" fmla="*/ 33 w 237"/>
                  <a:gd name="T47" fmla="*/ 214 h 285"/>
                  <a:gd name="T48" fmla="*/ 44 w 237"/>
                  <a:gd name="T49" fmla="*/ 244 h 285"/>
                  <a:gd name="T50" fmla="*/ 92 w 237"/>
                  <a:gd name="T51" fmla="*/ 273 h 285"/>
                  <a:gd name="T52" fmla="*/ 170 w 237"/>
                  <a:gd name="T53" fmla="*/ 215 h 285"/>
                  <a:gd name="T54" fmla="*/ 197 w 237"/>
                  <a:gd name="T55" fmla="*/ 139 h 285"/>
                  <a:gd name="T56" fmla="*/ 201 w 237"/>
                  <a:gd name="T57" fmla="*/ 100 h 285"/>
                  <a:gd name="T58" fmla="*/ 198 w 237"/>
                  <a:gd name="T59" fmla="*/ 66 h 285"/>
                  <a:gd name="T60" fmla="*/ 188 w 237"/>
                  <a:gd name="T61" fmla="*/ 39 h 285"/>
                  <a:gd name="T62" fmla="*/ 147 w 237"/>
                  <a:gd name="T63" fmla="*/ 14 h 285"/>
                  <a:gd name="T64" fmla="*/ 108 w 237"/>
                  <a:gd name="T65" fmla="*/ 30 h 285"/>
                  <a:gd name="T66" fmla="*/ 81 w 237"/>
                  <a:gd name="T67" fmla="*/ 71 h 285"/>
                  <a:gd name="T68" fmla="*/ 71 w 237"/>
                  <a:gd name="T69" fmla="*/ 120 h 285"/>
                  <a:gd name="T70" fmla="*/ 78 w 237"/>
                  <a:gd name="T71" fmla="*/ 154 h 285"/>
                  <a:gd name="T72" fmla="*/ 96 w 237"/>
                  <a:gd name="T73" fmla="*/ 165 h 285"/>
                  <a:gd name="T74" fmla="*/ 118 w 237"/>
                  <a:gd name="T75" fmla="*/ 156 h 285"/>
                  <a:gd name="T76" fmla="*/ 137 w 237"/>
                  <a:gd name="T77" fmla="*/ 133 h 285"/>
                  <a:gd name="T78" fmla="*/ 145 w 237"/>
                  <a:gd name="T79" fmla="*/ 102 h 285"/>
                  <a:gd name="T80" fmla="*/ 161 w 237"/>
                  <a:gd name="T81" fmla="*/ 99 h 285"/>
                  <a:gd name="T82" fmla="*/ 152 w 237"/>
                  <a:gd name="T83" fmla="*/ 137 h 285"/>
                  <a:gd name="T84" fmla="*/ 128 w 237"/>
                  <a:gd name="T85" fmla="*/ 166 h 285"/>
                  <a:gd name="T86" fmla="*/ 95 w 237"/>
                  <a:gd name="T87" fmla="*/ 177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285">
                    <a:moveTo>
                      <a:pt x="95" y="177"/>
                    </a:moveTo>
                    <a:cubicBezTo>
                      <a:pt x="83" y="177"/>
                      <a:pt x="73" y="172"/>
                      <a:pt x="66" y="161"/>
                    </a:cubicBezTo>
                    <a:cubicBezTo>
                      <a:pt x="59" y="150"/>
                      <a:pt x="55" y="137"/>
                      <a:pt x="55" y="122"/>
                    </a:cubicBezTo>
                    <a:cubicBezTo>
                      <a:pt x="55" y="106"/>
                      <a:pt x="58" y="91"/>
                      <a:pt x="63" y="76"/>
                    </a:cubicBezTo>
                    <a:cubicBezTo>
                      <a:pt x="69" y="62"/>
                      <a:pt x="76" y="49"/>
                      <a:pt x="85" y="37"/>
                    </a:cubicBezTo>
                    <a:cubicBezTo>
                      <a:pt x="94" y="26"/>
                      <a:pt x="104" y="17"/>
                      <a:pt x="116" y="10"/>
                    </a:cubicBezTo>
                    <a:cubicBezTo>
                      <a:pt x="128" y="3"/>
                      <a:pt x="140" y="0"/>
                      <a:pt x="152" y="0"/>
                    </a:cubicBezTo>
                    <a:cubicBezTo>
                      <a:pt x="164" y="0"/>
                      <a:pt x="175" y="2"/>
                      <a:pt x="185" y="6"/>
                    </a:cubicBezTo>
                    <a:cubicBezTo>
                      <a:pt x="195" y="11"/>
                      <a:pt x="204" y="17"/>
                      <a:pt x="212" y="25"/>
                    </a:cubicBezTo>
                    <a:cubicBezTo>
                      <a:pt x="220" y="33"/>
                      <a:pt x="226" y="43"/>
                      <a:pt x="230" y="56"/>
                    </a:cubicBezTo>
                    <a:cubicBezTo>
                      <a:pt x="235" y="68"/>
                      <a:pt x="237" y="83"/>
                      <a:pt x="237" y="100"/>
                    </a:cubicBezTo>
                    <a:cubicBezTo>
                      <a:pt x="237" y="116"/>
                      <a:pt x="235" y="134"/>
                      <a:pt x="230" y="153"/>
                    </a:cubicBezTo>
                    <a:cubicBezTo>
                      <a:pt x="225" y="171"/>
                      <a:pt x="218" y="188"/>
                      <a:pt x="208" y="204"/>
                    </a:cubicBezTo>
                    <a:cubicBezTo>
                      <a:pt x="199" y="220"/>
                      <a:pt x="188" y="234"/>
                      <a:pt x="176" y="246"/>
                    </a:cubicBezTo>
                    <a:cubicBezTo>
                      <a:pt x="164" y="258"/>
                      <a:pt x="150" y="268"/>
                      <a:pt x="134" y="275"/>
                    </a:cubicBezTo>
                    <a:cubicBezTo>
                      <a:pt x="118" y="282"/>
                      <a:pt x="102" y="285"/>
                      <a:pt x="85" y="285"/>
                    </a:cubicBezTo>
                    <a:cubicBezTo>
                      <a:pt x="58" y="285"/>
                      <a:pt x="37" y="277"/>
                      <a:pt x="22" y="260"/>
                    </a:cubicBezTo>
                    <a:cubicBezTo>
                      <a:pt x="8" y="243"/>
                      <a:pt x="0" y="219"/>
                      <a:pt x="0" y="188"/>
                    </a:cubicBezTo>
                    <a:cubicBezTo>
                      <a:pt x="0" y="154"/>
                      <a:pt x="9" y="122"/>
                      <a:pt x="25" y="93"/>
                    </a:cubicBezTo>
                    <a:cubicBezTo>
                      <a:pt x="34" y="79"/>
                      <a:pt x="44" y="67"/>
                      <a:pt x="55" y="57"/>
                    </a:cubicBezTo>
                    <a:cubicBezTo>
                      <a:pt x="60" y="64"/>
                      <a:pt x="60" y="64"/>
                      <a:pt x="60" y="64"/>
                    </a:cubicBezTo>
                    <a:cubicBezTo>
                      <a:pt x="51" y="78"/>
                      <a:pt x="43" y="95"/>
                      <a:pt x="38" y="116"/>
                    </a:cubicBezTo>
                    <a:cubicBezTo>
                      <a:pt x="32" y="137"/>
                      <a:pt x="30" y="155"/>
                      <a:pt x="30" y="172"/>
                    </a:cubicBezTo>
                    <a:cubicBezTo>
                      <a:pt x="30" y="189"/>
                      <a:pt x="31" y="203"/>
                      <a:pt x="33" y="214"/>
                    </a:cubicBezTo>
                    <a:cubicBezTo>
                      <a:pt x="36" y="225"/>
                      <a:pt x="39" y="235"/>
                      <a:pt x="44" y="244"/>
                    </a:cubicBezTo>
                    <a:cubicBezTo>
                      <a:pt x="55" y="264"/>
                      <a:pt x="70" y="273"/>
                      <a:pt x="92" y="273"/>
                    </a:cubicBezTo>
                    <a:cubicBezTo>
                      <a:pt x="122" y="273"/>
                      <a:pt x="148" y="254"/>
                      <a:pt x="170" y="215"/>
                    </a:cubicBezTo>
                    <a:cubicBezTo>
                      <a:pt x="183" y="193"/>
                      <a:pt x="192" y="168"/>
                      <a:pt x="197" y="139"/>
                    </a:cubicBezTo>
                    <a:cubicBezTo>
                      <a:pt x="200" y="125"/>
                      <a:pt x="201" y="112"/>
                      <a:pt x="201" y="100"/>
                    </a:cubicBezTo>
                    <a:cubicBezTo>
                      <a:pt x="201" y="88"/>
                      <a:pt x="200" y="76"/>
                      <a:pt x="198" y="66"/>
                    </a:cubicBezTo>
                    <a:cubicBezTo>
                      <a:pt x="196" y="56"/>
                      <a:pt x="193" y="47"/>
                      <a:pt x="188" y="39"/>
                    </a:cubicBezTo>
                    <a:cubicBezTo>
                      <a:pt x="179" y="23"/>
                      <a:pt x="166" y="14"/>
                      <a:pt x="147" y="14"/>
                    </a:cubicBezTo>
                    <a:cubicBezTo>
                      <a:pt x="132" y="14"/>
                      <a:pt x="120" y="20"/>
                      <a:pt x="108" y="30"/>
                    </a:cubicBezTo>
                    <a:cubicBezTo>
                      <a:pt x="96" y="41"/>
                      <a:pt x="87" y="54"/>
                      <a:pt x="81" y="71"/>
                    </a:cubicBezTo>
                    <a:cubicBezTo>
                      <a:pt x="75" y="87"/>
                      <a:pt x="71" y="104"/>
                      <a:pt x="71" y="120"/>
                    </a:cubicBezTo>
                    <a:cubicBezTo>
                      <a:pt x="71" y="136"/>
                      <a:pt x="74" y="147"/>
                      <a:pt x="78" y="154"/>
                    </a:cubicBezTo>
                    <a:cubicBezTo>
                      <a:pt x="83" y="161"/>
                      <a:pt x="89" y="165"/>
                      <a:pt x="96" y="165"/>
                    </a:cubicBezTo>
                    <a:cubicBezTo>
                      <a:pt x="103" y="165"/>
                      <a:pt x="110" y="162"/>
                      <a:pt x="118" y="156"/>
                    </a:cubicBezTo>
                    <a:cubicBezTo>
                      <a:pt x="125" y="150"/>
                      <a:pt x="132" y="143"/>
                      <a:pt x="137" y="133"/>
                    </a:cubicBezTo>
                    <a:cubicBezTo>
                      <a:pt x="142" y="123"/>
                      <a:pt x="145" y="113"/>
                      <a:pt x="145" y="102"/>
                    </a:cubicBezTo>
                    <a:cubicBezTo>
                      <a:pt x="161" y="99"/>
                      <a:pt x="161" y="99"/>
                      <a:pt x="161" y="99"/>
                    </a:cubicBezTo>
                    <a:cubicBezTo>
                      <a:pt x="161" y="112"/>
                      <a:pt x="158" y="125"/>
                      <a:pt x="152" y="137"/>
                    </a:cubicBezTo>
                    <a:cubicBezTo>
                      <a:pt x="146" y="149"/>
                      <a:pt x="138" y="159"/>
                      <a:pt x="128" y="166"/>
                    </a:cubicBezTo>
                    <a:cubicBezTo>
                      <a:pt x="118" y="174"/>
                      <a:pt x="107" y="177"/>
                      <a:pt x="95" y="17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40521818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文本框 6"/>
          <p:cNvSpPr txBox="1"/>
          <p:nvPr userDrawn="1"/>
        </p:nvSpPr>
        <p:spPr>
          <a:xfrm rot="19151590">
            <a:off x="1330176" y="1600601"/>
            <a:ext cx="35283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dirty="0" smtClean="0">
                <a:solidFill>
                  <a:schemeClr val="tx1">
                    <a:alpha val="0"/>
                  </a:schemeClr>
                </a:solidFill>
                <a:latin typeface="微软雅黑" pitchFamily="34" charset="-122"/>
                <a:ea typeface="微软雅黑" pitchFamily="34" charset="-122"/>
              </a:rPr>
              <a:t>哥布林</a:t>
            </a:r>
            <a:r>
              <a:rPr lang="en-US" altLang="zh-CN" sz="4800" dirty="0" smtClean="0">
                <a:solidFill>
                  <a:schemeClr val="tx1">
                    <a:alpha val="0"/>
                  </a:schemeClr>
                </a:solidFill>
                <a:latin typeface="微软雅黑" pitchFamily="34" charset="-122"/>
                <a:ea typeface="微软雅黑" pitchFamily="34" charset="-122"/>
              </a:rPr>
              <a:t> PPT</a:t>
            </a:r>
            <a:endParaRPr lang="zh-CN" altLang="en-US" sz="4800" dirty="0">
              <a:solidFill>
                <a:schemeClr val="tx1">
                  <a:alpha val="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文本框 7"/>
          <p:cNvSpPr txBox="1"/>
          <p:nvPr userDrawn="1"/>
        </p:nvSpPr>
        <p:spPr>
          <a:xfrm rot="19151590">
            <a:off x="2626318" y="2464697"/>
            <a:ext cx="35283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dirty="0" smtClean="0">
                <a:solidFill>
                  <a:schemeClr val="tx1">
                    <a:alpha val="0"/>
                  </a:schemeClr>
                </a:solidFill>
                <a:latin typeface="微软雅黑" pitchFamily="34" charset="-122"/>
                <a:ea typeface="微软雅黑" pitchFamily="34" charset="-122"/>
              </a:rPr>
              <a:t>哥布林</a:t>
            </a:r>
            <a:r>
              <a:rPr lang="en-US" altLang="zh-CN" sz="4800" dirty="0" smtClean="0">
                <a:solidFill>
                  <a:schemeClr val="tx1">
                    <a:alpha val="0"/>
                  </a:schemeClr>
                </a:solidFill>
                <a:latin typeface="微软雅黑" pitchFamily="34" charset="-122"/>
                <a:ea typeface="微软雅黑" pitchFamily="34" charset="-122"/>
              </a:rPr>
              <a:t> PPT</a:t>
            </a:r>
            <a:endParaRPr lang="zh-CN" altLang="en-US" sz="4800" dirty="0">
              <a:solidFill>
                <a:schemeClr val="tx1">
                  <a:alpha val="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文本框 8"/>
          <p:cNvSpPr txBox="1"/>
          <p:nvPr userDrawn="1"/>
        </p:nvSpPr>
        <p:spPr>
          <a:xfrm rot="19151590">
            <a:off x="5434630" y="3361050"/>
            <a:ext cx="35283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dirty="0" smtClean="0">
                <a:solidFill>
                  <a:schemeClr val="tx1">
                    <a:alpha val="0"/>
                  </a:schemeClr>
                </a:solidFill>
                <a:latin typeface="微软雅黑" pitchFamily="34" charset="-122"/>
                <a:ea typeface="微软雅黑" pitchFamily="34" charset="-122"/>
              </a:rPr>
              <a:t>哥布林</a:t>
            </a:r>
            <a:r>
              <a:rPr lang="en-US" altLang="zh-CN" sz="4800" dirty="0" smtClean="0">
                <a:solidFill>
                  <a:schemeClr val="tx1">
                    <a:alpha val="0"/>
                  </a:schemeClr>
                </a:solidFill>
                <a:latin typeface="微软雅黑" pitchFamily="34" charset="-122"/>
                <a:ea typeface="微软雅黑" pitchFamily="34" charset="-122"/>
              </a:rPr>
              <a:t> PPT</a:t>
            </a:r>
            <a:endParaRPr lang="zh-CN" altLang="en-US" sz="4800" dirty="0">
              <a:solidFill>
                <a:schemeClr val="tx1">
                  <a:alpha val="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文本框 9"/>
          <p:cNvSpPr txBox="1"/>
          <p:nvPr userDrawn="1"/>
        </p:nvSpPr>
        <p:spPr>
          <a:xfrm rot="19151590">
            <a:off x="8098927" y="3910435"/>
            <a:ext cx="35283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dirty="0" smtClean="0">
                <a:solidFill>
                  <a:schemeClr val="tx1">
                    <a:alpha val="0"/>
                  </a:schemeClr>
                </a:solidFill>
                <a:latin typeface="微软雅黑" pitchFamily="34" charset="-122"/>
                <a:ea typeface="微软雅黑" pitchFamily="34" charset="-122"/>
              </a:rPr>
              <a:t>哥布林</a:t>
            </a:r>
            <a:r>
              <a:rPr lang="en-US" altLang="zh-CN" sz="4800" dirty="0" smtClean="0">
                <a:solidFill>
                  <a:schemeClr val="tx1">
                    <a:alpha val="0"/>
                  </a:schemeClr>
                </a:solidFill>
                <a:latin typeface="微软雅黑" pitchFamily="34" charset="-122"/>
                <a:ea typeface="微软雅黑" pitchFamily="34" charset="-122"/>
              </a:rPr>
              <a:t> PPT</a:t>
            </a:r>
            <a:endParaRPr lang="zh-CN" altLang="en-US" sz="4800" dirty="0">
              <a:solidFill>
                <a:schemeClr val="tx1">
                  <a:alpha val="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0" r:id="rId9"/>
    <p:sldLayoutId id="2147483659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710011" y="1086890"/>
            <a:ext cx="10771978" cy="4684220"/>
            <a:chOff x="981440" y="1015064"/>
            <a:chExt cx="10771978" cy="4684220"/>
          </a:xfrm>
        </p:grpSpPr>
        <p:grpSp>
          <p:nvGrpSpPr>
            <p:cNvPr id="28" name="组合 27"/>
            <p:cNvGrpSpPr/>
            <p:nvPr/>
          </p:nvGrpSpPr>
          <p:grpSpPr>
            <a:xfrm>
              <a:off x="3338635" y="1015064"/>
              <a:ext cx="6057588" cy="2559240"/>
              <a:chOff x="4570419" y="5715017"/>
              <a:chExt cx="1751015" cy="739777"/>
            </a:xfrm>
          </p:grpSpPr>
          <p:sp>
            <p:nvSpPr>
              <p:cNvPr id="29" name="Freeform 12"/>
              <p:cNvSpPr>
                <a:spLocks/>
              </p:cNvSpPr>
              <p:nvPr/>
            </p:nvSpPr>
            <p:spPr bwMode="auto">
              <a:xfrm>
                <a:off x="4570419" y="6369069"/>
                <a:ext cx="74613" cy="85725"/>
              </a:xfrm>
              <a:custGeom>
                <a:avLst/>
                <a:gdLst>
                  <a:gd name="T0" fmla="*/ 3 w 20"/>
                  <a:gd name="T1" fmla="*/ 20 h 23"/>
                  <a:gd name="T2" fmla="*/ 0 w 20"/>
                  <a:gd name="T3" fmla="*/ 11 h 23"/>
                  <a:gd name="T4" fmla="*/ 3 w 20"/>
                  <a:gd name="T5" fmla="*/ 3 h 23"/>
                  <a:gd name="T6" fmla="*/ 12 w 20"/>
                  <a:gd name="T7" fmla="*/ 0 h 23"/>
                  <a:gd name="T8" fmla="*/ 16 w 20"/>
                  <a:gd name="T9" fmla="*/ 0 h 23"/>
                  <a:gd name="T10" fmla="*/ 19 w 20"/>
                  <a:gd name="T11" fmla="*/ 1 h 23"/>
                  <a:gd name="T12" fmla="*/ 20 w 20"/>
                  <a:gd name="T13" fmla="*/ 1 h 23"/>
                  <a:gd name="T14" fmla="*/ 20 w 20"/>
                  <a:gd name="T15" fmla="*/ 3 h 23"/>
                  <a:gd name="T16" fmla="*/ 20 w 20"/>
                  <a:gd name="T17" fmla="*/ 6 h 23"/>
                  <a:gd name="T18" fmla="*/ 19 w 20"/>
                  <a:gd name="T19" fmla="*/ 7 h 23"/>
                  <a:gd name="T20" fmla="*/ 19 w 20"/>
                  <a:gd name="T21" fmla="*/ 6 h 23"/>
                  <a:gd name="T22" fmla="*/ 18 w 20"/>
                  <a:gd name="T23" fmla="*/ 3 h 23"/>
                  <a:gd name="T24" fmla="*/ 12 w 20"/>
                  <a:gd name="T25" fmla="*/ 1 h 23"/>
                  <a:gd name="T26" fmla="*/ 6 w 20"/>
                  <a:gd name="T27" fmla="*/ 3 h 23"/>
                  <a:gd name="T28" fmla="*/ 4 w 20"/>
                  <a:gd name="T29" fmla="*/ 11 h 23"/>
                  <a:gd name="T30" fmla="*/ 13 w 20"/>
                  <a:gd name="T31" fmla="*/ 21 h 23"/>
                  <a:gd name="T32" fmla="*/ 18 w 20"/>
                  <a:gd name="T33" fmla="*/ 20 h 23"/>
                  <a:gd name="T34" fmla="*/ 19 w 20"/>
                  <a:gd name="T35" fmla="*/ 18 h 23"/>
                  <a:gd name="T36" fmla="*/ 20 w 20"/>
                  <a:gd name="T37" fmla="*/ 17 h 23"/>
                  <a:gd name="T38" fmla="*/ 20 w 20"/>
                  <a:gd name="T39" fmla="*/ 18 h 23"/>
                  <a:gd name="T40" fmla="*/ 19 w 20"/>
                  <a:gd name="T41" fmla="*/ 22 h 23"/>
                  <a:gd name="T42" fmla="*/ 19 w 20"/>
                  <a:gd name="T43" fmla="*/ 22 h 23"/>
                  <a:gd name="T44" fmla="*/ 13 w 20"/>
                  <a:gd name="T45" fmla="*/ 23 h 23"/>
                  <a:gd name="T46" fmla="*/ 3 w 20"/>
                  <a:gd name="T47" fmla="*/ 2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" h="23">
                    <a:moveTo>
                      <a:pt x="3" y="20"/>
                    </a:moveTo>
                    <a:cubicBezTo>
                      <a:pt x="0" y="17"/>
                      <a:pt x="0" y="14"/>
                      <a:pt x="0" y="11"/>
                    </a:cubicBezTo>
                    <a:cubicBezTo>
                      <a:pt x="0" y="9"/>
                      <a:pt x="0" y="6"/>
                      <a:pt x="3" y="3"/>
                    </a:cubicBezTo>
                    <a:cubicBezTo>
                      <a:pt x="5" y="1"/>
                      <a:pt x="8" y="0"/>
                      <a:pt x="12" y="0"/>
                    </a:cubicBezTo>
                    <a:cubicBezTo>
                      <a:pt x="14" y="0"/>
                      <a:pt x="15" y="0"/>
                      <a:pt x="16" y="0"/>
                    </a:cubicBezTo>
                    <a:cubicBezTo>
                      <a:pt x="18" y="0"/>
                      <a:pt x="19" y="1"/>
                      <a:pt x="19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20" y="1"/>
                      <a:pt x="20" y="2"/>
                      <a:pt x="20" y="3"/>
                    </a:cubicBezTo>
                    <a:cubicBezTo>
                      <a:pt x="20" y="4"/>
                      <a:pt x="20" y="5"/>
                      <a:pt x="20" y="6"/>
                    </a:cubicBezTo>
                    <a:cubicBezTo>
                      <a:pt x="20" y="6"/>
                      <a:pt x="20" y="7"/>
                      <a:pt x="19" y="7"/>
                    </a:cubicBezTo>
                    <a:cubicBezTo>
                      <a:pt x="19" y="7"/>
                      <a:pt x="19" y="6"/>
                      <a:pt x="19" y="6"/>
                    </a:cubicBezTo>
                    <a:cubicBezTo>
                      <a:pt x="19" y="5"/>
                      <a:pt x="19" y="4"/>
                      <a:pt x="18" y="3"/>
                    </a:cubicBezTo>
                    <a:cubicBezTo>
                      <a:pt x="17" y="2"/>
                      <a:pt x="15" y="1"/>
                      <a:pt x="12" y="1"/>
                    </a:cubicBezTo>
                    <a:cubicBezTo>
                      <a:pt x="9" y="1"/>
                      <a:pt x="8" y="2"/>
                      <a:pt x="6" y="3"/>
                    </a:cubicBezTo>
                    <a:cubicBezTo>
                      <a:pt x="4" y="5"/>
                      <a:pt x="4" y="8"/>
                      <a:pt x="4" y="11"/>
                    </a:cubicBezTo>
                    <a:cubicBezTo>
                      <a:pt x="4" y="18"/>
                      <a:pt x="9" y="21"/>
                      <a:pt x="13" y="21"/>
                    </a:cubicBezTo>
                    <a:cubicBezTo>
                      <a:pt x="16" y="21"/>
                      <a:pt x="17" y="21"/>
                      <a:pt x="18" y="20"/>
                    </a:cubicBezTo>
                    <a:cubicBezTo>
                      <a:pt x="19" y="19"/>
                      <a:pt x="19" y="18"/>
                      <a:pt x="19" y="18"/>
                    </a:cubicBezTo>
                    <a:cubicBezTo>
                      <a:pt x="19" y="17"/>
                      <a:pt x="19" y="17"/>
                      <a:pt x="20" y="17"/>
                    </a:cubicBezTo>
                    <a:cubicBezTo>
                      <a:pt x="20" y="17"/>
                      <a:pt x="20" y="17"/>
                      <a:pt x="20" y="18"/>
                    </a:cubicBezTo>
                    <a:cubicBezTo>
                      <a:pt x="20" y="18"/>
                      <a:pt x="20" y="21"/>
                      <a:pt x="19" y="22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17" y="23"/>
                      <a:pt x="15" y="23"/>
                      <a:pt x="13" y="23"/>
                    </a:cubicBezTo>
                    <a:cubicBezTo>
                      <a:pt x="9" y="23"/>
                      <a:pt x="6" y="22"/>
                      <a:pt x="3" y="2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" name="Freeform 13"/>
              <p:cNvSpPr>
                <a:spLocks/>
              </p:cNvSpPr>
              <p:nvPr/>
            </p:nvSpPr>
            <p:spPr bwMode="auto">
              <a:xfrm>
                <a:off x="4652969" y="6383356"/>
                <a:ext cx="85725" cy="71438"/>
              </a:xfrm>
              <a:custGeom>
                <a:avLst/>
                <a:gdLst>
                  <a:gd name="T0" fmla="*/ 16 w 23"/>
                  <a:gd name="T1" fmla="*/ 8 h 19"/>
                  <a:gd name="T2" fmla="*/ 16 w 23"/>
                  <a:gd name="T3" fmla="*/ 8 h 19"/>
                  <a:gd name="T4" fmla="*/ 16 w 23"/>
                  <a:gd name="T5" fmla="*/ 7 h 19"/>
                  <a:gd name="T6" fmla="*/ 16 w 23"/>
                  <a:gd name="T7" fmla="*/ 2 h 19"/>
                  <a:gd name="T8" fmla="*/ 15 w 23"/>
                  <a:gd name="T9" fmla="*/ 0 h 19"/>
                  <a:gd name="T10" fmla="*/ 14 w 23"/>
                  <a:gd name="T11" fmla="*/ 0 h 19"/>
                  <a:gd name="T12" fmla="*/ 14 w 23"/>
                  <a:gd name="T13" fmla="*/ 0 h 19"/>
                  <a:gd name="T14" fmla="*/ 14 w 23"/>
                  <a:gd name="T15" fmla="*/ 0 h 19"/>
                  <a:gd name="T16" fmla="*/ 18 w 23"/>
                  <a:gd name="T17" fmla="*/ 0 h 19"/>
                  <a:gd name="T18" fmla="*/ 22 w 23"/>
                  <a:gd name="T19" fmla="*/ 0 h 19"/>
                  <a:gd name="T20" fmla="*/ 22 w 23"/>
                  <a:gd name="T21" fmla="*/ 0 h 19"/>
                  <a:gd name="T22" fmla="*/ 22 w 23"/>
                  <a:gd name="T23" fmla="*/ 0 h 19"/>
                  <a:gd name="T24" fmla="*/ 21 w 23"/>
                  <a:gd name="T25" fmla="*/ 0 h 19"/>
                  <a:gd name="T26" fmla="*/ 20 w 23"/>
                  <a:gd name="T27" fmla="*/ 2 h 19"/>
                  <a:gd name="T28" fmla="*/ 20 w 23"/>
                  <a:gd name="T29" fmla="*/ 7 h 19"/>
                  <a:gd name="T30" fmla="*/ 20 w 23"/>
                  <a:gd name="T31" fmla="*/ 11 h 19"/>
                  <a:gd name="T32" fmla="*/ 20 w 23"/>
                  <a:gd name="T33" fmla="*/ 17 h 19"/>
                  <a:gd name="T34" fmla="*/ 21 w 23"/>
                  <a:gd name="T35" fmla="*/ 18 h 19"/>
                  <a:gd name="T36" fmla="*/ 22 w 23"/>
                  <a:gd name="T37" fmla="*/ 18 h 19"/>
                  <a:gd name="T38" fmla="*/ 23 w 23"/>
                  <a:gd name="T39" fmla="*/ 18 h 19"/>
                  <a:gd name="T40" fmla="*/ 22 w 23"/>
                  <a:gd name="T41" fmla="*/ 19 h 19"/>
                  <a:gd name="T42" fmla="*/ 18 w 23"/>
                  <a:gd name="T43" fmla="*/ 19 h 19"/>
                  <a:gd name="T44" fmla="*/ 15 w 23"/>
                  <a:gd name="T45" fmla="*/ 19 h 19"/>
                  <a:gd name="T46" fmla="*/ 14 w 23"/>
                  <a:gd name="T47" fmla="*/ 18 h 19"/>
                  <a:gd name="T48" fmla="*/ 15 w 23"/>
                  <a:gd name="T49" fmla="*/ 18 h 19"/>
                  <a:gd name="T50" fmla="*/ 16 w 23"/>
                  <a:gd name="T51" fmla="*/ 18 h 19"/>
                  <a:gd name="T52" fmla="*/ 16 w 23"/>
                  <a:gd name="T53" fmla="*/ 17 h 19"/>
                  <a:gd name="T54" fmla="*/ 16 w 23"/>
                  <a:gd name="T55" fmla="*/ 11 h 19"/>
                  <a:gd name="T56" fmla="*/ 16 w 23"/>
                  <a:gd name="T57" fmla="*/ 10 h 19"/>
                  <a:gd name="T58" fmla="*/ 16 w 23"/>
                  <a:gd name="T59" fmla="*/ 9 h 19"/>
                  <a:gd name="T60" fmla="*/ 7 w 23"/>
                  <a:gd name="T61" fmla="*/ 9 h 19"/>
                  <a:gd name="T62" fmla="*/ 6 w 23"/>
                  <a:gd name="T63" fmla="*/ 10 h 19"/>
                  <a:gd name="T64" fmla="*/ 6 w 23"/>
                  <a:gd name="T65" fmla="*/ 11 h 19"/>
                  <a:gd name="T66" fmla="*/ 6 w 23"/>
                  <a:gd name="T67" fmla="*/ 17 h 19"/>
                  <a:gd name="T68" fmla="*/ 8 w 23"/>
                  <a:gd name="T69" fmla="*/ 18 h 19"/>
                  <a:gd name="T70" fmla="*/ 9 w 23"/>
                  <a:gd name="T71" fmla="*/ 18 h 19"/>
                  <a:gd name="T72" fmla="*/ 9 w 23"/>
                  <a:gd name="T73" fmla="*/ 18 h 19"/>
                  <a:gd name="T74" fmla="*/ 9 w 23"/>
                  <a:gd name="T75" fmla="*/ 19 h 19"/>
                  <a:gd name="T76" fmla="*/ 5 w 23"/>
                  <a:gd name="T77" fmla="*/ 19 h 19"/>
                  <a:gd name="T78" fmla="*/ 1 w 23"/>
                  <a:gd name="T79" fmla="*/ 19 h 19"/>
                  <a:gd name="T80" fmla="*/ 1 w 23"/>
                  <a:gd name="T81" fmla="*/ 18 h 19"/>
                  <a:gd name="T82" fmla="*/ 1 w 23"/>
                  <a:gd name="T83" fmla="*/ 18 h 19"/>
                  <a:gd name="T84" fmla="*/ 2 w 23"/>
                  <a:gd name="T85" fmla="*/ 18 h 19"/>
                  <a:gd name="T86" fmla="*/ 3 w 23"/>
                  <a:gd name="T87" fmla="*/ 17 h 19"/>
                  <a:gd name="T88" fmla="*/ 3 w 23"/>
                  <a:gd name="T89" fmla="*/ 11 h 19"/>
                  <a:gd name="T90" fmla="*/ 3 w 23"/>
                  <a:gd name="T91" fmla="*/ 7 h 19"/>
                  <a:gd name="T92" fmla="*/ 3 w 23"/>
                  <a:gd name="T93" fmla="*/ 2 h 19"/>
                  <a:gd name="T94" fmla="*/ 2 w 23"/>
                  <a:gd name="T95" fmla="*/ 0 h 19"/>
                  <a:gd name="T96" fmla="*/ 1 w 23"/>
                  <a:gd name="T97" fmla="*/ 0 h 19"/>
                  <a:gd name="T98" fmla="*/ 0 w 23"/>
                  <a:gd name="T99" fmla="*/ 0 h 19"/>
                  <a:gd name="T100" fmla="*/ 1 w 23"/>
                  <a:gd name="T101" fmla="*/ 0 h 19"/>
                  <a:gd name="T102" fmla="*/ 5 w 23"/>
                  <a:gd name="T103" fmla="*/ 0 h 19"/>
                  <a:gd name="T104" fmla="*/ 8 w 23"/>
                  <a:gd name="T105" fmla="*/ 0 h 19"/>
                  <a:gd name="T106" fmla="*/ 9 w 23"/>
                  <a:gd name="T107" fmla="*/ 0 h 19"/>
                  <a:gd name="T108" fmla="*/ 8 w 23"/>
                  <a:gd name="T109" fmla="*/ 0 h 19"/>
                  <a:gd name="T110" fmla="*/ 7 w 23"/>
                  <a:gd name="T111" fmla="*/ 0 h 19"/>
                  <a:gd name="T112" fmla="*/ 6 w 23"/>
                  <a:gd name="T113" fmla="*/ 2 h 19"/>
                  <a:gd name="T114" fmla="*/ 6 w 23"/>
                  <a:gd name="T115" fmla="*/ 7 h 19"/>
                  <a:gd name="T116" fmla="*/ 6 w 23"/>
                  <a:gd name="T117" fmla="*/ 8 h 19"/>
                  <a:gd name="T118" fmla="*/ 7 w 23"/>
                  <a:gd name="T119" fmla="*/ 8 h 19"/>
                  <a:gd name="T120" fmla="*/ 16 w 23"/>
                  <a:gd name="T121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3" h="19">
                    <a:moveTo>
                      <a:pt x="16" y="8"/>
                    </a:moveTo>
                    <a:cubicBezTo>
                      <a:pt x="16" y="8"/>
                      <a:pt x="16" y="8"/>
                      <a:pt x="16" y="8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6" y="3"/>
                      <a:pt x="16" y="3"/>
                      <a:pt x="16" y="2"/>
                    </a:cubicBezTo>
                    <a:cubicBezTo>
                      <a:pt x="16" y="1"/>
                      <a:pt x="16" y="1"/>
                      <a:pt x="15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8" y="0"/>
                      <a:pt x="18" y="0"/>
                    </a:cubicBezTo>
                    <a:cubicBezTo>
                      <a:pt x="19" y="0"/>
                      <a:pt x="21" y="0"/>
                      <a:pt x="2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2" y="0"/>
                      <a:pt x="22" y="0"/>
                      <a:pt x="22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0" y="0"/>
                      <a:pt x="20" y="1"/>
                      <a:pt x="20" y="2"/>
                    </a:cubicBezTo>
                    <a:cubicBezTo>
                      <a:pt x="20" y="3"/>
                      <a:pt x="20" y="3"/>
                      <a:pt x="20" y="7"/>
                    </a:cubicBezTo>
                    <a:cubicBezTo>
                      <a:pt x="20" y="11"/>
                      <a:pt x="20" y="11"/>
                      <a:pt x="20" y="11"/>
                    </a:cubicBezTo>
                    <a:cubicBezTo>
                      <a:pt x="20" y="14"/>
                      <a:pt x="20" y="16"/>
                      <a:pt x="20" y="17"/>
                    </a:cubicBezTo>
                    <a:cubicBezTo>
                      <a:pt x="20" y="17"/>
                      <a:pt x="20" y="18"/>
                      <a:pt x="21" y="18"/>
                    </a:cubicBezTo>
                    <a:cubicBezTo>
                      <a:pt x="21" y="18"/>
                      <a:pt x="22" y="18"/>
                      <a:pt x="22" y="18"/>
                    </a:cubicBezTo>
                    <a:cubicBezTo>
                      <a:pt x="23" y="18"/>
                      <a:pt x="23" y="18"/>
                      <a:pt x="23" y="18"/>
                    </a:cubicBezTo>
                    <a:cubicBezTo>
                      <a:pt x="23" y="19"/>
                      <a:pt x="23" y="19"/>
                      <a:pt x="22" y="19"/>
                    </a:cubicBezTo>
                    <a:cubicBezTo>
                      <a:pt x="21" y="19"/>
                      <a:pt x="19" y="19"/>
                      <a:pt x="18" y="19"/>
                    </a:cubicBezTo>
                    <a:cubicBezTo>
                      <a:pt x="18" y="19"/>
                      <a:pt x="16" y="19"/>
                      <a:pt x="15" y="19"/>
                    </a:cubicBezTo>
                    <a:cubicBezTo>
                      <a:pt x="14" y="19"/>
                      <a:pt x="14" y="19"/>
                      <a:pt x="14" y="18"/>
                    </a:cubicBezTo>
                    <a:cubicBezTo>
                      <a:pt x="14" y="18"/>
                      <a:pt x="14" y="18"/>
                      <a:pt x="15" y="18"/>
                    </a:cubicBezTo>
                    <a:cubicBezTo>
                      <a:pt x="15" y="18"/>
                      <a:pt x="15" y="18"/>
                      <a:pt x="16" y="18"/>
                    </a:cubicBezTo>
                    <a:cubicBezTo>
                      <a:pt x="16" y="18"/>
                      <a:pt x="16" y="17"/>
                      <a:pt x="16" y="17"/>
                    </a:cubicBezTo>
                    <a:cubicBezTo>
                      <a:pt x="16" y="16"/>
                      <a:pt x="16" y="14"/>
                      <a:pt x="16" y="11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6" y="9"/>
                      <a:pt x="6" y="9"/>
                      <a:pt x="6" y="10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4"/>
                      <a:pt x="6" y="16"/>
                      <a:pt x="6" y="17"/>
                    </a:cubicBezTo>
                    <a:cubicBezTo>
                      <a:pt x="7" y="17"/>
                      <a:pt x="7" y="18"/>
                      <a:pt x="8" y="18"/>
                    </a:cubicBezTo>
                    <a:cubicBezTo>
                      <a:pt x="8" y="18"/>
                      <a:pt x="8" y="18"/>
                      <a:pt x="9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7" y="19"/>
                      <a:pt x="5" y="19"/>
                      <a:pt x="5" y="19"/>
                    </a:cubicBezTo>
                    <a:cubicBezTo>
                      <a:pt x="4" y="19"/>
                      <a:pt x="2" y="19"/>
                      <a:pt x="1" y="19"/>
                    </a:cubicBezTo>
                    <a:cubicBezTo>
                      <a:pt x="1" y="19"/>
                      <a:pt x="1" y="19"/>
                      <a:pt x="1" y="1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3" y="18"/>
                      <a:pt x="3" y="17"/>
                      <a:pt x="3" y="17"/>
                    </a:cubicBezTo>
                    <a:cubicBezTo>
                      <a:pt x="3" y="16"/>
                      <a:pt x="3" y="14"/>
                      <a:pt x="3" y="11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3" y="3"/>
                      <a:pt x="3" y="3"/>
                      <a:pt x="3" y="2"/>
                    </a:cubicBezTo>
                    <a:cubicBezTo>
                      <a:pt x="3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5" y="0"/>
                      <a:pt x="7" y="0"/>
                      <a:pt x="8" y="0"/>
                    </a:cubicBezTo>
                    <a:cubicBezTo>
                      <a:pt x="8" y="0"/>
                      <a:pt x="9" y="0"/>
                      <a:pt x="9" y="0"/>
                    </a:cubicBezTo>
                    <a:cubicBezTo>
                      <a:pt x="9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7" y="0"/>
                    </a:cubicBezTo>
                    <a:cubicBezTo>
                      <a:pt x="7" y="0"/>
                      <a:pt x="6" y="1"/>
                      <a:pt x="6" y="2"/>
                    </a:cubicBezTo>
                    <a:cubicBezTo>
                      <a:pt x="6" y="3"/>
                      <a:pt x="6" y="3"/>
                      <a:pt x="6" y="7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7" y="8"/>
                    </a:cubicBezTo>
                    <a:lnTo>
                      <a:pt x="16" y="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" name="Freeform 14"/>
              <p:cNvSpPr>
                <a:spLocks/>
              </p:cNvSpPr>
              <p:nvPr/>
            </p:nvSpPr>
            <p:spPr bwMode="auto">
              <a:xfrm>
                <a:off x="4746632" y="6383356"/>
                <a:ext cx="33338" cy="71438"/>
              </a:xfrm>
              <a:custGeom>
                <a:avLst/>
                <a:gdLst>
                  <a:gd name="T0" fmla="*/ 3 w 9"/>
                  <a:gd name="T1" fmla="*/ 7 h 19"/>
                  <a:gd name="T2" fmla="*/ 3 w 9"/>
                  <a:gd name="T3" fmla="*/ 2 h 19"/>
                  <a:gd name="T4" fmla="*/ 2 w 9"/>
                  <a:gd name="T5" fmla="*/ 0 h 19"/>
                  <a:gd name="T6" fmla="*/ 1 w 9"/>
                  <a:gd name="T7" fmla="*/ 0 h 19"/>
                  <a:gd name="T8" fmla="*/ 0 w 9"/>
                  <a:gd name="T9" fmla="*/ 0 h 19"/>
                  <a:gd name="T10" fmla="*/ 1 w 9"/>
                  <a:gd name="T11" fmla="*/ 0 h 19"/>
                  <a:gd name="T12" fmla="*/ 4 w 9"/>
                  <a:gd name="T13" fmla="*/ 0 h 19"/>
                  <a:gd name="T14" fmla="*/ 8 w 9"/>
                  <a:gd name="T15" fmla="*/ 0 h 19"/>
                  <a:gd name="T16" fmla="*/ 8 w 9"/>
                  <a:gd name="T17" fmla="*/ 0 h 19"/>
                  <a:gd name="T18" fmla="*/ 8 w 9"/>
                  <a:gd name="T19" fmla="*/ 0 h 19"/>
                  <a:gd name="T20" fmla="*/ 7 w 9"/>
                  <a:gd name="T21" fmla="*/ 0 h 19"/>
                  <a:gd name="T22" fmla="*/ 6 w 9"/>
                  <a:gd name="T23" fmla="*/ 2 h 19"/>
                  <a:gd name="T24" fmla="*/ 6 w 9"/>
                  <a:gd name="T25" fmla="*/ 7 h 19"/>
                  <a:gd name="T26" fmla="*/ 6 w 9"/>
                  <a:gd name="T27" fmla="*/ 11 h 19"/>
                  <a:gd name="T28" fmla="*/ 6 w 9"/>
                  <a:gd name="T29" fmla="*/ 17 h 19"/>
                  <a:gd name="T30" fmla="*/ 7 w 9"/>
                  <a:gd name="T31" fmla="*/ 18 h 19"/>
                  <a:gd name="T32" fmla="*/ 9 w 9"/>
                  <a:gd name="T33" fmla="*/ 18 h 19"/>
                  <a:gd name="T34" fmla="*/ 9 w 9"/>
                  <a:gd name="T35" fmla="*/ 18 h 19"/>
                  <a:gd name="T36" fmla="*/ 8 w 9"/>
                  <a:gd name="T37" fmla="*/ 19 h 19"/>
                  <a:gd name="T38" fmla="*/ 4 w 9"/>
                  <a:gd name="T39" fmla="*/ 19 h 19"/>
                  <a:gd name="T40" fmla="*/ 1 w 9"/>
                  <a:gd name="T41" fmla="*/ 19 h 19"/>
                  <a:gd name="T42" fmla="*/ 0 w 9"/>
                  <a:gd name="T43" fmla="*/ 18 h 19"/>
                  <a:gd name="T44" fmla="*/ 1 w 9"/>
                  <a:gd name="T45" fmla="*/ 18 h 19"/>
                  <a:gd name="T46" fmla="*/ 2 w 9"/>
                  <a:gd name="T47" fmla="*/ 18 h 19"/>
                  <a:gd name="T48" fmla="*/ 3 w 9"/>
                  <a:gd name="T49" fmla="*/ 17 h 19"/>
                  <a:gd name="T50" fmla="*/ 3 w 9"/>
                  <a:gd name="T51" fmla="*/ 11 h 19"/>
                  <a:gd name="T52" fmla="*/ 3 w 9"/>
                  <a:gd name="T53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9" h="19">
                    <a:moveTo>
                      <a:pt x="3" y="7"/>
                    </a:moveTo>
                    <a:cubicBezTo>
                      <a:pt x="3" y="3"/>
                      <a:pt x="3" y="3"/>
                      <a:pt x="3" y="2"/>
                    </a:cubicBezTo>
                    <a:cubicBezTo>
                      <a:pt x="3" y="1"/>
                      <a:pt x="2" y="1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4" y="0"/>
                      <a:pt x="4" y="0"/>
                    </a:cubicBezTo>
                    <a:cubicBezTo>
                      <a:pt x="5" y="0"/>
                      <a:pt x="7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7" y="0"/>
                      <a:pt x="7" y="0"/>
                    </a:cubicBezTo>
                    <a:cubicBezTo>
                      <a:pt x="6" y="0"/>
                      <a:pt x="6" y="1"/>
                      <a:pt x="6" y="2"/>
                    </a:cubicBezTo>
                    <a:cubicBezTo>
                      <a:pt x="6" y="3"/>
                      <a:pt x="6" y="3"/>
                      <a:pt x="6" y="7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4"/>
                      <a:pt x="6" y="16"/>
                      <a:pt x="6" y="17"/>
                    </a:cubicBezTo>
                    <a:cubicBezTo>
                      <a:pt x="6" y="18"/>
                      <a:pt x="6" y="18"/>
                      <a:pt x="7" y="18"/>
                    </a:cubicBezTo>
                    <a:cubicBezTo>
                      <a:pt x="8" y="18"/>
                      <a:pt x="8" y="18"/>
                      <a:pt x="9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9" y="19"/>
                      <a:pt x="9" y="19"/>
                      <a:pt x="8" y="19"/>
                    </a:cubicBezTo>
                    <a:cubicBezTo>
                      <a:pt x="7" y="19"/>
                      <a:pt x="5" y="19"/>
                      <a:pt x="4" y="19"/>
                    </a:cubicBezTo>
                    <a:cubicBezTo>
                      <a:pt x="4" y="19"/>
                      <a:pt x="2" y="19"/>
                      <a:pt x="1" y="19"/>
                    </a:cubicBezTo>
                    <a:cubicBezTo>
                      <a:pt x="1" y="19"/>
                      <a:pt x="0" y="19"/>
                      <a:pt x="0" y="18"/>
                    </a:cubicBezTo>
                    <a:cubicBezTo>
                      <a:pt x="0" y="18"/>
                      <a:pt x="1" y="18"/>
                      <a:pt x="1" y="18"/>
                    </a:cubicBezTo>
                    <a:cubicBezTo>
                      <a:pt x="1" y="18"/>
                      <a:pt x="1" y="18"/>
                      <a:pt x="2" y="18"/>
                    </a:cubicBezTo>
                    <a:cubicBezTo>
                      <a:pt x="2" y="18"/>
                      <a:pt x="2" y="18"/>
                      <a:pt x="3" y="17"/>
                    </a:cubicBezTo>
                    <a:cubicBezTo>
                      <a:pt x="3" y="16"/>
                      <a:pt x="3" y="14"/>
                      <a:pt x="3" y="11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" name="Freeform 15"/>
              <p:cNvSpPr>
                <a:spLocks/>
              </p:cNvSpPr>
              <p:nvPr/>
            </p:nvSpPr>
            <p:spPr bwMode="auto">
              <a:xfrm>
                <a:off x="4787907" y="6380181"/>
                <a:ext cx="82550" cy="74613"/>
              </a:xfrm>
              <a:custGeom>
                <a:avLst/>
                <a:gdLst>
                  <a:gd name="T0" fmla="*/ 4 w 22"/>
                  <a:gd name="T1" fmla="*/ 16 h 20"/>
                  <a:gd name="T2" fmla="*/ 5 w 22"/>
                  <a:gd name="T3" fmla="*/ 19 h 20"/>
                  <a:gd name="T4" fmla="*/ 7 w 22"/>
                  <a:gd name="T5" fmla="*/ 19 h 20"/>
                  <a:gd name="T6" fmla="*/ 7 w 22"/>
                  <a:gd name="T7" fmla="*/ 19 h 20"/>
                  <a:gd name="T8" fmla="*/ 7 w 22"/>
                  <a:gd name="T9" fmla="*/ 20 h 20"/>
                  <a:gd name="T10" fmla="*/ 3 w 22"/>
                  <a:gd name="T11" fmla="*/ 20 h 20"/>
                  <a:gd name="T12" fmla="*/ 0 w 22"/>
                  <a:gd name="T13" fmla="*/ 20 h 20"/>
                  <a:gd name="T14" fmla="*/ 0 w 22"/>
                  <a:gd name="T15" fmla="*/ 19 h 20"/>
                  <a:gd name="T16" fmla="*/ 0 w 22"/>
                  <a:gd name="T17" fmla="*/ 19 h 20"/>
                  <a:gd name="T18" fmla="*/ 1 w 22"/>
                  <a:gd name="T19" fmla="*/ 19 h 20"/>
                  <a:gd name="T20" fmla="*/ 2 w 22"/>
                  <a:gd name="T21" fmla="*/ 16 h 20"/>
                  <a:gd name="T22" fmla="*/ 2 w 22"/>
                  <a:gd name="T23" fmla="*/ 1 h 20"/>
                  <a:gd name="T24" fmla="*/ 3 w 22"/>
                  <a:gd name="T25" fmla="*/ 0 h 20"/>
                  <a:gd name="T26" fmla="*/ 4 w 22"/>
                  <a:gd name="T27" fmla="*/ 1 h 20"/>
                  <a:gd name="T28" fmla="*/ 12 w 22"/>
                  <a:gd name="T29" fmla="*/ 9 h 20"/>
                  <a:gd name="T30" fmla="*/ 18 w 22"/>
                  <a:gd name="T31" fmla="*/ 15 h 20"/>
                  <a:gd name="T32" fmla="*/ 18 w 22"/>
                  <a:gd name="T33" fmla="*/ 15 h 20"/>
                  <a:gd name="T34" fmla="*/ 17 w 22"/>
                  <a:gd name="T35" fmla="*/ 4 h 20"/>
                  <a:gd name="T36" fmla="*/ 16 w 22"/>
                  <a:gd name="T37" fmla="*/ 1 h 20"/>
                  <a:gd name="T38" fmla="*/ 15 w 22"/>
                  <a:gd name="T39" fmla="*/ 1 h 20"/>
                  <a:gd name="T40" fmla="*/ 15 w 22"/>
                  <a:gd name="T41" fmla="*/ 1 h 20"/>
                  <a:gd name="T42" fmla="*/ 15 w 22"/>
                  <a:gd name="T43" fmla="*/ 1 h 20"/>
                  <a:gd name="T44" fmla="*/ 19 w 22"/>
                  <a:gd name="T45" fmla="*/ 1 h 20"/>
                  <a:gd name="T46" fmla="*/ 21 w 22"/>
                  <a:gd name="T47" fmla="*/ 1 h 20"/>
                  <a:gd name="T48" fmla="*/ 22 w 22"/>
                  <a:gd name="T49" fmla="*/ 1 h 20"/>
                  <a:gd name="T50" fmla="*/ 21 w 22"/>
                  <a:gd name="T51" fmla="*/ 1 h 20"/>
                  <a:gd name="T52" fmla="*/ 21 w 22"/>
                  <a:gd name="T53" fmla="*/ 1 h 20"/>
                  <a:gd name="T54" fmla="*/ 20 w 22"/>
                  <a:gd name="T55" fmla="*/ 3 h 20"/>
                  <a:gd name="T56" fmla="*/ 19 w 22"/>
                  <a:gd name="T57" fmla="*/ 19 h 20"/>
                  <a:gd name="T58" fmla="*/ 19 w 22"/>
                  <a:gd name="T59" fmla="*/ 20 h 20"/>
                  <a:gd name="T60" fmla="*/ 18 w 22"/>
                  <a:gd name="T61" fmla="*/ 19 h 20"/>
                  <a:gd name="T62" fmla="*/ 10 w 22"/>
                  <a:gd name="T63" fmla="*/ 12 h 20"/>
                  <a:gd name="T64" fmla="*/ 4 w 22"/>
                  <a:gd name="T65" fmla="*/ 6 h 20"/>
                  <a:gd name="T66" fmla="*/ 4 w 22"/>
                  <a:gd name="T67" fmla="*/ 6 h 20"/>
                  <a:gd name="T68" fmla="*/ 4 w 22"/>
                  <a:gd name="T69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" h="20">
                    <a:moveTo>
                      <a:pt x="4" y="16"/>
                    </a:moveTo>
                    <a:cubicBezTo>
                      <a:pt x="5" y="18"/>
                      <a:pt x="5" y="19"/>
                      <a:pt x="5" y="19"/>
                    </a:cubicBezTo>
                    <a:cubicBezTo>
                      <a:pt x="6" y="19"/>
                      <a:pt x="6" y="19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5" y="20"/>
                      <a:pt x="4" y="20"/>
                      <a:pt x="3" y="20"/>
                    </a:cubicBezTo>
                    <a:cubicBezTo>
                      <a:pt x="3" y="20"/>
                      <a:pt x="2" y="20"/>
                      <a:pt x="0" y="20"/>
                    </a:cubicBezTo>
                    <a:cubicBezTo>
                      <a:pt x="0" y="20"/>
                      <a:pt x="0" y="20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2" y="19"/>
                      <a:pt x="2" y="18"/>
                      <a:pt x="2" y="16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3" y="0"/>
                      <a:pt x="3" y="0"/>
                    </a:cubicBezTo>
                    <a:cubicBezTo>
                      <a:pt x="3" y="0"/>
                      <a:pt x="4" y="1"/>
                      <a:pt x="4" y="1"/>
                    </a:cubicBezTo>
                    <a:cubicBezTo>
                      <a:pt x="4" y="1"/>
                      <a:pt x="8" y="5"/>
                      <a:pt x="12" y="9"/>
                    </a:cubicBezTo>
                    <a:cubicBezTo>
                      <a:pt x="14" y="11"/>
                      <a:pt x="17" y="14"/>
                      <a:pt x="18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7" y="2"/>
                      <a:pt x="17" y="2"/>
                      <a:pt x="16" y="1"/>
                    </a:cubicBezTo>
                    <a:cubicBezTo>
                      <a:pt x="16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7" y="1"/>
                      <a:pt x="18" y="1"/>
                      <a:pt x="19" y="1"/>
                    </a:cubicBezTo>
                    <a:cubicBezTo>
                      <a:pt x="19" y="1"/>
                      <a:pt x="20" y="1"/>
                      <a:pt x="21" y="1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1"/>
                      <a:pt x="22" y="1"/>
                      <a:pt x="21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0" y="2"/>
                      <a:pt x="20" y="2"/>
                      <a:pt x="20" y="3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19" y="20"/>
                      <a:pt x="19" y="20"/>
                      <a:pt x="19" y="20"/>
                    </a:cubicBezTo>
                    <a:cubicBezTo>
                      <a:pt x="18" y="20"/>
                      <a:pt x="18" y="20"/>
                      <a:pt x="18" y="19"/>
                    </a:cubicBezTo>
                    <a:cubicBezTo>
                      <a:pt x="16" y="18"/>
                      <a:pt x="13" y="15"/>
                      <a:pt x="10" y="12"/>
                    </a:cubicBezTo>
                    <a:cubicBezTo>
                      <a:pt x="7" y="10"/>
                      <a:pt x="5" y="7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4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" name="Freeform 16"/>
              <p:cNvSpPr>
                <a:spLocks/>
              </p:cNvSpPr>
              <p:nvPr/>
            </p:nvSpPr>
            <p:spPr bwMode="auto">
              <a:xfrm>
                <a:off x="4878395" y="6383356"/>
                <a:ext cx="52388" cy="71438"/>
              </a:xfrm>
              <a:custGeom>
                <a:avLst/>
                <a:gdLst>
                  <a:gd name="T0" fmla="*/ 3 w 14"/>
                  <a:gd name="T1" fmla="*/ 7 h 19"/>
                  <a:gd name="T2" fmla="*/ 3 w 14"/>
                  <a:gd name="T3" fmla="*/ 2 h 19"/>
                  <a:gd name="T4" fmla="*/ 2 w 14"/>
                  <a:gd name="T5" fmla="*/ 0 h 19"/>
                  <a:gd name="T6" fmla="*/ 1 w 14"/>
                  <a:gd name="T7" fmla="*/ 0 h 19"/>
                  <a:gd name="T8" fmla="*/ 0 w 14"/>
                  <a:gd name="T9" fmla="*/ 0 h 19"/>
                  <a:gd name="T10" fmla="*/ 1 w 14"/>
                  <a:gd name="T11" fmla="*/ 0 h 19"/>
                  <a:gd name="T12" fmla="*/ 5 w 14"/>
                  <a:gd name="T13" fmla="*/ 0 h 19"/>
                  <a:gd name="T14" fmla="*/ 12 w 14"/>
                  <a:gd name="T15" fmla="*/ 0 h 19"/>
                  <a:gd name="T16" fmla="*/ 13 w 14"/>
                  <a:gd name="T17" fmla="*/ 0 h 19"/>
                  <a:gd name="T18" fmla="*/ 13 w 14"/>
                  <a:gd name="T19" fmla="*/ 0 h 19"/>
                  <a:gd name="T20" fmla="*/ 13 w 14"/>
                  <a:gd name="T21" fmla="*/ 0 h 19"/>
                  <a:gd name="T22" fmla="*/ 13 w 14"/>
                  <a:gd name="T23" fmla="*/ 1 h 19"/>
                  <a:gd name="T24" fmla="*/ 13 w 14"/>
                  <a:gd name="T25" fmla="*/ 3 h 19"/>
                  <a:gd name="T26" fmla="*/ 13 w 14"/>
                  <a:gd name="T27" fmla="*/ 3 h 19"/>
                  <a:gd name="T28" fmla="*/ 12 w 14"/>
                  <a:gd name="T29" fmla="*/ 3 h 19"/>
                  <a:gd name="T30" fmla="*/ 12 w 14"/>
                  <a:gd name="T31" fmla="*/ 2 h 19"/>
                  <a:gd name="T32" fmla="*/ 11 w 14"/>
                  <a:gd name="T33" fmla="*/ 1 h 19"/>
                  <a:gd name="T34" fmla="*/ 6 w 14"/>
                  <a:gd name="T35" fmla="*/ 1 h 19"/>
                  <a:gd name="T36" fmla="*/ 6 w 14"/>
                  <a:gd name="T37" fmla="*/ 1 h 19"/>
                  <a:gd name="T38" fmla="*/ 6 w 14"/>
                  <a:gd name="T39" fmla="*/ 8 h 19"/>
                  <a:gd name="T40" fmla="*/ 6 w 14"/>
                  <a:gd name="T41" fmla="*/ 8 h 19"/>
                  <a:gd name="T42" fmla="*/ 11 w 14"/>
                  <a:gd name="T43" fmla="*/ 8 h 19"/>
                  <a:gd name="T44" fmla="*/ 12 w 14"/>
                  <a:gd name="T45" fmla="*/ 7 h 19"/>
                  <a:gd name="T46" fmla="*/ 13 w 14"/>
                  <a:gd name="T47" fmla="*/ 7 h 19"/>
                  <a:gd name="T48" fmla="*/ 13 w 14"/>
                  <a:gd name="T49" fmla="*/ 7 h 19"/>
                  <a:gd name="T50" fmla="*/ 13 w 14"/>
                  <a:gd name="T51" fmla="*/ 9 h 19"/>
                  <a:gd name="T52" fmla="*/ 13 w 14"/>
                  <a:gd name="T53" fmla="*/ 11 h 19"/>
                  <a:gd name="T54" fmla="*/ 12 w 14"/>
                  <a:gd name="T55" fmla="*/ 11 h 19"/>
                  <a:gd name="T56" fmla="*/ 12 w 14"/>
                  <a:gd name="T57" fmla="*/ 11 h 19"/>
                  <a:gd name="T58" fmla="*/ 12 w 14"/>
                  <a:gd name="T59" fmla="*/ 10 h 19"/>
                  <a:gd name="T60" fmla="*/ 10 w 14"/>
                  <a:gd name="T61" fmla="*/ 9 h 19"/>
                  <a:gd name="T62" fmla="*/ 6 w 14"/>
                  <a:gd name="T63" fmla="*/ 9 h 19"/>
                  <a:gd name="T64" fmla="*/ 6 w 14"/>
                  <a:gd name="T65" fmla="*/ 10 h 19"/>
                  <a:gd name="T66" fmla="*/ 6 w 14"/>
                  <a:gd name="T67" fmla="*/ 12 h 19"/>
                  <a:gd name="T68" fmla="*/ 6 w 14"/>
                  <a:gd name="T69" fmla="*/ 15 h 19"/>
                  <a:gd name="T70" fmla="*/ 10 w 14"/>
                  <a:gd name="T71" fmla="*/ 17 h 19"/>
                  <a:gd name="T72" fmla="*/ 12 w 14"/>
                  <a:gd name="T73" fmla="*/ 17 h 19"/>
                  <a:gd name="T74" fmla="*/ 13 w 14"/>
                  <a:gd name="T75" fmla="*/ 15 h 19"/>
                  <a:gd name="T76" fmla="*/ 14 w 14"/>
                  <a:gd name="T77" fmla="*/ 15 h 19"/>
                  <a:gd name="T78" fmla="*/ 14 w 14"/>
                  <a:gd name="T79" fmla="*/ 15 h 19"/>
                  <a:gd name="T80" fmla="*/ 13 w 14"/>
                  <a:gd name="T81" fmla="*/ 18 h 19"/>
                  <a:gd name="T82" fmla="*/ 12 w 14"/>
                  <a:gd name="T83" fmla="*/ 19 h 19"/>
                  <a:gd name="T84" fmla="*/ 7 w 14"/>
                  <a:gd name="T85" fmla="*/ 19 h 19"/>
                  <a:gd name="T86" fmla="*/ 4 w 14"/>
                  <a:gd name="T87" fmla="*/ 19 h 19"/>
                  <a:gd name="T88" fmla="*/ 3 w 14"/>
                  <a:gd name="T89" fmla="*/ 19 h 19"/>
                  <a:gd name="T90" fmla="*/ 1 w 14"/>
                  <a:gd name="T91" fmla="*/ 19 h 19"/>
                  <a:gd name="T92" fmla="*/ 1 w 14"/>
                  <a:gd name="T93" fmla="*/ 18 h 19"/>
                  <a:gd name="T94" fmla="*/ 1 w 14"/>
                  <a:gd name="T95" fmla="*/ 18 h 19"/>
                  <a:gd name="T96" fmla="*/ 2 w 14"/>
                  <a:gd name="T97" fmla="*/ 18 h 19"/>
                  <a:gd name="T98" fmla="*/ 3 w 14"/>
                  <a:gd name="T99" fmla="*/ 17 h 19"/>
                  <a:gd name="T100" fmla="*/ 3 w 14"/>
                  <a:gd name="T101" fmla="*/ 11 h 19"/>
                  <a:gd name="T102" fmla="*/ 3 w 14"/>
                  <a:gd name="T103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" h="19">
                    <a:moveTo>
                      <a:pt x="3" y="7"/>
                    </a:moveTo>
                    <a:cubicBezTo>
                      <a:pt x="3" y="3"/>
                      <a:pt x="3" y="3"/>
                      <a:pt x="3" y="2"/>
                    </a:cubicBezTo>
                    <a:cubicBezTo>
                      <a:pt x="3" y="1"/>
                      <a:pt x="2" y="1"/>
                      <a:pt x="2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5" y="0"/>
                      <a:pt x="11" y="0"/>
                      <a:pt x="12" y="0"/>
                    </a:cubicBezTo>
                    <a:cubicBezTo>
                      <a:pt x="12" y="0"/>
                      <a:pt x="12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1"/>
                    </a:cubicBezTo>
                    <a:cubicBezTo>
                      <a:pt x="13" y="2"/>
                      <a:pt x="13" y="3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2"/>
                    </a:cubicBezTo>
                    <a:cubicBezTo>
                      <a:pt x="12" y="2"/>
                      <a:pt x="12" y="1"/>
                      <a:pt x="11" y="1"/>
                    </a:cubicBezTo>
                    <a:cubicBezTo>
                      <a:pt x="10" y="1"/>
                      <a:pt x="7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10" y="8"/>
                      <a:pt x="11" y="8"/>
                    </a:cubicBezTo>
                    <a:cubicBezTo>
                      <a:pt x="12" y="8"/>
                      <a:pt x="12" y="8"/>
                      <a:pt x="12" y="7"/>
                    </a:cubicBezTo>
                    <a:cubicBezTo>
                      <a:pt x="12" y="7"/>
                      <a:pt x="13" y="7"/>
                      <a:pt x="13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8"/>
                      <a:pt x="13" y="8"/>
                      <a:pt x="13" y="9"/>
                    </a:cubicBezTo>
                    <a:cubicBezTo>
                      <a:pt x="13" y="10"/>
                      <a:pt x="13" y="11"/>
                      <a:pt x="13" y="11"/>
                    </a:cubicBezTo>
                    <a:cubicBezTo>
                      <a:pt x="13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0"/>
                    </a:cubicBezTo>
                    <a:cubicBezTo>
                      <a:pt x="12" y="10"/>
                      <a:pt x="11" y="9"/>
                      <a:pt x="10" y="9"/>
                    </a:cubicBezTo>
                    <a:cubicBezTo>
                      <a:pt x="10" y="9"/>
                      <a:pt x="7" y="9"/>
                      <a:pt x="6" y="9"/>
                    </a:cubicBezTo>
                    <a:cubicBezTo>
                      <a:pt x="6" y="9"/>
                      <a:pt x="6" y="9"/>
                      <a:pt x="6" y="10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4"/>
                      <a:pt x="6" y="15"/>
                    </a:cubicBezTo>
                    <a:cubicBezTo>
                      <a:pt x="6" y="17"/>
                      <a:pt x="7" y="17"/>
                      <a:pt x="10" y="17"/>
                    </a:cubicBezTo>
                    <a:cubicBezTo>
                      <a:pt x="10" y="17"/>
                      <a:pt x="12" y="17"/>
                      <a:pt x="12" y="17"/>
                    </a:cubicBezTo>
                    <a:cubicBezTo>
                      <a:pt x="13" y="17"/>
                      <a:pt x="13" y="16"/>
                      <a:pt x="13" y="15"/>
                    </a:cubicBezTo>
                    <a:cubicBezTo>
                      <a:pt x="13" y="15"/>
                      <a:pt x="13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6"/>
                      <a:pt x="14" y="18"/>
                      <a:pt x="13" y="18"/>
                    </a:cubicBezTo>
                    <a:cubicBezTo>
                      <a:pt x="13" y="19"/>
                      <a:pt x="13" y="19"/>
                      <a:pt x="12" y="19"/>
                    </a:cubicBezTo>
                    <a:cubicBezTo>
                      <a:pt x="10" y="19"/>
                      <a:pt x="9" y="19"/>
                      <a:pt x="7" y="19"/>
                    </a:cubicBezTo>
                    <a:cubicBezTo>
                      <a:pt x="6" y="19"/>
                      <a:pt x="5" y="19"/>
                      <a:pt x="4" y="19"/>
                    </a:cubicBezTo>
                    <a:cubicBezTo>
                      <a:pt x="4" y="19"/>
                      <a:pt x="4" y="19"/>
                      <a:pt x="3" y="19"/>
                    </a:cubicBezTo>
                    <a:cubicBezTo>
                      <a:pt x="2" y="19"/>
                      <a:pt x="2" y="19"/>
                      <a:pt x="1" y="19"/>
                    </a:cubicBezTo>
                    <a:cubicBezTo>
                      <a:pt x="1" y="19"/>
                      <a:pt x="1" y="19"/>
                      <a:pt x="1" y="1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2" y="18"/>
                      <a:pt x="3" y="17"/>
                      <a:pt x="3" y="17"/>
                    </a:cubicBezTo>
                    <a:cubicBezTo>
                      <a:pt x="3" y="16"/>
                      <a:pt x="3" y="14"/>
                      <a:pt x="3" y="11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" name="Freeform 17"/>
              <p:cNvSpPr>
                <a:spLocks/>
              </p:cNvSpPr>
              <p:nvPr/>
            </p:nvSpPr>
            <p:spPr bwMode="auto">
              <a:xfrm>
                <a:off x="4941895" y="6380181"/>
                <a:ext cx="44450" cy="74613"/>
              </a:xfrm>
              <a:custGeom>
                <a:avLst/>
                <a:gdLst>
                  <a:gd name="T0" fmla="*/ 1 w 12"/>
                  <a:gd name="T1" fmla="*/ 19 h 20"/>
                  <a:gd name="T2" fmla="*/ 0 w 12"/>
                  <a:gd name="T3" fmla="*/ 18 h 20"/>
                  <a:gd name="T4" fmla="*/ 0 w 12"/>
                  <a:gd name="T5" fmla="*/ 15 h 20"/>
                  <a:gd name="T6" fmla="*/ 1 w 12"/>
                  <a:gd name="T7" fmla="*/ 15 h 20"/>
                  <a:gd name="T8" fmla="*/ 1 w 12"/>
                  <a:gd name="T9" fmla="*/ 15 h 20"/>
                  <a:gd name="T10" fmla="*/ 1 w 12"/>
                  <a:gd name="T11" fmla="*/ 16 h 20"/>
                  <a:gd name="T12" fmla="*/ 5 w 12"/>
                  <a:gd name="T13" fmla="*/ 19 h 20"/>
                  <a:gd name="T14" fmla="*/ 9 w 12"/>
                  <a:gd name="T15" fmla="*/ 16 h 20"/>
                  <a:gd name="T16" fmla="*/ 6 w 12"/>
                  <a:gd name="T17" fmla="*/ 12 h 20"/>
                  <a:gd name="T18" fmla="*/ 5 w 12"/>
                  <a:gd name="T19" fmla="*/ 11 h 20"/>
                  <a:gd name="T20" fmla="*/ 1 w 12"/>
                  <a:gd name="T21" fmla="*/ 5 h 20"/>
                  <a:gd name="T22" fmla="*/ 7 w 12"/>
                  <a:gd name="T23" fmla="*/ 0 h 20"/>
                  <a:gd name="T24" fmla="*/ 11 w 12"/>
                  <a:gd name="T25" fmla="*/ 1 h 20"/>
                  <a:gd name="T26" fmla="*/ 11 w 12"/>
                  <a:gd name="T27" fmla="*/ 1 h 20"/>
                  <a:gd name="T28" fmla="*/ 11 w 12"/>
                  <a:gd name="T29" fmla="*/ 4 h 20"/>
                  <a:gd name="T30" fmla="*/ 11 w 12"/>
                  <a:gd name="T31" fmla="*/ 5 h 20"/>
                  <a:gd name="T32" fmla="*/ 11 w 12"/>
                  <a:gd name="T33" fmla="*/ 5 h 20"/>
                  <a:gd name="T34" fmla="*/ 10 w 12"/>
                  <a:gd name="T35" fmla="*/ 3 h 20"/>
                  <a:gd name="T36" fmla="*/ 7 w 12"/>
                  <a:gd name="T37" fmla="*/ 2 h 20"/>
                  <a:gd name="T38" fmla="*/ 3 w 12"/>
                  <a:gd name="T39" fmla="*/ 4 h 20"/>
                  <a:gd name="T40" fmla="*/ 6 w 12"/>
                  <a:gd name="T41" fmla="*/ 8 h 20"/>
                  <a:gd name="T42" fmla="*/ 7 w 12"/>
                  <a:gd name="T43" fmla="*/ 8 h 20"/>
                  <a:gd name="T44" fmla="*/ 12 w 12"/>
                  <a:gd name="T45" fmla="*/ 14 h 20"/>
                  <a:gd name="T46" fmla="*/ 9 w 12"/>
                  <a:gd name="T47" fmla="*/ 19 h 20"/>
                  <a:gd name="T48" fmla="*/ 5 w 12"/>
                  <a:gd name="T49" fmla="*/ 20 h 20"/>
                  <a:gd name="T50" fmla="*/ 1 w 12"/>
                  <a:gd name="T51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" h="20">
                    <a:moveTo>
                      <a:pt x="1" y="19"/>
                    </a:moveTo>
                    <a:cubicBezTo>
                      <a:pt x="0" y="19"/>
                      <a:pt x="0" y="19"/>
                      <a:pt x="0" y="18"/>
                    </a:cubicBezTo>
                    <a:cubicBezTo>
                      <a:pt x="0" y="17"/>
                      <a:pt x="0" y="16"/>
                      <a:pt x="0" y="15"/>
                    </a:cubicBezTo>
                    <a:cubicBezTo>
                      <a:pt x="0" y="15"/>
                      <a:pt x="0" y="15"/>
                      <a:pt x="1" y="15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1" y="15"/>
                      <a:pt x="1" y="16"/>
                      <a:pt x="1" y="16"/>
                    </a:cubicBezTo>
                    <a:cubicBezTo>
                      <a:pt x="2" y="18"/>
                      <a:pt x="4" y="19"/>
                      <a:pt x="5" y="19"/>
                    </a:cubicBezTo>
                    <a:cubicBezTo>
                      <a:pt x="7" y="19"/>
                      <a:pt x="9" y="17"/>
                      <a:pt x="9" y="16"/>
                    </a:cubicBezTo>
                    <a:cubicBezTo>
                      <a:pt x="9" y="14"/>
                      <a:pt x="8" y="13"/>
                      <a:pt x="6" y="12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2" y="9"/>
                      <a:pt x="1" y="8"/>
                      <a:pt x="1" y="5"/>
                    </a:cubicBezTo>
                    <a:cubicBezTo>
                      <a:pt x="1" y="2"/>
                      <a:pt x="4" y="0"/>
                      <a:pt x="7" y="0"/>
                    </a:cubicBezTo>
                    <a:cubicBezTo>
                      <a:pt x="9" y="0"/>
                      <a:pt x="10" y="1"/>
                      <a:pt x="11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1" y="1"/>
                      <a:pt x="11" y="2"/>
                      <a:pt x="11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4"/>
                      <a:pt x="10" y="4"/>
                      <a:pt x="10" y="3"/>
                    </a:cubicBezTo>
                    <a:cubicBezTo>
                      <a:pt x="9" y="2"/>
                      <a:pt x="9" y="2"/>
                      <a:pt x="7" y="2"/>
                    </a:cubicBezTo>
                    <a:cubicBezTo>
                      <a:pt x="5" y="2"/>
                      <a:pt x="3" y="3"/>
                      <a:pt x="3" y="4"/>
                    </a:cubicBezTo>
                    <a:cubicBezTo>
                      <a:pt x="3" y="5"/>
                      <a:pt x="4" y="6"/>
                      <a:pt x="6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1" y="10"/>
                      <a:pt x="12" y="12"/>
                      <a:pt x="12" y="14"/>
                    </a:cubicBezTo>
                    <a:cubicBezTo>
                      <a:pt x="12" y="16"/>
                      <a:pt x="11" y="18"/>
                      <a:pt x="9" y="19"/>
                    </a:cubicBezTo>
                    <a:cubicBezTo>
                      <a:pt x="8" y="20"/>
                      <a:pt x="6" y="20"/>
                      <a:pt x="5" y="20"/>
                    </a:cubicBezTo>
                    <a:cubicBezTo>
                      <a:pt x="3" y="20"/>
                      <a:pt x="2" y="20"/>
                      <a:pt x="1" y="19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" name="Freeform 18"/>
              <p:cNvSpPr>
                <a:spLocks/>
              </p:cNvSpPr>
              <p:nvPr/>
            </p:nvSpPr>
            <p:spPr bwMode="auto">
              <a:xfrm>
                <a:off x="4994282" y="6383356"/>
                <a:ext cx="52388" cy="71438"/>
              </a:xfrm>
              <a:custGeom>
                <a:avLst/>
                <a:gdLst>
                  <a:gd name="T0" fmla="*/ 3 w 14"/>
                  <a:gd name="T1" fmla="*/ 7 h 19"/>
                  <a:gd name="T2" fmla="*/ 3 w 14"/>
                  <a:gd name="T3" fmla="*/ 2 h 19"/>
                  <a:gd name="T4" fmla="*/ 1 w 14"/>
                  <a:gd name="T5" fmla="*/ 0 h 19"/>
                  <a:gd name="T6" fmla="*/ 0 w 14"/>
                  <a:gd name="T7" fmla="*/ 0 h 19"/>
                  <a:gd name="T8" fmla="*/ 0 w 14"/>
                  <a:gd name="T9" fmla="*/ 0 h 19"/>
                  <a:gd name="T10" fmla="*/ 1 w 14"/>
                  <a:gd name="T11" fmla="*/ 0 h 19"/>
                  <a:gd name="T12" fmla="*/ 4 w 14"/>
                  <a:gd name="T13" fmla="*/ 0 h 19"/>
                  <a:gd name="T14" fmla="*/ 11 w 14"/>
                  <a:gd name="T15" fmla="*/ 0 h 19"/>
                  <a:gd name="T16" fmla="*/ 12 w 14"/>
                  <a:gd name="T17" fmla="*/ 0 h 19"/>
                  <a:gd name="T18" fmla="*/ 13 w 14"/>
                  <a:gd name="T19" fmla="*/ 0 h 19"/>
                  <a:gd name="T20" fmla="*/ 13 w 14"/>
                  <a:gd name="T21" fmla="*/ 0 h 19"/>
                  <a:gd name="T22" fmla="*/ 13 w 14"/>
                  <a:gd name="T23" fmla="*/ 1 h 19"/>
                  <a:gd name="T24" fmla="*/ 13 w 14"/>
                  <a:gd name="T25" fmla="*/ 3 h 19"/>
                  <a:gd name="T26" fmla="*/ 12 w 14"/>
                  <a:gd name="T27" fmla="*/ 3 h 19"/>
                  <a:gd name="T28" fmla="*/ 12 w 14"/>
                  <a:gd name="T29" fmla="*/ 3 h 19"/>
                  <a:gd name="T30" fmla="*/ 12 w 14"/>
                  <a:gd name="T31" fmla="*/ 2 h 19"/>
                  <a:gd name="T32" fmla="*/ 10 w 14"/>
                  <a:gd name="T33" fmla="*/ 1 h 19"/>
                  <a:gd name="T34" fmla="*/ 6 w 14"/>
                  <a:gd name="T35" fmla="*/ 1 h 19"/>
                  <a:gd name="T36" fmla="*/ 6 w 14"/>
                  <a:gd name="T37" fmla="*/ 1 h 19"/>
                  <a:gd name="T38" fmla="*/ 6 w 14"/>
                  <a:gd name="T39" fmla="*/ 8 h 19"/>
                  <a:gd name="T40" fmla="*/ 6 w 14"/>
                  <a:gd name="T41" fmla="*/ 8 h 19"/>
                  <a:gd name="T42" fmla="*/ 11 w 14"/>
                  <a:gd name="T43" fmla="*/ 8 h 19"/>
                  <a:gd name="T44" fmla="*/ 12 w 14"/>
                  <a:gd name="T45" fmla="*/ 7 h 19"/>
                  <a:gd name="T46" fmla="*/ 12 w 14"/>
                  <a:gd name="T47" fmla="*/ 7 h 19"/>
                  <a:gd name="T48" fmla="*/ 13 w 14"/>
                  <a:gd name="T49" fmla="*/ 7 h 19"/>
                  <a:gd name="T50" fmla="*/ 12 w 14"/>
                  <a:gd name="T51" fmla="*/ 9 h 19"/>
                  <a:gd name="T52" fmla="*/ 12 w 14"/>
                  <a:gd name="T53" fmla="*/ 11 h 19"/>
                  <a:gd name="T54" fmla="*/ 12 w 14"/>
                  <a:gd name="T55" fmla="*/ 11 h 19"/>
                  <a:gd name="T56" fmla="*/ 12 w 14"/>
                  <a:gd name="T57" fmla="*/ 11 h 19"/>
                  <a:gd name="T58" fmla="*/ 12 w 14"/>
                  <a:gd name="T59" fmla="*/ 10 h 19"/>
                  <a:gd name="T60" fmla="*/ 10 w 14"/>
                  <a:gd name="T61" fmla="*/ 9 h 19"/>
                  <a:gd name="T62" fmla="*/ 6 w 14"/>
                  <a:gd name="T63" fmla="*/ 9 h 19"/>
                  <a:gd name="T64" fmla="*/ 6 w 14"/>
                  <a:gd name="T65" fmla="*/ 10 h 19"/>
                  <a:gd name="T66" fmla="*/ 6 w 14"/>
                  <a:gd name="T67" fmla="*/ 12 h 19"/>
                  <a:gd name="T68" fmla="*/ 6 w 14"/>
                  <a:gd name="T69" fmla="*/ 15 h 19"/>
                  <a:gd name="T70" fmla="*/ 9 w 14"/>
                  <a:gd name="T71" fmla="*/ 17 h 19"/>
                  <a:gd name="T72" fmla="*/ 12 w 14"/>
                  <a:gd name="T73" fmla="*/ 17 h 19"/>
                  <a:gd name="T74" fmla="*/ 13 w 14"/>
                  <a:gd name="T75" fmla="*/ 15 h 19"/>
                  <a:gd name="T76" fmla="*/ 13 w 14"/>
                  <a:gd name="T77" fmla="*/ 15 h 19"/>
                  <a:gd name="T78" fmla="*/ 14 w 14"/>
                  <a:gd name="T79" fmla="*/ 15 h 19"/>
                  <a:gd name="T80" fmla="*/ 13 w 14"/>
                  <a:gd name="T81" fmla="*/ 18 h 19"/>
                  <a:gd name="T82" fmla="*/ 12 w 14"/>
                  <a:gd name="T83" fmla="*/ 19 h 19"/>
                  <a:gd name="T84" fmla="*/ 7 w 14"/>
                  <a:gd name="T85" fmla="*/ 19 h 19"/>
                  <a:gd name="T86" fmla="*/ 4 w 14"/>
                  <a:gd name="T87" fmla="*/ 19 h 19"/>
                  <a:gd name="T88" fmla="*/ 3 w 14"/>
                  <a:gd name="T89" fmla="*/ 19 h 19"/>
                  <a:gd name="T90" fmla="*/ 1 w 14"/>
                  <a:gd name="T91" fmla="*/ 19 h 19"/>
                  <a:gd name="T92" fmla="*/ 0 w 14"/>
                  <a:gd name="T93" fmla="*/ 18 h 19"/>
                  <a:gd name="T94" fmla="*/ 1 w 14"/>
                  <a:gd name="T95" fmla="*/ 18 h 19"/>
                  <a:gd name="T96" fmla="*/ 2 w 14"/>
                  <a:gd name="T97" fmla="*/ 18 h 19"/>
                  <a:gd name="T98" fmla="*/ 2 w 14"/>
                  <a:gd name="T99" fmla="*/ 17 h 19"/>
                  <a:gd name="T100" fmla="*/ 3 w 14"/>
                  <a:gd name="T101" fmla="*/ 11 h 19"/>
                  <a:gd name="T102" fmla="*/ 3 w 14"/>
                  <a:gd name="T103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" h="19">
                    <a:moveTo>
                      <a:pt x="3" y="7"/>
                    </a:moveTo>
                    <a:cubicBezTo>
                      <a:pt x="3" y="3"/>
                      <a:pt x="3" y="3"/>
                      <a:pt x="3" y="2"/>
                    </a:cubicBezTo>
                    <a:cubicBezTo>
                      <a:pt x="2" y="1"/>
                      <a:pt x="2" y="1"/>
                      <a:pt x="1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4" y="0"/>
                      <a:pt x="4" y="0"/>
                    </a:cubicBezTo>
                    <a:cubicBezTo>
                      <a:pt x="5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1"/>
                    </a:cubicBezTo>
                    <a:cubicBezTo>
                      <a:pt x="13" y="2"/>
                      <a:pt x="13" y="3"/>
                      <a:pt x="13" y="3"/>
                    </a:cubicBezTo>
                    <a:cubicBezTo>
                      <a:pt x="13" y="3"/>
                      <a:pt x="13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2"/>
                    </a:cubicBezTo>
                    <a:cubicBezTo>
                      <a:pt x="12" y="2"/>
                      <a:pt x="12" y="1"/>
                      <a:pt x="10" y="1"/>
                    </a:cubicBezTo>
                    <a:cubicBezTo>
                      <a:pt x="10" y="1"/>
                      <a:pt x="7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10" y="8"/>
                      <a:pt x="11" y="8"/>
                    </a:cubicBezTo>
                    <a:cubicBezTo>
                      <a:pt x="11" y="8"/>
                      <a:pt x="12" y="8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2" y="7"/>
                      <a:pt x="13" y="7"/>
                      <a:pt x="13" y="7"/>
                    </a:cubicBezTo>
                    <a:cubicBezTo>
                      <a:pt x="13" y="8"/>
                      <a:pt x="12" y="8"/>
                      <a:pt x="12" y="9"/>
                    </a:cubicBezTo>
                    <a:cubicBezTo>
                      <a:pt x="12" y="10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0"/>
                    </a:cubicBezTo>
                    <a:cubicBezTo>
                      <a:pt x="11" y="10"/>
                      <a:pt x="11" y="9"/>
                      <a:pt x="10" y="9"/>
                    </a:cubicBezTo>
                    <a:cubicBezTo>
                      <a:pt x="10" y="9"/>
                      <a:pt x="7" y="9"/>
                      <a:pt x="6" y="9"/>
                    </a:cubicBezTo>
                    <a:cubicBezTo>
                      <a:pt x="6" y="9"/>
                      <a:pt x="6" y="9"/>
                      <a:pt x="6" y="10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4"/>
                      <a:pt x="6" y="15"/>
                    </a:cubicBezTo>
                    <a:cubicBezTo>
                      <a:pt x="6" y="17"/>
                      <a:pt x="7" y="17"/>
                      <a:pt x="9" y="17"/>
                    </a:cubicBezTo>
                    <a:cubicBezTo>
                      <a:pt x="10" y="17"/>
                      <a:pt x="11" y="17"/>
                      <a:pt x="12" y="17"/>
                    </a:cubicBezTo>
                    <a:cubicBezTo>
                      <a:pt x="13" y="17"/>
                      <a:pt x="13" y="16"/>
                      <a:pt x="13" y="15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6"/>
                      <a:pt x="13" y="18"/>
                      <a:pt x="13" y="18"/>
                    </a:cubicBezTo>
                    <a:cubicBezTo>
                      <a:pt x="13" y="19"/>
                      <a:pt x="13" y="19"/>
                      <a:pt x="12" y="19"/>
                    </a:cubicBezTo>
                    <a:cubicBezTo>
                      <a:pt x="10" y="19"/>
                      <a:pt x="8" y="19"/>
                      <a:pt x="7" y="19"/>
                    </a:cubicBezTo>
                    <a:cubicBezTo>
                      <a:pt x="6" y="19"/>
                      <a:pt x="5" y="19"/>
                      <a:pt x="4" y="19"/>
                    </a:cubicBezTo>
                    <a:cubicBezTo>
                      <a:pt x="4" y="19"/>
                      <a:pt x="3" y="19"/>
                      <a:pt x="3" y="19"/>
                    </a:cubicBezTo>
                    <a:cubicBezTo>
                      <a:pt x="2" y="19"/>
                      <a:pt x="1" y="19"/>
                      <a:pt x="1" y="19"/>
                    </a:cubicBezTo>
                    <a:cubicBezTo>
                      <a:pt x="1" y="19"/>
                      <a:pt x="0" y="19"/>
                      <a:pt x="0" y="18"/>
                    </a:cubicBezTo>
                    <a:cubicBezTo>
                      <a:pt x="0" y="18"/>
                      <a:pt x="0" y="18"/>
                      <a:pt x="1" y="18"/>
                    </a:cubicBezTo>
                    <a:cubicBezTo>
                      <a:pt x="1" y="18"/>
                      <a:pt x="1" y="18"/>
                      <a:pt x="2" y="18"/>
                    </a:cubicBezTo>
                    <a:cubicBezTo>
                      <a:pt x="2" y="18"/>
                      <a:pt x="2" y="17"/>
                      <a:pt x="2" y="17"/>
                    </a:cubicBezTo>
                    <a:cubicBezTo>
                      <a:pt x="3" y="16"/>
                      <a:pt x="3" y="14"/>
                      <a:pt x="3" y="11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" name="Freeform 19"/>
              <p:cNvSpPr>
                <a:spLocks/>
              </p:cNvSpPr>
              <p:nvPr/>
            </p:nvSpPr>
            <p:spPr bwMode="auto">
              <a:xfrm>
                <a:off x="5087945" y="6369069"/>
                <a:ext cx="57150" cy="85725"/>
              </a:xfrm>
              <a:custGeom>
                <a:avLst/>
                <a:gdLst>
                  <a:gd name="T0" fmla="*/ 6 w 15"/>
                  <a:gd name="T1" fmla="*/ 14 h 23"/>
                  <a:gd name="T2" fmla="*/ 7 w 15"/>
                  <a:gd name="T3" fmla="*/ 20 h 23"/>
                  <a:gd name="T4" fmla="*/ 10 w 15"/>
                  <a:gd name="T5" fmla="*/ 21 h 23"/>
                  <a:gd name="T6" fmla="*/ 14 w 15"/>
                  <a:gd name="T7" fmla="*/ 20 h 23"/>
                  <a:gd name="T8" fmla="*/ 14 w 15"/>
                  <a:gd name="T9" fmla="*/ 19 h 23"/>
                  <a:gd name="T10" fmla="*/ 15 w 15"/>
                  <a:gd name="T11" fmla="*/ 18 h 23"/>
                  <a:gd name="T12" fmla="*/ 15 w 15"/>
                  <a:gd name="T13" fmla="*/ 19 h 23"/>
                  <a:gd name="T14" fmla="*/ 15 w 15"/>
                  <a:gd name="T15" fmla="*/ 22 h 23"/>
                  <a:gd name="T16" fmla="*/ 13 w 15"/>
                  <a:gd name="T17" fmla="*/ 23 h 23"/>
                  <a:gd name="T18" fmla="*/ 8 w 15"/>
                  <a:gd name="T19" fmla="*/ 23 h 23"/>
                  <a:gd name="T20" fmla="*/ 4 w 15"/>
                  <a:gd name="T21" fmla="*/ 23 h 23"/>
                  <a:gd name="T22" fmla="*/ 2 w 15"/>
                  <a:gd name="T23" fmla="*/ 23 h 23"/>
                  <a:gd name="T24" fmla="*/ 0 w 15"/>
                  <a:gd name="T25" fmla="*/ 23 h 23"/>
                  <a:gd name="T26" fmla="*/ 0 w 15"/>
                  <a:gd name="T27" fmla="*/ 22 h 23"/>
                  <a:gd name="T28" fmla="*/ 0 w 15"/>
                  <a:gd name="T29" fmla="*/ 22 h 23"/>
                  <a:gd name="T30" fmla="*/ 1 w 15"/>
                  <a:gd name="T31" fmla="*/ 22 h 23"/>
                  <a:gd name="T32" fmla="*/ 2 w 15"/>
                  <a:gd name="T33" fmla="*/ 20 h 23"/>
                  <a:gd name="T34" fmla="*/ 2 w 15"/>
                  <a:gd name="T35" fmla="*/ 14 h 23"/>
                  <a:gd name="T36" fmla="*/ 2 w 15"/>
                  <a:gd name="T37" fmla="*/ 9 h 23"/>
                  <a:gd name="T38" fmla="*/ 2 w 15"/>
                  <a:gd name="T39" fmla="*/ 3 h 23"/>
                  <a:gd name="T40" fmla="*/ 1 w 15"/>
                  <a:gd name="T41" fmla="*/ 1 h 23"/>
                  <a:gd name="T42" fmla="*/ 0 w 15"/>
                  <a:gd name="T43" fmla="*/ 1 h 23"/>
                  <a:gd name="T44" fmla="*/ 0 w 15"/>
                  <a:gd name="T45" fmla="*/ 1 h 23"/>
                  <a:gd name="T46" fmla="*/ 0 w 15"/>
                  <a:gd name="T47" fmla="*/ 0 h 23"/>
                  <a:gd name="T48" fmla="*/ 4 w 15"/>
                  <a:gd name="T49" fmla="*/ 1 h 23"/>
                  <a:gd name="T50" fmla="*/ 8 w 15"/>
                  <a:gd name="T51" fmla="*/ 0 h 23"/>
                  <a:gd name="T52" fmla="*/ 9 w 15"/>
                  <a:gd name="T53" fmla="*/ 1 h 23"/>
                  <a:gd name="T54" fmla="*/ 8 w 15"/>
                  <a:gd name="T55" fmla="*/ 1 h 23"/>
                  <a:gd name="T56" fmla="*/ 7 w 15"/>
                  <a:gd name="T57" fmla="*/ 1 h 23"/>
                  <a:gd name="T58" fmla="*/ 6 w 15"/>
                  <a:gd name="T59" fmla="*/ 3 h 23"/>
                  <a:gd name="T60" fmla="*/ 6 w 15"/>
                  <a:gd name="T61" fmla="*/ 9 h 23"/>
                  <a:gd name="T62" fmla="*/ 6 w 15"/>
                  <a:gd name="T63" fmla="*/ 1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5" h="23">
                    <a:moveTo>
                      <a:pt x="6" y="14"/>
                    </a:moveTo>
                    <a:cubicBezTo>
                      <a:pt x="6" y="18"/>
                      <a:pt x="6" y="20"/>
                      <a:pt x="7" y="20"/>
                    </a:cubicBezTo>
                    <a:cubicBezTo>
                      <a:pt x="7" y="21"/>
                      <a:pt x="8" y="21"/>
                      <a:pt x="10" y="21"/>
                    </a:cubicBezTo>
                    <a:cubicBezTo>
                      <a:pt x="12" y="21"/>
                      <a:pt x="13" y="21"/>
                      <a:pt x="14" y="20"/>
                    </a:cubicBezTo>
                    <a:cubicBezTo>
                      <a:pt x="14" y="20"/>
                      <a:pt x="14" y="19"/>
                      <a:pt x="14" y="19"/>
                    </a:cubicBezTo>
                    <a:cubicBezTo>
                      <a:pt x="14" y="18"/>
                      <a:pt x="15" y="18"/>
                      <a:pt x="15" y="18"/>
                    </a:cubicBezTo>
                    <a:cubicBezTo>
                      <a:pt x="15" y="18"/>
                      <a:pt x="15" y="18"/>
                      <a:pt x="15" y="19"/>
                    </a:cubicBezTo>
                    <a:cubicBezTo>
                      <a:pt x="15" y="19"/>
                      <a:pt x="15" y="21"/>
                      <a:pt x="15" y="22"/>
                    </a:cubicBezTo>
                    <a:cubicBezTo>
                      <a:pt x="14" y="23"/>
                      <a:pt x="14" y="23"/>
                      <a:pt x="13" y="23"/>
                    </a:cubicBezTo>
                    <a:cubicBezTo>
                      <a:pt x="11" y="23"/>
                      <a:pt x="9" y="23"/>
                      <a:pt x="8" y="23"/>
                    </a:cubicBezTo>
                    <a:cubicBezTo>
                      <a:pt x="6" y="23"/>
                      <a:pt x="5" y="23"/>
                      <a:pt x="4" y="23"/>
                    </a:cubicBezTo>
                    <a:cubicBezTo>
                      <a:pt x="4" y="23"/>
                      <a:pt x="3" y="23"/>
                      <a:pt x="2" y="23"/>
                    </a:cubicBezTo>
                    <a:cubicBezTo>
                      <a:pt x="2" y="23"/>
                      <a:pt x="1" y="23"/>
                      <a:pt x="0" y="23"/>
                    </a:cubicBezTo>
                    <a:cubicBezTo>
                      <a:pt x="0" y="23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2" y="22"/>
                      <a:pt x="2" y="21"/>
                      <a:pt x="2" y="20"/>
                    </a:cubicBezTo>
                    <a:cubicBezTo>
                      <a:pt x="2" y="19"/>
                      <a:pt x="2" y="17"/>
                      <a:pt x="2" y="14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5"/>
                      <a:pt x="2" y="4"/>
                      <a:pt x="2" y="3"/>
                    </a:cubicBezTo>
                    <a:cubicBezTo>
                      <a:pt x="2" y="2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2" y="0"/>
                      <a:pt x="3" y="1"/>
                      <a:pt x="4" y="1"/>
                    </a:cubicBezTo>
                    <a:cubicBezTo>
                      <a:pt x="5" y="1"/>
                      <a:pt x="7" y="0"/>
                      <a:pt x="8" y="0"/>
                    </a:cubicBezTo>
                    <a:cubicBezTo>
                      <a:pt x="9" y="0"/>
                      <a:pt x="9" y="1"/>
                      <a:pt x="9" y="1"/>
                    </a:cubicBezTo>
                    <a:cubicBezTo>
                      <a:pt x="9" y="1"/>
                      <a:pt x="9" y="1"/>
                      <a:pt x="8" y="1"/>
                    </a:cubicBezTo>
                    <a:cubicBezTo>
                      <a:pt x="8" y="1"/>
                      <a:pt x="8" y="1"/>
                      <a:pt x="7" y="1"/>
                    </a:cubicBezTo>
                    <a:cubicBezTo>
                      <a:pt x="6" y="1"/>
                      <a:pt x="6" y="2"/>
                      <a:pt x="6" y="3"/>
                    </a:cubicBezTo>
                    <a:cubicBezTo>
                      <a:pt x="6" y="4"/>
                      <a:pt x="6" y="5"/>
                      <a:pt x="6" y="9"/>
                    </a:cubicBezTo>
                    <a:lnTo>
                      <a:pt x="6" y="1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" name="Freeform 20"/>
              <p:cNvSpPr>
                <a:spLocks/>
              </p:cNvSpPr>
              <p:nvPr/>
            </p:nvSpPr>
            <p:spPr bwMode="auto">
              <a:xfrm>
                <a:off x="5145095" y="6383356"/>
                <a:ext cx="79375" cy="71438"/>
              </a:xfrm>
              <a:custGeom>
                <a:avLst/>
                <a:gdLst>
                  <a:gd name="T0" fmla="*/ 2 w 21"/>
                  <a:gd name="T1" fmla="*/ 7 h 19"/>
                  <a:gd name="T2" fmla="*/ 2 w 21"/>
                  <a:gd name="T3" fmla="*/ 2 h 19"/>
                  <a:gd name="T4" fmla="*/ 1 w 21"/>
                  <a:gd name="T5" fmla="*/ 0 h 19"/>
                  <a:gd name="T6" fmla="*/ 0 w 21"/>
                  <a:gd name="T7" fmla="*/ 0 h 19"/>
                  <a:gd name="T8" fmla="*/ 0 w 21"/>
                  <a:gd name="T9" fmla="*/ 0 h 19"/>
                  <a:gd name="T10" fmla="*/ 0 w 21"/>
                  <a:gd name="T11" fmla="*/ 0 h 19"/>
                  <a:gd name="T12" fmla="*/ 4 w 21"/>
                  <a:gd name="T13" fmla="*/ 0 h 19"/>
                  <a:gd name="T14" fmla="*/ 7 w 21"/>
                  <a:gd name="T15" fmla="*/ 0 h 19"/>
                  <a:gd name="T16" fmla="*/ 8 w 21"/>
                  <a:gd name="T17" fmla="*/ 0 h 19"/>
                  <a:gd name="T18" fmla="*/ 7 w 21"/>
                  <a:gd name="T19" fmla="*/ 0 h 19"/>
                  <a:gd name="T20" fmla="*/ 7 w 21"/>
                  <a:gd name="T21" fmla="*/ 0 h 19"/>
                  <a:gd name="T22" fmla="*/ 6 w 21"/>
                  <a:gd name="T23" fmla="*/ 2 h 19"/>
                  <a:gd name="T24" fmla="*/ 6 w 21"/>
                  <a:gd name="T25" fmla="*/ 7 h 19"/>
                  <a:gd name="T26" fmla="*/ 6 w 21"/>
                  <a:gd name="T27" fmla="*/ 11 h 19"/>
                  <a:gd name="T28" fmla="*/ 8 w 21"/>
                  <a:gd name="T29" fmla="*/ 17 h 19"/>
                  <a:gd name="T30" fmla="*/ 11 w 21"/>
                  <a:gd name="T31" fmla="*/ 18 h 19"/>
                  <a:gd name="T32" fmla="*/ 14 w 21"/>
                  <a:gd name="T33" fmla="*/ 16 h 19"/>
                  <a:gd name="T34" fmla="*/ 16 w 21"/>
                  <a:gd name="T35" fmla="*/ 10 h 19"/>
                  <a:gd name="T36" fmla="*/ 16 w 21"/>
                  <a:gd name="T37" fmla="*/ 7 h 19"/>
                  <a:gd name="T38" fmla="*/ 16 w 21"/>
                  <a:gd name="T39" fmla="*/ 2 h 19"/>
                  <a:gd name="T40" fmla="*/ 15 w 21"/>
                  <a:gd name="T41" fmla="*/ 0 h 19"/>
                  <a:gd name="T42" fmla="*/ 14 w 21"/>
                  <a:gd name="T43" fmla="*/ 0 h 19"/>
                  <a:gd name="T44" fmla="*/ 13 w 21"/>
                  <a:gd name="T45" fmla="*/ 0 h 19"/>
                  <a:gd name="T46" fmla="*/ 14 w 21"/>
                  <a:gd name="T47" fmla="*/ 0 h 19"/>
                  <a:gd name="T48" fmla="*/ 17 w 21"/>
                  <a:gd name="T49" fmla="*/ 0 h 19"/>
                  <a:gd name="T50" fmla="*/ 20 w 21"/>
                  <a:gd name="T51" fmla="*/ 0 h 19"/>
                  <a:gd name="T52" fmla="*/ 21 w 21"/>
                  <a:gd name="T53" fmla="*/ 0 h 19"/>
                  <a:gd name="T54" fmla="*/ 20 w 21"/>
                  <a:gd name="T55" fmla="*/ 0 h 19"/>
                  <a:gd name="T56" fmla="*/ 19 w 21"/>
                  <a:gd name="T57" fmla="*/ 0 h 19"/>
                  <a:gd name="T58" fmla="*/ 18 w 21"/>
                  <a:gd name="T59" fmla="*/ 2 h 19"/>
                  <a:gd name="T60" fmla="*/ 18 w 21"/>
                  <a:gd name="T61" fmla="*/ 7 h 19"/>
                  <a:gd name="T62" fmla="*/ 18 w 21"/>
                  <a:gd name="T63" fmla="*/ 10 h 19"/>
                  <a:gd name="T64" fmla="*/ 16 w 21"/>
                  <a:gd name="T65" fmla="*/ 17 h 19"/>
                  <a:gd name="T66" fmla="*/ 10 w 21"/>
                  <a:gd name="T67" fmla="*/ 19 h 19"/>
                  <a:gd name="T68" fmla="*/ 4 w 21"/>
                  <a:gd name="T69" fmla="*/ 17 h 19"/>
                  <a:gd name="T70" fmla="*/ 2 w 21"/>
                  <a:gd name="T71" fmla="*/ 11 h 19"/>
                  <a:gd name="T72" fmla="*/ 2 w 21"/>
                  <a:gd name="T73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1" h="19">
                    <a:moveTo>
                      <a:pt x="2" y="7"/>
                    </a:moveTo>
                    <a:cubicBezTo>
                      <a:pt x="2" y="3"/>
                      <a:pt x="2" y="3"/>
                      <a:pt x="2" y="2"/>
                    </a:cubicBezTo>
                    <a:cubicBezTo>
                      <a:pt x="2" y="1"/>
                      <a:pt x="2" y="1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3" y="0"/>
                      <a:pt x="4" y="0"/>
                    </a:cubicBezTo>
                    <a:cubicBezTo>
                      <a:pt x="5" y="0"/>
                      <a:pt x="6" y="0"/>
                      <a:pt x="7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0"/>
                      <a:pt x="6" y="1"/>
                      <a:pt x="6" y="2"/>
                    </a:cubicBezTo>
                    <a:cubicBezTo>
                      <a:pt x="6" y="3"/>
                      <a:pt x="6" y="3"/>
                      <a:pt x="6" y="7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4"/>
                      <a:pt x="6" y="16"/>
                      <a:pt x="8" y="17"/>
                    </a:cubicBezTo>
                    <a:cubicBezTo>
                      <a:pt x="9" y="17"/>
                      <a:pt x="10" y="18"/>
                      <a:pt x="11" y="18"/>
                    </a:cubicBezTo>
                    <a:cubicBezTo>
                      <a:pt x="12" y="18"/>
                      <a:pt x="13" y="17"/>
                      <a:pt x="14" y="16"/>
                    </a:cubicBezTo>
                    <a:cubicBezTo>
                      <a:pt x="16" y="15"/>
                      <a:pt x="16" y="13"/>
                      <a:pt x="16" y="10"/>
                    </a:cubicBezTo>
                    <a:cubicBezTo>
                      <a:pt x="16" y="7"/>
                      <a:pt x="16" y="7"/>
                      <a:pt x="16" y="7"/>
                    </a:cubicBezTo>
                    <a:cubicBezTo>
                      <a:pt x="16" y="3"/>
                      <a:pt x="16" y="3"/>
                      <a:pt x="16" y="2"/>
                    </a:cubicBezTo>
                    <a:cubicBezTo>
                      <a:pt x="16" y="1"/>
                      <a:pt x="16" y="1"/>
                      <a:pt x="15" y="0"/>
                    </a:cubicBezTo>
                    <a:cubicBezTo>
                      <a:pt x="15" y="0"/>
                      <a:pt x="14" y="0"/>
                      <a:pt x="14" y="0"/>
                    </a:cubicBezTo>
                    <a:cubicBezTo>
                      <a:pt x="14" y="0"/>
                      <a:pt x="13" y="0"/>
                      <a:pt x="13" y="0"/>
                    </a:cubicBezTo>
                    <a:cubicBezTo>
                      <a:pt x="13" y="0"/>
                      <a:pt x="14" y="0"/>
                      <a:pt x="14" y="0"/>
                    </a:cubicBezTo>
                    <a:cubicBezTo>
                      <a:pt x="15" y="0"/>
                      <a:pt x="17" y="0"/>
                      <a:pt x="17" y="0"/>
                    </a:cubicBezTo>
                    <a:cubicBezTo>
                      <a:pt x="17" y="0"/>
                      <a:pt x="19" y="0"/>
                      <a:pt x="20" y="0"/>
                    </a:cubicBezTo>
                    <a:cubicBezTo>
                      <a:pt x="20" y="0"/>
                      <a:pt x="21" y="0"/>
                      <a:pt x="21" y="0"/>
                    </a:cubicBezTo>
                    <a:cubicBezTo>
                      <a:pt x="21" y="0"/>
                      <a:pt x="20" y="0"/>
                      <a:pt x="20" y="0"/>
                    </a:cubicBezTo>
                    <a:cubicBezTo>
                      <a:pt x="20" y="0"/>
                      <a:pt x="20" y="0"/>
                      <a:pt x="19" y="0"/>
                    </a:cubicBezTo>
                    <a:cubicBezTo>
                      <a:pt x="19" y="0"/>
                      <a:pt x="18" y="1"/>
                      <a:pt x="18" y="2"/>
                    </a:cubicBezTo>
                    <a:cubicBezTo>
                      <a:pt x="18" y="3"/>
                      <a:pt x="18" y="3"/>
                      <a:pt x="18" y="7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18" y="12"/>
                      <a:pt x="18" y="15"/>
                      <a:pt x="16" y="17"/>
                    </a:cubicBezTo>
                    <a:cubicBezTo>
                      <a:pt x="14" y="19"/>
                      <a:pt x="12" y="19"/>
                      <a:pt x="10" y="19"/>
                    </a:cubicBezTo>
                    <a:cubicBezTo>
                      <a:pt x="9" y="19"/>
                      <a:pt x="6" y="19"/>
                      <a:pt x="4" y="17"/>
                    </a:cubicBezTo>
                    <a:cubicBezTo>
                      <a:pt x="3" y="16"/>
                      <a:pt x="2" y="14"/>
                      <a:pt x="2" y="11"/>
                    </a:cubicBezTo>
                    <a:lnTo>
                      <a:pt x="2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" name="Freeform 21"/>
              <p:cNvSpPr>
                <a:spLocks/>
              </p:cNvSpPr>
              <p:nvPr/>
            </p:nvSpPr>
            <p:spPr bwMode="auto">
              <a:xfrm>
                <a:off x="5224470" y="6380181"/>
                <a:ext cx="82550" cy="74613"/>
              </a:xfrm>
              <a:custGeom>
                <a:avLst/>
                <a:gdLst>
                  <a:gd name="T0" fmla="*/ 5 w 22"/>
                  <a:gd name="T1" fmla="*/ 16 h 20"/>
                  <a:gd name="T2" fmla="*/ 6 w 22"/>
                  <a:gd name="T3" fmla="*/ 19 h 20"/>
                  <a:gd name="T4" fmla="*/ 7 w 22"/>
                  <a:gd name="T5" fmla="*/ 19 h 20"/>
                  <a:gd name="T6" fmla="*/ 8 w 22"/>
                  <a:gd name="T7" fmla="*/ 19 h 20"/>
                  <a:gd name="T8" fmla="*/ 7 w 22"/>
                  <a:gd name="T9" fmla="*/ 20 h 20"/>
                  <a:gd name="T10" fmla="*/ 4 w 22"/>
                  <a:gd name="T11" fmla="*/ 20 h 20"/>
                  <a:gd name="T12" fmla="*/ 1 w 22"/>
                  <a:gd name="T13" fmla="*/ 20 h 20"/>
                  <a:gd name="T14" fmla="*/ 0 w 22"/>
                  <a:gd name="T15" fmla="*/ 19 h 20"/>
                  <a:gd name="T16" fmla="*/ 1 w 22"/>
                  <a:gd name="T17" fmla="*/ 19 h 20"/>
                  <a:gd name="T18" fmla="*/ 2 w 22"/>
                  <a:gd name="T19" fmla="*/ 19 h 20"/>
                  <a:gd name="T20" fmla="*/ 3 w 22"/>
                  <a:gd name="T21" fmla="*/ 16 h 20"/>
                  <a:gd name="T22" fmla="*/ 3 w 22"/>
                  <a:gd name="T23" fmla="*/ 1 h 20"/>
                  <a:gd name="T24" fmla="*/ 3 w 22"/>
                  <a:gd name="T25" fmla="*/ 0 h 20"/>
                  <a:gd name="T26" fmla="*/ 4 w 22"/>
                  <a:gd name="T27" fmla="*/ 1 h 20"/>
                  <a:gd name="T28" fmla="*/ 12 w 22"/>
                  <a:gd name="T29" fmla="*/ 9 h 20"/>
                  <a:gd name="T30" fmla="*/ 18 w 22"/>
                  <a:gd name="T31" fmla="*/ 15 h 20"/>
                  <a:gd name="T32" fmla="*/ 18 w 22"/>
                  <a:gd name="T33" fmla="*/ 15 h 20"/>
                  <a:gd name="T34" fmla="*/ 18 w 22"/>
                  <a:gd name="T35" fmla="*/ 4 h 20"/>
                  <a:gd name="T36" fmla="*/ 17 w 22"/>
                  <a:gd name="T37" fmla="*/ 1 h 20"/>
                  <a:gd name="T38" fmla="*/ 16 w 22"/>
                  <a:gd name="T39" fmla="*/ 1 h 20"/>
                  <a:gd name="T40" fmla="*/ 15 w 22"/>
                  <a:gd name="T41" fmla="*/ 1 h 20"/>
                  <a:gd name="T42" fmla="*/ 16 w 22"/>
                  <a:gd name="T43" fmla="*/ 1 h 20"/>
                  <a:gd name="T44" fmla="*/ 19 w 22"/>
                  <a:gd name="T45" fmla="*/ 1 h 20"/>
                  <a:gd name="T46" fmla="*/ 22 w 22"/>
                  <a:gd name="T47" fmla="*/ 1 h 20"/>
                  <a:gd name="T48" fmla="*/ 22 w 22"/>
                  <a:gd name="T49" fmla="*/ 1 h 20"/>
                  <a:gd name="T50" fmla="*/ 22 w 22"/>
                  <a:gd name="T51" fmla="*/ 1 h 20"/>
                  <a:gd name="T52" fmla="*/ 21 w 22"/>
                  <a:gd name="T53" fmla="*/ 1 h 20"/>
                  <a:gd name="T54" fmla="*/ 20 w 22"/>
                  <a:gd name="T55" fmla="*/ 3 h 20"/>
                  <a:gd name="T56" fmla="*/ 20 w 22"/>
                  <a:gd name="T57" fmla="*/ 19 h 20"/>
                  <a:gd name="T58" fmla="*/ 19 w 22"/>
                  <a:gd name="T59" fmla="*/ 20 h 20"/>
                  <a:gd name="T60" fmla="*/ 18 w 22"/>
                  <a:gd name="T61" fmla="*/ 19 h 20"/>
                  <a:gd name="T62" fmla="*/ 11 w 22"/>
                  <a:gd name="T63" fmla="*/ 12 h 20"/>
                  <a:gd name="T64" fmla="*/ 5 w 22"/>
                  <a:gd name="T65" fmla="*/ 6 h 20"/>
                  <a:gd name="T66" fmla="*/ 5 w 22"/>
                  <a:gd name="T67" fmla="*/ 6 h 20"/>
                  <a:gd name="T68" fmla="*/ 5 w 22"/>
                  <a:gd name="T69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2" h="20">
                    <a:moveTo>
                      <a:pt x="5" y="16"/>
                    </a:moveTo>
                    <a:cubicBezTo>
                      <a:pt x="5" y="18"/>
                      <a:pt x="5" y="19"/>
                      <a:pt x="6" y="19"/>
                    </a:cubicBezTo>
                    <a:cubicBezTo>
                      <a:pt x="6" y="19"/>
                      <a:pt x="7" y="19"/>
                      <a:pt x="7" y="19"/>
                    </a:cubicBezTo>
                    <a:cubicBezTo>
                      <a:pt x="7" y="19"/>
                      <a:pt x="8" y="19"/>
                      <a:pt x="8" y="19"/>
                    </a:cubicBezTo>
                    <a:cubicBezTo>
                      <a:pt x="8" y="20"/>
                      <a:pt x="7" y="20"/>
                      <a:pt x="7" y="20"/>
                    </a:cubicBezTo>
                    <a:cubicBezTo>
                      <a:pt x="5" y="20"/>
                      <a:pt x="4" y="20"/>
                      <a:pt x="4" y="20"/>
                    </a:cubicBezTo>
                    <a:cubicBezTo>
                      <a:pt x="3" y="20"/>
                      <a:pt x="2" y="20"/>
                      <a:pt x="1" y="20"/>
                    </a:cubicBezTo>
                    <a:cubicBezTo>
                      <a:pt x="0" y="20"/>
                      <a:pt x="0" y="20"/>
                      <a:pt x="0" y="19"/>
                    </a:cubicBezTo>
                    <a:cubicBezTo>
                      <a:pt x="0" y="19"/>
                      <a:pt x="0" y="19"/>
                      <a:pt x="1" y="19"/>
                    </a:cubicBezTo>
                    <a:cubicBezTo>
                      <a:pt x="1" y="19"/>
                      <a:pt x="1" y="19"/>
                      <a:pt x="2" y="19"/>
                    </a:cubicBezTo>
                    <a:cubicBezTo>
                      <a:pt x="2" y="19"/>
                      <a:pt x="3" y="18"/>
                      <a:pt x="3" y="16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0"/>
                      <a:pt x="3" y="0"/>
                    </a:cubicBezTo>
                    <a:cubicBezTo>
                      <a:pt x="4" y="0"/>
                      <a:pt x="4" y="1"/>
                      <a:pt x="4" y="1"/>
                    </a:cubicBezTo>
                    <a:cubicBezTo>
                      <a:pt x="5" y="1"/>
                      <a:pt x="9" y="5"/>
                      <a:pt x="12" y="9"/>
                    </a:cubicBezTo>
                    <a:cubicBezTo>
                      <a:pt x="14" y="11"/>
                      <a:pt x="18" y="14"/>
                      <a:pt x="18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8" y="2"/>
                      <a:pt x="18" y="2"/>
                      <a:pt x="17" y="1"/>
                    </a:cubicBezTo>
                    <a:cubicBezTo>
                      <a:pt x="17" y="1"/>
                      <a:pt x="16" y="1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6" y="1"/>
                    </a:cubicBezTo>
                    <a:cubicBezTo>
                      <a:pt x="17" y="1"/>
                      <a:pt x="19" y="1"/>
                      <a:pt x="19" y="1"/>
                    </a:cubicBezTo>
                    <a:cubicBezTo>
                      <a:pt x="19" y="1"/>
                      <a:pt x="20" y="1"/>
                      <a:pt x="22" y="1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20" y="2"/>
                      <a:pt x="20" y="2"/>
                      <a:pt x="20" y="3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20" y="20"/>
                      <a:pt x="20" y="20"/>
                      <a:pt x="19" y="20"/>
                    </a:cubicBezTo>
                    <a:cubicBezTo>
                      <a:pt x="19" y="20"/>
                      <a:pt x="19" y="20"/>
                      <a:pt x="18" y="19"/>
                    </a:cubicBezTo>
                    <a:cubicBezTo>
                      <a:pt x="17" y="18"/>
                      <a:pt x="13" y="15"/>
                      <a:pt x="11" y="12"/>
                    </a:cubicBezTo>
                    <a:cubicBezTo>
                      <a:pt x="8" y="10"/>
                      <a:pt x="5" y="7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lnTo>
                      <a:pt x="5" y="1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2" name="Freeform 22"/>
              <p:cNvSpPr>
                <a:spLocks noEditPoints="1"/>
              </p:cNvSpPr>
              <p:nvPr/>
            </p:nvSpPr>
            <p:spPr bwMode="auto">
              <a:xfrm>
                <a:off x="5302258" y="6380181"/>
                <a:ext cx="82550" cy="74613"/>
              </a:xfrm>
              <a:custGeom>
                <a:avLst/>
                <a:gdLst>
                  <a:gd name="T0" fmla="*/ 7 w 22"/>
                  <a:gd name="T1" fmla="*/ 13 h 20"/>
                  <a:gd name="T2" fmla="*/ 7 w 22"/>
                  <a:gd name="T3" fmla="*/ 14 h 20"/>
                  <a:gd name="T4" fmla="*/ 6 w 22"/>
                  <a:gd name="T5" fmla="*/ 17 h 20"/>
                  <a:gd name="T6" fmla="*/ 5 w 22"/>
                  <a:gd name="T7" fmla="*/ 18 h 20"/>
                  <a:gd name="T8" fmla="*/ 6 w 22"/>
                  <a:gd name="T9" fmla="*/ 19 h 20"/>
                  <a:gd name="T10" fmla="*/ 7 w 22"/>
                  <a:gd name="T11" fmla="*/ 19 h 20"/>
                  <a:gd name="T12" fmla="*/ 7 w 22"/>
                  <a:gd name="T13" fmla="*/ 19 h 20"/>
                  <a:gd name="T14" fmla="*/ 7 w 22"/>
                  <a:gd name="T15" fmla="*/ 20 h 20"/>
                  <a:gd name="T16" fmla="*/ 4 w 22"/>
                  <a:gd name="T17" fmla="*/ 20 h 20"/>
                  <a:gd name="T18" fmla="*/ 1 w 22"/>
                  <a:gd name="T19" fmla="*/ 20 h 20"/>
                  <a:gd name="T20" fmla="*/ 0 w 22"/>
                  <a:gd name="T21" fmla="*/ 19 h 20"/>
                  <a:gd name="T22" fmla="*/ 1 w 22"/>
                  <a:gd name="T23" fmla="*/ 19 h 20"/>
                  <a:gd name="T24" fmla="*/ 1 w 22"/>
                  <a:gd name="T25" fmla="*/ 19 h 20"/>
                  <a:gd name="T26" fmla="*/ 4 w 22"/>
                  <a:gd name="T27" fmla="*/ 17 h 20"/>
                  <a:gd name="T28" fmla="*/ 10 w 22"/>
                  <a:gd name="T29" fmla="*/ 1 h 20"/>
                  <a:gd name="T30" fmla="*/ 11 w 22"/>
                  <a:gd name="T31" fmla="*/ 0 h 20"/>
                  <a:gd name="T32" fmla="*/ 12 w 22"/>
                  <a:gd name="T33" fmla="*/ 1 h 20"/>
                  <a:gd name="T34" fmla="*/ 18 w 22"/>
                  <a:gd name="T35" fmla="*/ 16 h 20"/>
                  <a:gd name="T36" fmla="*/ 21 w 22"/>
                  <a:gd name="T37" fmla="*/ 19 h 20"/>
                  <a:gd name="T38" fmla="*/ 22 w 22"/>
                  <a:gd name="T39" fmla="*/ 19 h 20"/>
                  <a:gd name="T40" fmla="*/ 22 w 22"/>
                  <a:gd name="T41" fmla="*/ 19 h 20"/>
                  <a:gd name="T42" fmla="*/ 21 w 22"/>
                  <a:gd name="T43" fmla="*/ 20 h 20"/>
                  <a:gd name="T44" fmla="*/ 16 w 22"/>
                  <a:gd name="T45" fmla="*/ 20 h 20"/>
                  <a:gd name="T46" fmla="*/ 15 w 22"/>
                  <a:gd name="T47" fmla="*/ 19 h 20"/>
                  <a:gd name="T48" fmla="*/ 15 w 22"/>
                  <a:gd name="T49" fmla="*/ 19 h 20"/>
                  <a:gd name="T50" fmla="*/ 16 w 22"/>
                  <a:gd name="T51" fmla="*/ 19 h 20"/>
                  <a:gd name="T52" fmla="*/ 14 w 22"/>
                  <a:gd name="T53" fmla="*/ 14 h 20"/>
                  <a:gd name="T54" fmla="*/ 13 w 22"/>
                  <a:gd name="T55" fmla="*/ 13 h 20"/>
                  <a:gd name="T56" fmla="*/ 7 w 22"/>
                  <a:gd name="T57" fmla="*/ 13 h 20"/>
                  <a:gd name="T58" fmla="*/ 13 w 22"/>
                  <a:gd name="T59" fmla="*/ 12 h 20"/>
                  <a:gd name="T60" fmla="*/ 13 w 22"/>
                  <a:gd name="T61" fmla="*/ 12 h 20"/>
                  <a:gd name="T62" fmla="*/ 11 w 22"/>
                  <a:gd name="T63" fmla="*/ 6 h 20"/>
                  <a:gd name="T64" fmla="*/ 10 w 22"/>
                  <a:gd name="T65" fmla="*/ 5 h 20"/>
                  <a:gd name="T66" fmla="*/ 10 w 22"/>
                  <a:gd name="T67" fmla="*/ 6 h 20"/>
                  <a:gd name="T68" fmla="*/ 8 w 22"/>
                  <a:gd name="T69" fmla="*/ 12 h 20"/>
                  <a:gd name="T70" fmla="*/ 8 w 22"/>
                  <a:gd name="T71" fmla="*/ 12 h 20"/>
                  <a:gd name="T72" fmla="*/ 13 w 22"/>
                  <a:gd name="T73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2" h="20">
                    <a:moveTo>
                      <a:pt x="7" y="13"/>
                    </a:moveTo>
                    <a:cubicBezTo>
                      <a:pt x="7" y="13"/>
                      <a:pt x="7" y="13"/>
                      <a:pt x="7" y="14"/>
                    </a:cubicBezTo>
                    <a:cubicBezTo>
                      <a:pt x="6" y="17"/>
                      <a:pt x="6" y="17"/>
                      <a:pt x="6" y="17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6" y="19"/>
                      <a:pt x="6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7" y="20"/>
                      <a:pt x="7" y="20"/>
                      <a:pt x="7" y="20"/>
                    </a:cubicBezTo>
                    <a:cubicBezTo>
                      <a:pt x="6" y="20"/>
                      <a:pt x="5" y="20"/>
                      <a:pt x="4" y="20"/>
                    </a:cubicBezTo>
                    <a:cubicBezTo>
                      <a:pt x="4" y="20"/>
                      <a:pt x="2" y="20"/>
                      <a:pt x="1" y="20"/>
                    </a:cubicBezTo>
                    <a:cubicBezTo>
                      <a:pt x="1" y="20"/>
                      <a:pt x="0" y="20"/>
                      <a:pt x="0" y="19"/>
                    </a:cubicBezTo>
                    <a:cubicBezTo>
                      <a:pt x="0" y="19"/>
                      <a:pt x="0" y="19"/>
                      <a:pt x="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3" y="19"/>
                      <a:pt x="3" y="18"/>
                      <a:pt x="4" y="17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1" y="1"/>
                      <a:pt x="11" y="0"/>
                      <a:pt x="11" y="0"/>
                    </a:cubicBezTo>
                    <a:cubicBezTo>
                      <a:pt x="11" y="0"/>
                      <a:pt x="12" y="1"/>
                      <a:pt x="12" y="1"/>
                    </a:cubicBezTo>
                    <a:cubicBezTo>
                      <a:pt x="12" y="2"/>
                      <a:pt x="17" y="13"/>
                      <a:pt x="18" y="16"/>
                    </a:cubicBezTo>
                    <a:cubicBezTo>
                      <a:pt x="19" y="19"/>
                      <a:pt x="20" y="19"/>
                      <a:pt x="21" y="19"/>
                    </a:cubicBezTo>
                    <a:cubicBezTo>
                      <a:pt x="21" y="19"/>
                      <a:pt x="21" y="19"/>
                      <a:pt x="22" y="19"/>
                    </a:cubicBezTo>
                    <a:cubicBezTo>
                      <a:pt x="22" y="19"/>
                      <a:pt x="22" y="19"/>
                      <a:pt x="22" y="19"/>
                    </a:cubicBezTo>
                    <a:cubicBezTo>
                      <a:pt x="22" y="20"/>
                      <a:pt x="22" y="20"/>
                      <a:pt x="21" y="20"/>
                    </a:cubicBezTo>
                    <a:cubicBezTo>
                      <a:pt x="20" y="20"/>
                      <a:pt x="18" y="20"/>
                      <a:pt x="16" y="20"/>
                    </a:cubicBezTo>
                    <a:cubicBezTo>
                      <a:pt x="15" y="20"/>
                      <a:pt x="15" y="20"/>
                      <a:pt x="15" y="19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16" y="19"/>
                      <a:pt x="16" y="19"/>
                      <a:pt x="16" y="19"/>
                    </a:cubicBezTo>
                    <a:cubicBezTo>
                      <a:pt x="14" y="14"/>
                      <a:pt x="14" y="14"/>
                      <a:pt x="14" y="14"/>
                    </a:cubicBezTo>
                    <a:cubicBezTo>
                      <a:pt x="14" y="13"/>
                      <a:pt x="14" y="13"/>
                      <a:pt x="13" y="13"/>
                    </a:cubicBezTo>
                    <a:lnTo>
                      <a:pt x="7" y="13"/>
                    </a:lnTo>
                    <a:close/>
                    <a:moveTo>
                      <a:pt x="13" y="12"/>
                    </a:moveTo>
                    <a:cubicBezTo>
                      <a:pt x="13" y="12"/>
                      <a:pt x="13" y="12"/>
                      <a:pt x="13" y="12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2"/>
                      <a:pt x="8" y="12"/>
                      <a:pt x="8" y="12"/>
                    </a:cubicBezTo>
                    <a:lnTo>
                      <a:pt x="13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3" name="Freeform 23"/>
              <p:cNvSpPr>
                <a:spLocks noEditPoints="1"/>
              </p:cNvSpPr>
              <p:nvPr/>
            </p:nvSpPr>
            <p:spPr bwMode="auto">
              <a:xfrm>
                <a:off x="5381633" y="6383356"/>
                <a:ext cx="79375" cy="71438"/>
              </a:xfrm>
              <a:custGeom>
                <a:avLst/>
                <a:gdLst>
                  <a:gd name="T0" fmla="*/ 3 w 21"/>
                  <a:gd name="T1" fmla="*/ 7 h 19"/>
                  <a:gd name="T2" fmla="*/ 3 w 21"/>
                  <a:gd name="T3" fmla="*/ 2 h 19"/>
                  <a:gd name="T4" fmla="*/ 2 w 21"/>
                  <a:gd name="T5" fmla="*/ 0 h 19"/>
                  <a:gd name="T6" fmla="*/ 1 w 21"/>
                  <a:gd name="T7" fmla="*/ 0 h 19"/>
                  <a:gd name="T8" fmla="*/ 0 w 21"/>
                  <a:gd name="T9" fmla="*/ 0 h 19"/>
                  <a:gd name="T10" fmla="*/ 1 w 21"/>
                  <a:gd name="T11" fmla="*/ 0 h 19"/>
                  <a:gd name="T12" fmla="*/ 5 w 21"/>
                  <a:gd name="T13" fmla="*/ 0 h 19"/>
                  <a:gd name="T14" fmla="*/ 9 w 21"/>
                  <a:gd name="T15" fmla="*/ 0 h 19"/>
                  <a:gd name="T16" fmla="*/ 13 w 21"/>
                  <a:gd name="T17" fmla="*/ 1 h 19"/>
                  <a:gd name="T18" fmla="*/ 15 w 21"/>
                  <a:gd name="T19" fmla="*/ 4 h 19"/>
                  <a:gd name="T20" fmla="*/ 12 w 21"/>
                  <a:gd name="T21" fmla="*/ 10 h 19"/>
                  <a:gd name="T22" fmla="*/ 17 w 21"/>
                  <a:gd name="T23" fmla="*/ 16 h 19"/>
                  <a:gd name="T24" fmla="*/ 20 w 21"/>
                  <a:gd name="T25" fmla="*/ 18 h 19"/>
                  <a:gd name="T26" fmla="*/ 21 w 21"/>
                  <a:gd name="T27" fmla="*/ 18 h 19"/>
                  <a:gd name="T28" fmla="*/ 21 w 21"/>
                  <a:gd name="T29" fmla="*/ 18 h 19"/>
                  <a:gd name="T30" fmla="*/ 21 w 21"/>
                  <a:gd name="T31" fmla="*/ 19 h 19"/>
                  <a:gd name="T32" fmla="*/ 18 w 21"/>
                  <a:gd name="T33" fmla="*/ 19 h 19"/>
                  <a:gd name="T34" fmla="*/ 15 w 21"/>
                  <a:gd name="T35" fmla="*/ 18 h 19"/>
                  <a:gd name="T36" fmla="*/ 12 w 21"/>
                  <a:gd name="T37" fmla="*/ 15 h 19"/>
                  <a:gd name="T38" fmla="*/ 9 w 21"/>
                  <a:gd name="T39" fmla="*/ 11 h 19"/>
                  <a:gd name="T40" fmla="*/ 9 w 21"/>
                  <a:gd name="T41" fmla="*/ 11 h 19"/>
                  <a:gd name="T42" fmla="*/ 7 w 21"/>
                  <a:gd name="T43" fmla="*/ 11 h 19"/>
                  <a:gd name="T44" fmla="*/ 6 w 21"/>
                  <a:gd name="T45" fmla="*/ 11 h 19"/>
                  <a:gd name="T46" fmla="*/ 6 w 21"/>
                  <a:gd name="T47" fmla="*/ 11 h 19"/>
                  <a:gd name="T48" fmla="*/ 6 w 21"/>
                  <a:gd name="T49" fmla="*/ 17 h 19"/>
                  <a:gd name="T50" fmla="*/ 7 w 21"/>
                  <a:gd name="T51" fmla="*/ 18 h 19"/>
                  <a:gd name="T52" fmla="*/ 9 w 21"/>
                  <a:gd name="T53" fmla="*/ 18 h 19"/>
                  <a:gd name="T54" fmla="*/ 9 w 21"/>
                  <a:gd name="T55" fmla="*/ 18 h 19"/>
                  <a:gd name="T56" fmla="*/ 9 w 21"/>
                  <a:gd name="T57" fmla="*/ 19 h 19"/>
                  <a:gd name="T58" fmla="*/ 5 w 21"/>
                  <a:gd name="T59" fmla="*/ 19 h 19"/>
                  <a:gd name="T60" fmla="*/ 1 w 21"/>
                  <a:gd name="T61" fmla="*/ 19 h 19"/>
                  <a:gd name="T62" fmla="*/ 1 w 21"/>
                  <a:gd name="T63" fmla="*/ 18 h 19"/>
                  <a:gd name="T64" fmla="*/ 1 w 21"/>
                  <a:gd name="T65" fmla="*/ 18 h 19"/>
                  <a:gd name="T66" fmla="*/ 2 w 21"/>
                  <a:gd name="T67" fmla="*/ 18 h 19"/>
                  <a:gd name="T68" fmla="*/ 3 w 21"/>
                  <a:gd name="T69" fmla="*/ 17 h 19"/>
                  <a:gd name="T70" fmla="*/ 3 w 21"/>
                  <a:gd name="T71" fmla="*/ 11 h 19"/>
                  <a:gd name="T72" fmla="*/ 3 w 21"/>
                  <a:gd name="T73" fmla="*/ 7 h 19"/>
                  <a:gd name="T74" fmla="*/ 6 w 21"/>
                  <a:gd name="T75" fmla="*/ 9 h 19"/>
                  <a:gd name="T76" fmla="*/ 7 w 21"/>
                  <a:gd name="T77" fmla="*/ 9 h 19"/>
                  <a:gd name="T78" fmla="*/ 9 w 21"/>
                  <a:gd name="T79" fmla="*/ 10 h 19"/>
                  <a:gd name="T80" fmla="*/ 10 w 21"/>
                  <a:gd name="T81" fmla="*/ 9 h 19"/>
                  <a:gd name="T82" fmla="*/ 12 w 21"/>
                  <a:gd name="T83" fmla="*/ 6 h 19"/>
                  <a:gd name="T84" fmla="*/ 8 w 21"/>
                  <a:gd name="T85" fmla="*/ 1 h 19"/>
                  <a:gd name="T86" fmla="*/ 7 w 21"/>
                  <a:gd name="T87" fmla="*/ 1 h 19"/>
                  <a:gd name="T88" fmla="*/ 6 w 21"/>
                  <a:gd name="T89" fmla="*/ 2 h 19"/>
                  <a:gd name="T90" fmla="*/ 6 w 21"/>
                  <a:gd name="T91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1" h="19">
                    <a:moveTo>
                      <a:pt x="3" y="7"/>
                    </a:moveTo>
                    <a:cubicBezTo>
                      <a:pt x="3" y="3"/>
                      <a:pt x="3" y="3"/>
                      <a:pt x="3" y="2"/>
                    </a:cubicBezTo>
                    <a:cubicBezTo>
                      <a:pt x="3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5" y="0"/>
                      <a:pt x="8" y="0"/>
                      <a:pt x="9" y="0"/>
                    </a:cubicBezTo>
                    <a:cubicBezTo>
                      <a:pt x="10" y="0"/>
                      <a:pt x="12" y="0"/>
                      <a:pt x="13" y="1"/>
                    </a:cubicBezTo>
                    <a:cubicBezTo>
                      <a:pt x="14" y="1"/>
                      <a:pt x="15" y="3"/>
                      <a:pt x="15" y="4"/>
                    </a:cubicBezTo>
                    <a:cubicBezTo>
                      <a:pt x="15" y="6"/>
                      <a:pt x="14" y="8"/>
                      <a:pt x="12" y="10"/>
                    </a:cubicBezTo>
                    <a:cubicBezTo>
                      <a:pt x="14" y="13"/>
                      <a:pt x="16" y="15"/>
                      <a:pt x="17" y="16"/>
                    </a:cubicBezTo>
                    <a:cubicBezTo>
                      <a:pt x="19" y="18"/>
                      <a:pt x="20" y="18"/>
                      <a:pt x="20" y="18"/>
                    </a:cubicBezTo>
                    <a:cubicBezTo>
                      <a:pt x="20" y="18"/>
                      <a:pt x="21" y="18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7" y="19"/>
                      <a:pt x="16" y="19"/>
                      <a:pt x="15" y="18"/>
                    </a:cubicBezTo>
                    <a:cubicBezTo>
                      <a:pt x="14" y="18"/>
                      <a:pt x="13" y="16"/>
                      <a:pt x="12" y="15"/>
                    </a:cubicBezTo>
                    <a:cubicBezTo>
                      <a:pt x="11" y="13"/>
                      <a:pt x="10" y="11"/>
                      <a:pt x="9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4"/>
                      <a:pt x="6" y="16"/>
                      <a:pt x="6" y="17"/>
                    </a:cubicBezTo>
                    <a:cubicBezTo>
                      <a:pt x="7" y="17"/>
                      <a:pt x="7" y="18"/>
                      <a:pt x="7" y="18"/>
                    </a:cubicBezTo>
                    <a:cubicBezTo>
                      <a:pt x="8" y="18"/>
                      <a:pt x="8" y="18"/>
                      <a:pt x="9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9" y="19"/>
                      <a:pt x="9" y="19"/>
                      <a:pt x="9" y="19"/>
                    </a:cubicBezTo>
                    <a:cubicBezTo>
                      <a:pt x="7" y="19"/>
                      <a:pt x="5" y="19"/>
                      <a:pt x="5" y="19"/>
                    </a:cubicBezTo>
                    <a:cubicBezTo>
                      <a:pt x="4" y="19"/>
                      <a:pt x="2" y="19"/>
                      <a:pt x="1" y="19"/>
                    </a:cubicBezTo>
                    <a:cubicBezTo>
                      <a:pt x="1" y="19"/>
                      <a:pt x="1" y="19"/>
                      <a:pt x="1" y="1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3" y="18"/>
                      <a:pt x="3" y="17"/>
                      <a:pt x="3" y="17"/>
                    </a:cubicBezTo>
                    <a:cubicBezTo>
                      <a:pt x="3" y="16"/>
                      <a:pt x="3" y="14"/>
                      <a:pt x="3" y="11"/>
                    </a:cubicBezTo>
                    <a:lnTo>
                      <a:pt x="3" y="7"/>
                    </a:lnTo>
                    <a:close/>
                    <a:moveTo>
                      <a:pt x="6" y="9"/>
                    </a:moveTo>
                    <a:cubicBezTo>
                      <a:pt x="6" y="9"/>
                      <a:pt x="6" y="9"/>
                      <a:pt x="7" y="9"/>
                    </a:cubicBezTo>
                    <a:cubicBezTo>
                      <a:pt x="7" y="10"/>
                      <a:pt x="8" y="10"/>
                      <a:pt x="9" y="10"/>
                    </a:cubicBezTo>
                    <a:cubicBezTo>
                      <a:pt x="10" y="10"/>
                      <a:pt x="10" y="10"/>
                      <a:pt x="10" y="9"/>
                    </a:cubicBezTo>
                    <a:cubicBezTo>
                      <a:pt x="11" y="9"/>
                      <a:pt x="12" y="8"/>
                      <a:pt x="12" y="6"/>
                    </a:cubicBezTo>
                    <a:cubicBezTo>
                      <a:pt x="12" y="2"/>
                      <a:pt x="10" y="1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1"/>
                      <a:pt x="6" y="1"/>
                      <a:pt x="6" y="2"/>
                    </a:cubicBezTo>
                    <a:lnTo>
                      <a:pt x="6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" name="Freeform 24"/>
              <p:cNvSpPr>
                <a:spLocks/>
              </p:cNvSpPr>
              <p:nvPr/>
            </p:nvSpPr>
            <p:spPr bwMode="auto">
              <a:xfrm>
                <a:off x="5486408" y="6369069"/>
                <a:ext cx="90488" cy="85725"/>
              </a:xfrm>
              <a:custGeom>
                <a:avLst/>
                <a:gdLst>
                  <a:gd name="T0" fmla="*/ 5 w 24"/>
                  <a:gd name="T1" fmla="*/ 19 h 23"/>
                  <a:gd name="T2" fmla="*/ 6 w 24"/>
                  <a:gd name="T3" fmla="*/ 22 h 23"/>
                  <a:gd name="T4" fmla="*/ 7 w 24"/>
                  <a:gd name="T5" fmla="*/ 22 h 23"/>
                  <a:gd name="T6" fmla="*/ 8 w 24"/>
                  <a:gd name="T7" fmla="*/ 22 h 23"/>
                  <a:gd name="T8" fmla="*/ 7 w 24"/>
                  <a:gd name="T9" fmla="*/ 23 h 23"/>
                  <a:gd name="T10" fmla="*/ 3 w 24"/>
                  <a:gd name="T11" fmla="*/ 23 h 23"/>
                  <a:gd name="T12" fmla="*/ 0 w 24"/>
                  <a:gd name="T13" fmla="*/ 23 h 23"/>
                  <a:gd name="T14" fmla="*/ 0 w 24"/>
                  <a:gd name="T15" fmla="*/ 22 h 23"/>
                  <a:gd name="T16" fmla="*/ 0 w 24"/>
                  <a:gd name="T17" fmla="*/ 22 h 23"/>
                  <a:gd name="T18" fmla="*/ 1 w 24"/>
                  <a:gd name="T19" fmla="*/ 22 h 23"/>
                  <a:gd name="T20" fmla="*/ 2 w 24"/>
                  <a:gd name="T21" fmla="*/ 18 h 23"/>
                  <a:gd name="T22" fmla="*/ 3 w 24"/>
                  <a:gd name="T23" fmla="*/ 1 h 23"/>
                  <a:gd name="T24" fmla="*/ 3 w 24"/>
                  <a:gd name="T25" fmla="*/ 0 h 23"/>
                  <a:gd name="T26" fmla="*/ 4 w 24"/>
                  <a:gd name="T27" fmla="*/ 1 h 23"/>
                  <a:gd name="T28" fmla="*/ 13 w 24"/>
                  <a:gd name="T29" fmla="*/ 10 h 23"/>
                  <a:gd name="T30" fmla="*/ 20 w 24"/>
                  <a:gd name="T31" fmla="*/ 17 h 23"/>
                  <a:gd name="T32" fmla="*/ 20 w 24"/>
                  <a:gd name="T33" fmla="*/ 17 h 23"/>
                  <a:gd name="T34" fmla="*/ 20 w 24"/>
                  <a:gd name="T35" fmla="*/ 4 h 23"/>
                  <a:gd name="T36" fmla="*/ 19 w 24"/>
                  <a:gd name="T37" fmla="*/ 1 h 23"/>
                  <a:gd name="T38" fmla="*/ 17 w 24"/>
                  <a:gd name="T39" fmla="*/ 1 h 23"/>
                  <a:gd name="T40" fmla="*/ 17 w 24"/>
                  <a:gd name="T41" fmla="*/ 1 h 23"/>
                  <a:gd name="T42" fmla="*/ 17 w 24"/>
                  <a:gd name="T43" fmla="*/ 0 h 23"/>
                  <a:gd name="T44" fmla="*/ 21 w 24"/>
                  <a:gd name="T45" fmla="*/ 1 h 23"/>
                  <a:gd name="T46" fmla="*/ 24 w 24"/>
                  <a:gd name="T47" fmla="*/ 0 h 23"/>
                  <a:gd name="T48" fmla="*/ 24 w 24"/>
                  <a:gd name="T49" fmla="*/ 1 h 23"/>
                  <a:gd name="T50" fmla="*/ 24 w 24"/>
                  <a:gd name="T51" fmla="*/ 1 h 23"/>
                  <a:gd name="T52" fmla="*/ 23 w 24"/>
                  <a:gd name="T53" fmla="*/ 1 h 23"/>
                  <a:gd name="T54" fmla="*/ 22 w 24"/>
                  <a:gd name="T55" fmla="*/ 4 h 23"/>
                  <a:gd name="T56" fmla="*/ 22 w 24"/>
                  <a:gd name="T57" fmla="*/ 22 h 23"/>
                  <a:gd name="T58" fmla="*/ 21 w 24"/>
                  <a:gd name="T59" fmla="*/ 23 h 23"/>
                  <a:gd name="T60" fmla="*/ 20 w 24"/>
                  <a:gd name="T61" fmla="*/ 22 h 23"/>
                  <a:gd name="T62" fmla="*/ 12 w 24"/>
                  <a:gd name="T63" fmla="*/ 14 h 23"/>
                  <a:gd name="T64" fmla="*/ 5 w 24"/>
                  <a:gd name="T65" fmla="*/ 6 h 23"/>
                  <a:gd name="T66" fmla="*/ 4 w 24"/>
                  <a:gd name="T67" fmla="*/ 6 h 23"/>
                  <a:gd name="T68" fmla="*/ 5 w 24"/>
                  <a:gd name="T69" fmla="*/ 1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" h="23">
                    <a:moveTo>
                      <a:pt x="5" y="19"/>
                    </a:moveTo>
                    <a:cubicBezTo>
                      <a:pt x="5" y="21"/>
                      <a:pt x="5" y="22"/>
                      <a:pt x="6" y="22"/>
                    </a:cubicBezTo>
                    <a:cubicBezTo>
                      <a:pt x="6" y="22"/>
                      <a:pt x="7" y="22"/>
                      <a:pt x="7" y="22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8" y="23"/>
                      <a:pt x="8" y="23"/>
                      <a:pt x="7" y="23"/>
                    </a:cubicBezTo>
                    <a:cubicBezTo>
                      <a:pt x="5" y="23"/>
                      <a:pt x="4" y="23"/>
                      <a:pt x="3" y="23"/>
                    </a:cubicBezTo>
                    <a:cubicBezTo>
                      <a:pt x="3" y="23"/>
                      <a:pt x="2" y="23"/>
                      <a:pt x="0" y="23"/>
                    </a:cubicBezTo>
                    <a:cubicBezTo>
                      <a:pt x="0" y="23"/>
                      <a:pt x="0" y="23"/>
                      <a:pt x="0" y="22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1" y="22"/>
                      <a:pt x="1" y="22"/>
                      <a:pt x="1" y="22"/>
                    </a:cubicBezTo>
                    <a:cubicBezTo>
                      <a:pt x="2" y="22"/>
                      <a:pt x="2" y="21"/>
                      <a:pt x="2" y="18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3" y="0"/>
                      <a:pt x="4" y="0"/>
                      <a:pt x="4" y="1"/>
                    </a:cubicBezTo>
                    <a:cubicBezTo>
                      <a:pt x="4" y="1"/>
                      <a:pt x="9" y="6"/>
                      <a:pt x="13" y="10"/>
                    </a:cubicBezTo>
                    <a:cubicBezTo>
                      <a:pt x="15" y="12"/>
                      <a:pt x="19" y="17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4"/>
                      <a:pt x="20" y="4"/>
                      <a:pt x="20" y="4"/>
                    </a:cubicBezTo>
                    <a:cubicBezTo>
                      <a:pt x="19" y="2"/>
                      <a:pt x="19" y="1"/>
                      <a:pt x="19" y="1"/>
                    </a:cubicBezTo>
                    <a:cubicBezTo>
                      <a:pt x="18" y="1"/>
                      <a:pt x="17" y="1"/>
                      <a:pt x="17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9" y="0"/>
                      <a:pt x="20" y="1"/>
                      <a:pt x="21" y="1"/>
                    </a:cubicBezTo>
                    <a:cubicBezTo>
                      <a:pt x="21" y="1"/>
                      <a:pt x="22" y="0"/>
                      <a:pt x="24" y="0"/>
                    </a:cubicBezTo>
                    <a:cubicBezTo>
                      <a:pt x="24" y="0"/>
                      <a:pt x="24" y="0"/>
                      <a:pt x="24" y="1"/>
                    </a:cubicBezTo>
                    <a:cubicBezTo>
                      <a:pt x="24" y="1"/>
                      <a:pt x="24" y="1"/>
                      <a:pt x="24" y="1"/>
                    </a:cubicBezTo>
                    <a:cubicBezTo>
                      <a:pt x="24" y="1"/>
                      <a:pt x="23" y="1"/>
                      <a:pt x="23" y="1"/>
                    </a:cubicBezTo>
                    <a:cubicBezTo>
                      <a:pt x="22" y="1"/>
                      <a:pt x="22" y="2"/>
                      <a:pt x="22" y="4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23"/>
                      <a:pt x="21" y="23"/>
                      <a:pt x="21" y="23"/>
                    </a:cubicBezTo>
                    <a:cubicBezTo>
                      <a:pt x="21" y="23"/>
                      <a:pt x="21" y="23"/>
                      <a:pt x="20" y="22"/>
                    </a:cubicBezTo>
                    <a:cubicBezTo>
                      <a:pt x="18" y="21"/>
                      <a:pt x="15" y="17"/>
                      <a:pt x="12" y="14"/>
                    </a:cubicBezTo>
                    <a:cubicBezTo>
                      <a:pt x="8" y="11"/>
                      <a:pt x="5" y="7"/>
                      <a:pt x="5" y="6"/>
                    </a:cubicBezTo>
                    <a:cubicBezTo>
                      <a:pt x="4" y="6"/>
                      <a:pt x="4" y="6"/>
                      <a:pt x="4" y="6"/>
                    </a:cubicBezTo>
                    <a:lnTo>
                      <a:pt x="5" y="1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5" name="Freeform 25"/>
              <p:cNvSpPr>
                <a:spLocks/>
              </p:cNvSpPr>
              <p:nvPr/>
            </p:nvSpPr>
            <p:spPr bwMode="auto">
              <a:xfrm>
                <a:off x="5584833" y="6383356"/>
                <a:ext cx="52388" cy="71438"/>
              </a:xfrm>
              <a:custGeom>
                <a:avLst/>
                <a:gdLst>
                  <a:gd name="T0" fmla="*/ 3 w 14"/>
                  <a:gd name="T1" fmla="*/ 7 h 19"/>
                  <a:gd name="T2" fmla="*/ 3 w 14"/>
                  <a:gd name="T3" fmla="*/ 2 h 19"/>
                  <a:gd name="T4" fmla="*/ 2 w 14"/>
                  <a:gd name="T5" fmla="*/ 0 h 19"/>
                  <a:gd name="T6" fmla="*/ 1 w 14"/>
                  <a:gd name="T7" fmla="*/ 0 h 19"/>
                  <a:gd name="T8" fmla="*/ 0 w 14"/>
                  <a:gd name="T9" fmla="*/ 0 h 19"/>
                  <a:gd name="T10" fmla="*/ 1 w 14"/>
                  <a:gd name="T11" fmla="*/ 0 h 19"/>
                  <a:gd name="T12" fmla="*/ 5 w 14"/>
                  <a:gd name="T13" fmla="*/ 0 h 19"/>
                  <a:gd name="T14" fmla="*/ 12 w 14"/>
                  <a:gd name="T15" fmla="*/ 0 h 19"/>
                  <a:gd name="T16" fmla="*/ 13 w 14"/>
                  <a:gd name="T17" fmla="*/ 0 h 19"/>
                  <a:gd name="T18" fmla="*/ 13 w 14"/>
                  <a:gd name="T19" fmla="*/ 0 h 19"/>
                  <a:gd name="T20" fmla="*/ 13 w 14"/>
                  <a:gd name="T21" fmla="*/ 0 h 19"/>
                  <a:gd name="T22" fmla="*/ 13 w 14"/>
                  <a:gd name="T23" fmla="*/ 1 h 19"/>
                  <a:gd name="T24" fmla="*/ 13 w 14"/>
                  <a:gd name="T25" fmla="*/ 3 h 19"/>
                  <a:gd name="T26" fmla="*/ 13 w 14"/>
                  <a:gd name="T27" fmla="*/ 3 h 19"/>
                  <a:gd name="T28" fmla="*/ 13 w 14"/>
                  <a:gd name="T29" fmla="*/ 3 h 19"/>
                  <a:gd name="T30" fmla="*/ 12 w 14"/>
                  <a:gd name="T31" fmla="*/ 2 h 19"/>
                  <a:gd name="T32" fmla="*/ 11 w 14"/>
                  <a:gd name="T33" fmla="*/ 1 h 19"/>
                  <a:gd name="T34" fmla="*/ 7 w 14"/>
                  <a:gd name="T35" fmla="*/ 1 h 19"/>
                  <a:gd name="T36" fmla="*/ 6 w 14"/>
                  <a:gd name="T37" fmla="*/ 1 h 19"/>
                  <a:gd name="T38" fmla="*/ 6 w 14"/>
                  <a:gd name="T39" fmla="*/ 8 h 19"/>
                  <a:gd name="T40" fmla="*/ 7 w 14"/>
                  <a:gd name="T41" fmla="*/ 8 h 19"/>
                  <a:gd name="T42" fmla="*/ 11 w 14"/>
                  <a:gd name="T43" fmla="*/ 8 h 19"/>
                  <a:gd name="T44" fmla="*/ 12 w 14"/>
                  <a:gd name="T45" fmla="*/ 7 h 19"/>
                  <a:gd name="T46" fmla="*/ 13 w 14"/>
                  <a:gd name="T47" fmla="*/ 7 h 19"/>
                  <a:gd name="T48" fmla="*/ 13 w 14"/>
                  <a:gd name="T49" fmla="*/ 7 h 19"/>
                  <a:gd name="T50" fmla="*/ 13 w 14"/>
                  <a:gd name="T51" fmla="*/ 9 h 19"/>
                  <a:gd name="T52" fmla="*/ 13 w 14"/>
                  <a:gd name="T53" fmla="*/ 11 h 19"/>
                  <a:gd name="T54" fmla="*/ 12 w 14"/>
                  <a:gd name="T55" fmla="*/ 11 h 19"/>
                  <a:gd name="T56" fmla="*/ 12 w 14"/>
                  <a:gd name="T57" fmla="*/ 11 h 19"/>
                  <a:gd name="T58" fmla="*/ 12 w 14"/>
                  <a:gd name="T59" fmla="*/ 10 h 19"/>
                  <a:gd name="T60" fmla="*/ 11 w 14"/>
                  <a:gd name="T61" fmla="*/ 9 h 19"/>
                  <a:gd name="T62" fmla="*/ 7 w 14"/>
                  <a:gd name="T63" fmla="*/ 9 h 19"/>
                  <a:gd name="T64" fmla="*/ 6 w 14"/>
                  <a:gd name="T65" fmla="*/ 10 h 19"/>
                  <a:gd name="T66" fmla="*/ 6 w 14"/>
                  <a:gd name="T67" fmla="*/ 12 h 19"/>
                  <a:gd name="T68" fmla="*/ 6 w 14"/>
                  <a:gd name="T69" fmla="*/ 15 h 19"/>
                  <a:gd name="T70" fmla="*/ 10 w 14"/>
                  <a:gd name="T71" fmla="*/ 17 h 19"/>
                  <a:gd name="T72" fmla="*/ 12 w 14"/>
                  <a:gd name="T73" fmla="*/ 17 h 19"/>
                  <a:gd name="T74" fmla="*/ 14 w 14"/>
                  <a:gd name="T75" fmla="*/ 15 h 19"/>
                  <a:gd name="T76" fmla="*/ 14 w 14"/>
                  <a:gd name="T77" fmla="*/ 15 h 19"/>
                  <a:gd name="T78" fmla="*/ 14 w 14"/>
                  <a:gd name="T79" fmla="*/ 15 h 19"/>
                  <a:gd name="T80" fmla="*/ 14 w 14"/>
                  <a:gd name="T81" fmla="*/ 18 h 19"/>
                  <a:gd name="T82" fmla="*/ 12 w 14"/>
                  <a:gd name="T83" fmla="*/ 19 h 19"/>
                  <a:gd name="T84" fmla="*/ 8 w 14"/>
                  <a:gd name="T85" fmla="*/ 19 h 19"/>
                  <a:gd name="T86" fmla="*/ 5 w 14"/>
                  <a:gd name="T87" fmla="*/ 19 h 19"/>
                  <a:gd name="T88" fmla="*/ 3 w 14"/>
                  <a:gd name="T89" fmla="*/ 19 h 19"/>
                  <a:gd name="T90" fmla="*/ 1 w 14"/>
                  <a:gd name="T91" fmla="*/ 19 h 19"/>
                  <a:gd name="T92" fmla="*/ 1 w 14"/>
                  <a:gd name="T93" fmla="*/ 18 h 19"/>
                  <a:gd name="T94" fmla="*/ 1 w 14"/>
                  <a:gd name="T95" fmla="*/ 18 h 19"/>
                  <a:gd name="T96" fmla="*/ 2 w 14"/>
                  <a:gd name="T97" fmla="*/ 18 h 19"/>
                  <a:gd name="T98" fmla="*/ 3 w 14"/>
                  <a:gd name="T99" fmla="*/ 17 h 19"/>
                  <a:gd name="T100" fmla="*/ 3 w 14"/>
                  <a:gd name="T101" fmla="*/ 11 h 19"/>
                  <a:gd name="T102" fmla="*/ 3 w 14"/>
                  <a:gd name="T103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" h="19">
                    <a:moveTo>
                      <a:pt x="3" y="7"/>
                    </a:moveTo>
                    <a:cubicBezTo>
                      <a:pt x="3" y="3"/>
                      <a:pt x="3" y="3"/>
                      <a:pt x="3" y="2"/>
                    </a:cubicBezTo>
                    <a:cubicBezTo>
                      <a:pt x="3" y="1"/>
                      <a:pt x="3" y="1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6" y="0"/>
                      <a:pt x="11" y="0"/>
                      <a:pt x="12" y="0"/>
                    </a:cubicBezTo>
                    <a:cubicBezTo>
                      <a:pt x="12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1"/>
                    </a:cubicBezTo>
                    <a:cubicBezTo>
                      <a:pt x="13" y="2"/>
                      <a:pt x="13" y="3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3"/>
                      <a:pt x="13" y="3"/>
                    </a:cubicBezTo>
                    <a:cubicBezTo>
                      <a:pt x="13" y="3"/>
                      <a:pt x="13" y="3"/>
                      <a:pt x="12" y="2"/>
                    </a:cubicBezTo>
                    <a:cubicBezTo>
                      <a:pt x="12" y="2"/>
                      <a:pt x="12" y="1"/>
                      <a:pt x="11" y="1"/>
                    </a:cubicBezTo>
                    <a:cubicBezTo>
                      <a:pt x="10" y="1"/>
                      <a:pt x="7" y="1"/>
                      <a:pt x="7" y="1"/>
                    </a:cubicBezTo>
                    <a:cubicBezTo>
                      <a:pt x="7" y="1"/>
                      <a:pt x="6" y="1"/>
                      <a:pt x="6" y="1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7" y="8"/>
                      <a:pt x="7" y="8"/>
                    </a:cubicBezTo>
                    <a:cubicBezTo>
                      <a:pt x="7" y="8"/>
                      <a:pt x="11" y="8"/>
                      <a:pt x="11" y="8"/>
                    </a:cubicBezTo>
                    <a:cubicBezTo>
                      <a:pt x="12" y="8"/>
                      <a:pt x="12" y="8"/>
                      <a:pt x="12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8"/>
                      <a:pt x="13" y="8"/>
                      <a:pt x="13" y="9"/>
                    </a:cubicBezTo>
                    <a:cubicBezTo>
                      <a:pt x="13" y="10"/>
                      <a:pt x="13" y="11"/>
                      <a:pt x="13" y="11"/>
                    </a:cubicBezTo>
                    <a:cubicBezTo>
                      <a:pt x="13" y="11"/>
                      <a:pt x="13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0"/>
                    </a:cubicBezTo>
                    <a:cubicBezTo>
                      <a:pt x="12" y="10"/>
                      <a:pt x="12" y="9"/>
                      <a:pt x="11" y="9"/>
                    </a:cubicBezTo>
                    <a:cubicBezTo>
                      <a:pt x="10" y="9"/>
                      <a:pt x="7" y="9"/>
                      <a:pt x="7" y="9"/>
                    </a:cubicBezTo>
                    <a:cubicBezTo>
                      <a:pt x="7" y="9"/>
                      <a:pt x="6" y="9"/>
                      <a:pt x="6" y="10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4"/>
                      <a:pt x="6" y="15"/>
                    </a:cubicBezTo>
                    <a:cubicBezTo>
                      <a:pt x="7" y="17"/>
                      <a:pt x="7" y="17"/>
                      <a:pt x="10" y="17"/>
                    </a:cubicBezTo>
                    <a:cubicBezTo>
                      <a:pt x="11" y="17"/>
                      <a:pt x="12" y="17"/>
                      <a:pt x="12" y="17"/>
                    </a:cubicBezTo>
                    <a:cubicBezTo>
                      <a:pt x="13" y="17"/>
                      <a:pt x="13" y="16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6"/>
                      <a:pt x="14" y="18"/>
                      <a:pt x="14" y="18"/>
                    </a:cubicBezTo>
                    <a:cubicBezTo>
                      <a:pt x="14" y="19"/>
                      <a:pt x="13" y="19"/>
                      <a:pt x="12" y="19"/>
                    </a:cubicBezTo>
                    <a:cubicBezTo>
                      <a:pt x="10" y="19"/>
                      <a:pt x="9" y="19"/>
                      <a:pt x="8" y="19"/>
                    </a:cubicBezTo>
                    <a:cubicBezTo>
                      <a:pt x="6" y="19"/>
                      <a:pt x="5" y="19"/>
                      <a:pt x="5" y="19"/>
                    </a:cubicBezTo>
                    <a:cubicBezTo>
                      <a:pt x="4" y="19"/>
                      <a:pt x="4" y="19"/>
                      <a:pt x="3" y="19"/>
                    </a:cubicBezTo>
                    <a:cubicBezTo>
                      <a:pt x="2" y="19"/>
                      <a:pt x="2" y="19"/>
                      <a:pt x="1" y="19"/>
                    </a:cubicBezTo>
                    <a:cubicBezTo>
                      <a:pt x="1" y="19"/>
                      <a:pt x="1" y="19"/>
                      <a:pt x="1" y="18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3" y="18"/>
                      <a:pt x="3" y="17"/>
                      <a:pt x="3" y="17"/>
                    </a:cubicBezTo>
                    <a:cubicBezTo>
                      <a:pt x="3" y="16"/>
                      <a:pt x="3" y="14"/>
                      <a:pt x="3" y="11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6" name="Freeform 26"/>
              <p:cNvSpPr>
                <a:spLocks/>
              </p:cNvSpPr>
              <p:nvPr/>
            </p:nvSpPr>
            <p:spPr bwMode="auto">
              <a:xfrm>
                <a:off x="5640395" y="6383356"/>
                <a:ext cx="109538" cy="71438"/>
              </a:xfrm>
              <a:custGeom>
                <a:avLst/>
                <a:gdLst>
                  <a:gd name="T0" fmla="*/ 2 w 29"/>
                  <a:gd name="T1" fmla="*/ 2 h 19"/>
                  <a:gd name="T2" fmla="*/ 1 w 29"/>
                  <a:gd name="T3" fmla="*/ 0 h 19"/>
                  <a:gd name="T4" fmla="*/ 0 w 29"/>
                  <a:gd name="T5" fmla="*/ 0 h 19"/>
                  <a:gd name="T6" fmla="*/ 0 w 29"/>
                  <a:gd name="T7" fmla="*/ 0 h 19"/>
                  <a:gd name="T8" fmla="*/ 0 w 29"/>
                  <a:gd name="T9" fmla="*/ 0 h 19"/>
                  <a:gd name="T10" fmla="*/ 3 w 29"/>
                  <a:gd name="T11" fmla="*/ 0 h 19"/>
                  <a:gd name="T12" fmla="*/ 6 w 29"/>
                  <a:gd name="T13" fmla="*/ 0 h 19"/>
                  <a:gd name="T14" fmla="*/ 7 w 29"/>
                  <a:gd name="T15" fmla="*/ 0 h 19"/>
                  <a:gd name="T16" fmla="*/ 6 w 29"/>
                  <a:gd name="T17" fmla="*/ 0 h 19"/>
                  <a:gd name="T18" fmla="*/ 6 w 29"/>
                  <a:gd name="T19" fmla="*/ 0 h 19"/>
                  <a:gd name="T20" fmla="*/ 5 w 29"/>
                  <a:gd name="T21" fmla="*/ 1 h 19"/>
                  <a:gd name="T22" fmla="*/ 6 w 29"/>
                  <a:gd name="T23" fmla="*/ 3 h 19"/>
                  <a:gd name="T24" fmla="*/ 9 w 29"/>
                  <a:gd name="T25" fmla="*/ 14 h 19"/>
                  <a:gd name="T26" fmla="*/ 9 w 29"/>
                  <a:gd name="T27" fmla="*/ 14 h 19"/>
                  <a:gd name="T28" fmla="*/ 14 w 29"/>
                  <a:gd name="T29" fmla="*/ 1 h 19"/>
                  <a:gd name="T30" fmla="*/ 15 w 29"/>
                  <a:gd name="T31" fmla="*/ 0 h 19"/>
                  <a:gd name="T32" fmla="*/ 16 w 29"/>
                  <a:gd name="T33" fmla="*/ 1 h 19"/>
                  <a:gd name="T34" fmla="*/ 21 w 29"/>
                  <a:gd name="T35" fmla="*/ 13 h 19"/>
                  <a:gd name="T36" fmla="*/ 21 w 29"/>
                  <a:gd name="T37" fmla="*/ 13 h 19"/>
                  <a:gd name="T38" fmla="*/ 24 w 29"/>
                  <a:gd name="T39" fmla="*/ 2 h 19"/>
                  <a:gd name="T40" fmla="*/ 25 w 29"/>
                  <a:gd name="T41" fmla="*/ 1 h 19"/>
                  <a:gd name="T42" fmla="*/ 23 w 29"/>
                  <a:gd name="T43" fmla="*/ 0 h 19"/>
                  <a:gd name="T44" fmla="*/ 23 w 29"/>
                  <a:gd name="T45" fmla="*/ 0 h 19"/>
                  <a:gd name="T46" fmla="*/ 23 w 29"/>
                  <a:gd name="T47" fmla="*/ 0 h 19"/>
                  <a:gd name="T48" fmla="*/ 26 w 29"/>
                  <a:gd name="T49" fmla="*/ 0 h 19"/>
                  <a:gd name="T50" fmla="*/ 28 w 29"/>
                  <a:gd name="T51" fmla="*/ 0 h 19"/>
                  <a:gd name="T52" fmla="*/ 29 w 29"/>
                  <a:gd name="T53" fmla="*/ 0 h 19"/>
                  <a:gd name="T54" fmla="*/ 28 w 29"/>
                  <a:gd name="T55" fmla="*/ 0 h 19"/>
                  <a:gd name="T56" fmla="*/ 28 w 29"/>
                  <a:gd name="T57" fmla="*/ 0 h 19"/>
                  <a:gd name="T58" fmla="*/ 26 w 29"/>
                  <a:gd name="T59" fmla="*/ 3 h 19"/>
                  <a:gd name="T60" fmla="*/ 21 w 29"/>
                  <a:gd name="T61" fmla="*/ 18 h 19"/>
                  <a:gd name="T62" fmla="*/ 20 w 29"/>
                  <a:gd name="T63" fmla="*/ 19 h 19"/>
                  <a:gd name="T64" fmla="*/ 19 w 29"/>
                  <a:gd name="T65" fmla="*/ 18 h 19"/>
                  <a:gd name="T66" fmla="*/ 14 w 29"/>
                  <a:gd name="T67" fmla="*/ 5 h 19"/>
                  <a:gd name="T68" fmla="*/ 14 w 29"/>
                  <a:gd name="T69" fmla="*/ 5 h 19"/>
                  <a:gd name="T70" fmla="*/ 9 w 29"/>
                  <a:gd name="T71" fmla="*/ 18 h 19"/>
                  <a:gd name="T72" fmla="*/ 8 w 29"/>
                  <a:gd name="T73" fmla="*/ 19 h 19"/>
                  <a:gd name="T74" fmla="*/ 7 w 29"/>
                  <a:gd name="T75" fmla="*/ 18 h 19"/>
                  <a:gd name="T76" fmla="*/ 2 w 29"/>
                  <a:gd name="T77" fmla="*/ 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9" h="19">
                    <a:moveTo>
                      <a:pt x="2" y="2"/>
                    </a:moveTo>
                    <a:cubicBezTo>
                      <a:pt x="2" y="1"/>
                      <a:pt x="1" y="1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3" y="0"/>
                      <a:pt x="3" y="0"/>
                    </a:cubicBezTo>
                    <a:cubicBezTo>
                      <a:pt x="3" y="0"/>
                      <a:pt x="5" y="0"/>
                      <a:pt x="6" y="0"/>
                    </a:cubicBezTo>
                    <a:cubicBezTo>
                      <a:pt x="6" y="0"/>
                      <a:pt x="7" y="0"/>
                      <a:pt x="7" y="0"/>
                    </a:cubicBezTo>
                    <a:cubicBezTo>
                      <a:pt x="7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5" y="1"/>
                      <a:pt x="5" y="2"/>
                      <a:pt x="6" y="3"/>
                    </a:cubicBezTo>
                    <a:cubicBezTo>
                      <a:pt x="6" y="5"/>
                      <a:pt x="9" y="12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0"/>
                      <a:pt x="15" y="0"/>
                      <a:pt x="15" y="0"/>
                    </a:cubicBezTo>
                    <a:cubicBezTo>
                      <a:pt x="15" y="0"/>
                      <a:pt x="15" y="0"/>
                      <a:pt x="16" y="1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1" y="12"/>
                      <a:pt x="23" y="5"/>
                      <a:pt x="24" y="2"/>
                    </a:cubicBezTo>
                    <a:cubicBezTo>
                      <a:pt x="24" y="2"/>
                      <a:pt x="25" y="1"/>
                      <a:pt x="25" y="1"/>
                    </a:cubicBezTo>
                    <a:cubicBezTo>
                      <a:pt x="25" y="1"/>
                      <a:pt x="24" y="0"/>
                      <a:pt x="2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5" y="0"/>
                      <a:pt x="26" y="0"/>
                      <a:pt x="26" y="0"/>
                    </a:cubicBezTo>
                    <a:cubicBezTo>
                      <a:pt x="26" y="0"/>
                      <a:pt x="28" y="0"/>
                      <a:pt x="28" y="0"/>
                    </a:cubicBezTo>
                    <a:cubicBezTo>
                      <a:pt x="29" y="0"/>
                      <a:pt x="29" y="0"/>
                      <a:pt x="29" y="0"/>
                    </a:cubicBezTo>
                    <a:cubicBezTo>
                      <a:pt x="29" y="0"/>
                      <a:pt x="29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7" y="1"/>
                      <a:pt x="27" y="2"/>
                      <a:pt x="26" y="3"/>
                    </a:cubicBezTo>
                    <a:cubicBezTo>
                      <a:pt x="25" y="6"/>
                      <a:pt x="22" y="14"/>
                      <a:pt x="21" y="18"/>
                    </a:cubicBezTo>
                    <a:cubicBezTo>
                      <a:pt x="21" y="19"/>
                      <a:pt x="21" y="19"/>
                      <a:pt x="20" y="19"/>
                    </a:cubicBezTo>
                    <a:cubicBezTo>
                      <a:pt x="20" y="19"/>
                      <a:pt x="20" y="19"/>
                      <a:pt x="19" y="18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4" y="7"/>
                      <a:pt x="10" y="15"/>
                      <a:pt x="9" y="18"/>
                    </a:cubicBezTo>
                    <a:cubicBezTo>
                      <a:pt x="9" y="19"/>
                      <a:pt x="8" y="19"/>
                      <a:pt x="8" y="19"/>
                    </a:cubicBezTo>
                    <a:cubicBezTo>
                      <a:pt x="8" y="19"/>
                      <a:pt x="8" y="19"/>
                      <a:pt x="7" y="18"/>
                    </a:cubicBez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" name="Freeform 27"/>
              <p:cNvSpPr>
                <a:spLocks/>
              </p:cNvSpPr>
              <p:nvPr/>
            </p:nvSpPr>
            <p:spPr bwMode="auto">
              <a:xfrm>
                <a:off x="5768983" y="6369069"/>
                <a:ext cx="85725" cy="85725"/>
              </a:xfrm>
              <a:custGeom>
                <a:avLst/>
                <a:gdLst>
                  <a:gd name="T0" fmla="*/ 9 w 23"/>
                  <a:gd name="T1" fmla="*/ 15 h 23"/>
                  <a:gd name="T2" fmla="*/ 9 w 23"/>
                  <a:gd name="T3" fmla="*/ 12 h 23"/>
                  <a:gd name="T4" fmla="*/ 4 w 23"/>
                  <a:gd name="T5" fmla="*/ 4 h 23"/>
                  <a:gd name="T6" fmla="*/ 2 w 23"/>
                  <a:gd name="T7" fmla="*/ 1 h 23"/>
                  <a:gd name="T8" fmla="*/ 0 w 23"/>
                  <a:gd name="T9" fmla="*/ 1 h 23"/>
                  <a:gd name="T10" fmla="*/ 0 w 23"/>
                  <a:gd name="T11" fmla="*/ 1 h 23"/>
                  <a:gd name="T12" fmla="*/ 0 w 23"/>
                  <a:gd name="T13" fmla="*/ 0 h 23"/>
                  <a:gd name="T14" fmla="*/ 4 w 23"/>
                  <a:gd name="T15" fmla="*/ 1 h 23"/>
                  <a:gd name="T16" fmla="*/ 7 w 23"/>
                  <a:gd name="T17" fmla="*/ 0 h 23"/>
                  <a:gd name="T18" fmla="*/ 8 w 23"/>
                  <a:gd name="T19" fmla="*/ 1 h 23"/>
                  <a:gd name="T20" fmla="*/ 7 w 23"/>
                  <a:gd name="T21" fmla="*/ 1 h 23"/>
                  <a:gd name="T22" fmla="*/ 7 w 23"/>
                  <a:gd name="T23" fmla="*/ 2 h 23"/>
                  <a:gd name="T24" fmla="*/ 7 w 23"/>
                  <a:gd name="T25" fmla="*/ 3 h 23"/>
                  <a:gd name="T26" fmla="*/ 12 w 23"/>
                  <a:gd name="T27" fmla="*/ 11 h 23"/>
                  <a:gd name="T28" fmla="*/ 16 w 23"/>
                  <a:gd name="T29" fmla="*/ 3 h 23"/>
                  <a:gd name="T30" fmla="*/ 17 w 23"/>
                  <a:gd name="T31" fmla="*/ 2 h 23"/>
                  <a:gd name="T32" fmla="*/ 16 w 23"/>
                  <a:gd name="T33" fmla="*/ 1 h 23"/>
                  <a:gd name="T34" fmla="*/ 16 w 23"/>
                  <a:gd name="T35" fmla="*/ 1 h 23"/>
                  <a:gd name="T36" fmla="*/ 16 w 23"/>
                  <a:gd name="T37" fmla="*/ 0 h 23"/>
                  <a:gd name="T38" fmla="*/ 19 w 23"/>
                  <a:gd name="T39" fmla="*/ 1 h 23"/>
                  <a:gd name="T40" fmla="*/ 22 w 23"/>
                  <a:gd name="T41" fmla="*/ 0 h 23"/>
                  <a:gd name="T42" fmla="*/ 23 w 23"/>
                  <a:gd name="T43" fmla="*/ 1 h 23"/>
                  <a:gd name="T44" fmla="*/ 22 w 23"/>
                  <a:gd name="T45" fmla="*/ 1 h 23"/>
                  <a:gd name="T46" fmla="*/ 21 w 23"/>
                  <a:gd name="T47" fmla="*/ 1 h 23"/>
                  <a:gd name="T48" fmla="*/ 19 w 23"/>
                  <a:gd name="T49" fmla="*/ 3 h 23"/>
                  <a:gd name="T50" fmla="*/ 14 w 23"/>
                  <a:gd name="T51" fmla="*/ 12 h 23"/>
                  <a:gd name="T52" fmla="*/ 13 w 23"/>
                  <a:gd name="T53" fmla="*/ 15 h 23"/>
                  <a:gd name="T54" fmla="*/ 13 w 23"/>
                  <a:gd name="T55" fmla="*/ 17 h 23"/>
                  <a:gd name="T56" fmla="*/ 13 w 23"/>
                  <a:gd name="T57" fmla="*/ 20 h 23"/>
                  <a:gd name="T58" fmla="*/ 14 w 23"/>
                  <a:gd name="T59" fmla="*/ 22 h 23"/>
                  <a:gd name="T60" fmla="*/ 16 w 23"/>
                  <a:gd name="T61" fmla="*/ 22 h 23"/>
                  <a:gd name="T62" fmla="*/ 16 w 23"/>
                  <a:gd name="T63" fmla="*/ 22 h 23"/>
                  <a:gd name="T64" fmla="*/ 16 w 23"/>
                  <a:gd name="T65" fmla="*/ 23 h 23"/>
                  <a:gd name="T66" fmla="*/ 11 w 23"/>
                  <a:gd name="T67" fmla="*/ 23 h 23"/>
                  <a:gd name="T68" fmla="*/ 8 w 23"/>
                  <a:gd name="T69" fmla="*/ 23 h 23"/>
                  <a:gd name="T70" fmla="*/ 7 w 23"/>
                  <a:gd name="T71" fmla="*/ 22 h 23"/>
                  <a:gd name="T72" fmla="*/ 7 w 23"/>
                  <a:gd name="T73" fmla="*/ 22 h 23"/>
                  <a:gd name="T74" fmla="*/ 8 w 23"/>
                  <a:gd name="T75" fmla="*/ 22 h 23"/>
                  <a:gd name="T76" fmla="*/ 9 w 23"/>
                  <a:gd name="T77" fmla="*/ 20 h 23"/>
                  <a:gd name="T78" fmla="*/ 9 w 23"/>
                  <a:gd name="T79" fmla="*/ 17 h 23"/>
                  <a:gd name="T80" fmla="*/ 9 w 23"/>
                  <a:gd name="T81" fmla="*/ 1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3" h="23">
                    <a:moveTo>
                      <a:pt x="9" y="15"/>
                    </a:moveTo>
                    <a:cubicBezTo>
                      <a:pt x="9" y="13"/>
                      <a:pt x="9" y="13"/>
                      <a:pt x="9" y="12"/>
                    </a:cubicBezTo>
                    <a:cubicBezTo>
                      <a:pt x="9" y="12"/>
                      <a:pt x="5" y="5"/>
                      <a:pt x="4" y="4"/>
                    </a:cubicBezTo>
                    <a:cubicBezTo>
                      <a:pt x="3" y="2"/>
                      <a:pt x="2" y="2"/>
                      <a:pt x="2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3" y="1"/>
                      <a:pt x="4" y="1"/>
                    </a:cubicBezTo>
                    <a:cubicBezTo>
                      <a:pt x="5" y="1"/>
                      <a:pt x="6" y="0"/>
                      <a:pt x="7" y="0"/>
                    </a:cubicBezTo>
                    <a:cubicBezTo>
                      <a:pt x="8" y="0"/>
                      <a:pt x="8" y="1"/>
                      <a:pt x="8" y="1"/>
                    </a:cubicBezTo>
                    <a:cubicBezTo>
                      <a:pt x="8" y="1"/>
                      <a:pt x="8" y="1"/>
                      <a:pt x="7" y="1"/>
                    </a:cubicBezTo>
                    <a:cubicBezTo>
                      <a:pt x="7" y="1"/>
                      <a:pt x="7" y="1"/>
                      <a:pt x="7" y="2"/>
                    </a:cubicBezTo>
                    <a:cubicBezTo>
                      <a:pt x="7" y="2"/>
                      <a:pt x="7" y="2"/>
                      <a:pt x="7" y="3"/>
                    </a:cubicBezTo>
                    <a:cubicBezTo>
                      <a:pt x="7" y="3"/>
                      <a:pt x="12" y="11"/>
                      <a:pt x="12" y="11"/>
                    </a:cubicBezTo>
                    <a:cubicBezTo>
                      <a:pt x="12" y="11"/>
                      <a:pt x="16" y="4"/>
                      <a:pt x="16" y="3"/>
                    </a:cubicBezTo>
                    <a:cubicBezTo>
                      <a:pt x="17" y="3"/>
                      <a:pt x="17" y="2"/>
                      <a:pt x="17" y="2"/>
                    </a:cubicBezTo>
                    <a:cubicBezTo>
                      <a:pt x="17" y="1"/>
                      <a:pt x="17" y="1"/>
                      <a:pt x="16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1"/>
                      <a:pt x="16" y="0"/>
                      <a:pt x="16" y="0"/>
                    </a:cubicBezTo>
                    <a:cubicBezTo>
                      <a:pt x="17" y="0"/>
                      <a:pt x="18" y="1"/>
                      <a:pt x="19" y="1"/>
                    </a:cubicBezTo>
                    <a:cubicBezTo>
                      <a:pt x="20" y="1"/>
                      <a:pt x="22" y="0"/>
                      <a:pt x="22" y="0"/>
                    </a:cubicBezTo>
                    <a:cubicBezTo>
                      <a:pt x="22" y="0"/>
                      <a:pt x="23" y="1"/>
                      <a:pt x="23" y="1"/>
                    </a:cubicBezTo>
                    <a:cubicBezTo>
                      <a:pt x="23" y="1"/>
                      <a:pt x="22" y="1"/>
                      <a:pt x="22" y="1"/>
                    </a:cubicBezTo>
                    <a:cubicBezTo>
                      <a:pt x="22" y="1"/>
                      <a:pt x="21" y="1"/>
                      <a:pt x="21" y="1"/>
                    </a:cubicBezTo>
                    <a:cubicBezTo>
                      <a:pt x="20" y="2"/>
                      <a:pt x="20" y="2"/>
                      <a:pt x="19" y="3"/>
                    </a:cubicBezTo>
                    <a:cubicBezTo>
                      <a:pt x="18" y="4"/>
                      <a:pt x="14" y="11"/>
                      <a:pt x="14" y="12"/>
                    </a:cubicBezTo>
                    <a:cubicBezTo>
                      <a:pt x="13" y="13"/>
                      <a:pt x="13" y="14"/>
                      <a:pt x="13" y="15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8"/>
                      <a:pt x="13" y="19"/>
                      <a:pt x="13" y="20"/>
                    </a:cubicBezTo>
                    <a:cubicBezTo>
                      <a:pt x="13" y="21"/>
                      <a:pt x="14" y="22"/>
                      <a:pt x="14" y="22"/>
                    </a:cubicBezTo>
                    <a:cubicBezTo>
                      <a:pt x="15" y="22"/>
                      <a:pt x="16" y="22"/>
                      <a:pt x="16" y="22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4" y="23"/>
                      <a:pt x="12" y="23"/>
                      <a:pt x="11" y="23"/>
                    </a:cubicBezTo>
                    <a:cubicBezTo>
                      <a:pt x="11" y="23"/>
                      <a:pt x="9" y="23"/>
                      <a:pt x="8" y="23"/>
                    </a:cubicBezTo>
                    <a:cubicBezTo>
                      <a:pt x="7" y="23"/>
                      <a:pt x="7" y="23"/>
                      <a:pt x="7" y="22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9" y="22"/>
                      <a:pt x="9" y="21"/>
                      <a:pt x="9" y="20"/>
                    </a:cubicBezTo>
                    <a:cubicBezTo>
                      <a:pt x="9" y="19"/>
                      <a:pt x="9" y="18"/>
                      <a:pt x="9" y="17"/>
                    </a:cubicBezTo>
                    <a:lnTo>
                      <a:pt x="9" y="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" name="Freeform 28"/>
              <p:cNvSpPr>
                <a:spLocks/>
              </p:cNvSpPr>
              <p:nvPr/>
            </p:nvSpPr>
            <p:spPr bwMode="auto">
              <a:xfrm>
                <a:off x="5848358" y="6383356"/>
                <a:ext cx="52388" cy="71438"/>
              </a:xfrm>
              <a:custGeom>
                <a:avLst/>
                <a:gdLst>
                  <a:gd name="T0" fmla="*/ 3 w 14"/>
                  <a:gd name="T1" fmla="*/ 7 h 19"/>
                  <a:gd name="T2" fmla="*/ 3 w 14"/>
                  <a:gd name="T3" fmla="*/ 2 h 19"/>
                  <a:gd name="T4" fmla="*/ 2 w 14"/>
                  <a:gd name="T5" fmla="*/ 0 h 19"/>
                  <a:gd name="T6" fmla="*/ 0 w 14"/>
                  <a:gd name="T7" fmla="*/ 0 h 19"/>
                  <a:gd name="T8" fmla="*/ 0 w 14"/>
                  <a:gd name="T9" fmla="*/ 0 h 19"/>
                  <a:gd name="T10" fmla="*/ 1 w 14"/>
                  <a:gd name="T11" fmla="*/ 0 h 19"/>
                  <a:gd name="T12" fmla="*/ 4 w 14"/>
                  <a:gd name="T13" fmla="*/ 0 h 19"/>
                  <a:gd name="T14" fmla="*/ 11 w 14"/>
                  <a:gd name="T15" fmla="*/ 0 h 19"/>
                  <a:gd name="T16" fmla="*/ 12 w 14"/>
                  <a:gd name="T17" fmla="*/ 0 h 19"/>
                  <a:gd name="T18" fmla="*/ 13 w 14"/>
                  <a:gd name="T19" fmla="*/ 0 h 19"/>
                  <a:gd name="T20" fmla="*/ 13 w 14"/>
                  <a:gd name="T21" fmla="*/ 0 h 19"/>
                  <a:gd name="T22" fmla="*/ 13 w 14"/>
                  <a:gd name="T23" fmla="*/ 1 h 19"/>
                  <a:gd name="T24" fmla="*/ 13 w 14"/>
                  <a:gd name="T25" fmla="*/ 3 h 19"/>
                  <a:gd name="T26" fmla="*/ 12 w 14"/>
                  <a:gd name="T27" fmla="*/ 3 h 19"/>
                  <a:gd name="T28" fmla="*/ 12 w 14"/>
                  <a:gd name="T29" fmla="*/ 3 h 19"/>
                  <a:gd name="T30" fmla="*/ 12 w 14"/>
                  <a:gd name="T31" fmla="*/ 2 h 19"/>
                  <a:gd name="T32" fmla="*/ 10 w 14"/>
                  <a:gd name="T33" fmla="*/ 1 h 19"/>
                  <a:gd name="T34" fmla="*/ 6 w 14"/>
                  <a:gd name="T35" fmla="*/ 1 h 19"/>
                  <a:gd name="T36" fmla="*/ 6 w 14"/>
                  <a:gd name="T37" fmla="*/ 1 h 19"/>
                  <a:gd name="T38" fmla="*/ 6 w 14"/>
                  <a:gd name="T39" fmla="*/ 8 h 19"/>
                  <a:gd name="T40" fmla="*/ 6 w 14"/>
                  <a:gd name="T41" fmla="*/ 8 h 19"/>
                  <a:gd name="T42" fmla="*/ 11 w 14"/>
                  <a:gd name="T43" fmla="*/ 8 h 19"/>
                  <a:gd name="T44" fmla="*/ 12 w 14"/>
                  <a:gd name="T45" fmla="*/ 7 h 19"/>
                  <a:gd name="T46" fmla="*/ 12 w 14"/>
                  <a:gd name="T47" fmla="*/ 7 h 19"/>
                  <a:gd name="T48" fmla="*/ 13 w 14"/>
                  <a:gd name="T49" fmla="*/ 7 h 19"/>
                  <a:gd name="T50" fmla="*/ 12 w 14"/>
                  <a:gd name="T51" fmla="*/ 9 h 19"/>
                  <a:gd name="T52" fmla="*/ 12 w 14"/>
                  <a:gd name="T53" fmla="*/ 11 h 19"/>
                  <a:gd name="T54" fmla="*/ 12 w 14"/>
                  <a:gd name="T55" fmla="*/ 11 h 19"/>
                  <a:gd name="T56" fmla="*/ 12 w 14"/>
                  <a:gd name="T57" fmla="*/ 11 h 19"/>
                  <a:gd name="T58" fmla="*/ 12 w 14"/>
                  <a:gd name="T59" fmla="*/ 10 h 19"/>
                  <a:gd name="T60" fmla="*/ 10 w 14"/>
                  <a:gd name="T61" fmla="*/ 9 h 19"/>
                  <a:gd name="T62" fmla="*/ 6 w 14"/>
                  <a:gd name="T63" fmla="*/ 9 h 19"/>
                  <a:gd name="T64" fmla="*/ 6 w 14"/>
                  <a:gd name="T65" fmla="*/ 10 h 19"/>
                  <a:gd name="T66" fmla="*/ 6 w 14"/>
                  <a:gd name="T67" fmla="*/ 12 h 19"/>
                  <a:gd name="T68" fmla="*/ 6 w 14"/>
                  <a:gd name="T69" fmla="*/ 15 h 19"/>
                  <a:gd name="T70" fmla="*/ 10 w 14"/>
                  <a:gd name="T71" fmla="*/ 17 h 19"/>
                  <a:gd name="T72" fmla="*/ 12 w 14"/>
                  <a:gd name="T73" fmla="*/ 17 h 19"/>
                  <a:gd name="T74" fmla="*/ 13 w 14"/>
                  <a:gd name="T75" fmla="*/ 15 h 19"/>
                  <a:gd name="T76" fmla="*/ 13 w 14"/>
                  <a:gd name="T77" fmla="*/ 15 h 19"/>
                  <a:gd name="T78" fmla="*/ 14 w 14"/>
                  <a:gd name="T79" fmla="*/ 15 h 19"/>
                  <a:gd name="T80" fmla="*/ 13 w 14"/>
                  <a:gd name="T81" fmla="*/ 18 h 19"/>
                  <a:gd name="T82" fmla="*/ 12 w 14"/>
                  <a:gd name="T83" fmla="*/ 19 h 19"/>
                  <a:gd name="T84" fmla="*/ 7 w 14"/>
                  <a:gd name="T85" fmla="*/ 19 h 19"/>
                  <a:gd name="T86" fmla="*/ 4 w 14"/>
                  <a:gd name="T87" fmla="*/ 19 h 19"/>
                  <a:gd name="T88" fmla="*/ 3 w 14"/>
                  <a:gd name="T89" fmla="*/ 19 h 19"/>
                  <a:gd name="T90" fmla="*/ 1 w 14"/>
                  <a:gd name="T91" fmla="*/ 19 h 19"/>
                  <a:gd name="T92" fmla="*/ 0 w 14"/>
                  <a:gd name="T93" fmla="*/ 18 h 19"/>
                  <a:gd name="T94" fmla="*/ 1 w 14"/>
                  <a:gd name="T95" fmla="*/ 18 h 19"/>
                  <a:gd name="T96" fmla="*/ 2 w 14"/>
                  <a:gd name="T97" fmla="*/ 18 h 19"/>
                  <a:gd name="T98" fmla="*/ 3 w 14"/>
                  <a:gd name="T99" fmla="*/ 17 h 19"/>
                  <a:gd name="T100" fmla="*/ 3 w 14"/>
                  <a:gd name="T101" fmla="*/ 11 h 19"/>
                  <a:gd name="T102" fmla="*/ 3 w 14"/>
                  <a:gd name="T103" fmla="*/ 7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" h="19">
                    <a:moveTo>
                      <a:pt x="3" y="7"/>
                    </a:moveTo>
                    <a:cubicBezTo>
                      <a:pt x="3" y="3"/>
                      <a:pt x="3" y="3"/>
                      <a:pt x="3" y="2"/>
                    </a:cubicBezTo>
                    <a:cubicBezTo>
                      <a:pt x="3" y="1"/>
                      <a:pt x="2" y="1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4" y="0"/>
                      <a:pt x="4" y="0"/>
                    </a:cubicBezTo>
                    <a:cubicBezTo>
                      <a:pt x="5" y="0"/>
                      <a:pt x="11" y="0"/>
                      <a:pt x="11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1"/>
                    </a:cubicBezTo>
                    <a:cubicBezTo>
                      <a:pt x="13" y="2"/>
                      <a:pt x="13" y="3"/>
                      <a:pt x="13" y="3"/>
                    </a:cubicBezTo>
                    <a:cubicBezTo>
                      <a:pt x="13" y="3"/>
                      <a:pt x="13" y="3"/>
                      <a:pt x="12" y="3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3"/>
                      <a:pt x="12" y="3"/>
                      <a:pt x="12" y="2"/>
                    </a:cubicBezTo>
                    <a:cubicBezTo>
                      <a:pt x="12" y="2"/>
                      <a:pt x="12" y="1"/>
                      <a:pt x="10" y="1"/>
                    </a:cubicBezTo>
                    <a:cubicBezTo>
                      <a:pt x="10" y="1"/>
                      <a:pt x="7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8"/>
                      <a:pt x="10" y="8"/>
                      <a:pt x="11" y="8"/>
                    </a:cubicBezTo>
                    <a:cubicBezTo>
                      <a:pt x="11" y="8"/>
                      <a:pt x="12" y="8"/>
                      <a:pt x="12" y="7"/>
                    </a:cubicBezTo>
                    <a:cubicBezTo>
                      <a:pt x="12" y="7"/>
                      <a:pt x="12" y="7"/>
                      <a:pt x="12" y="7"/>
                    </a:cubicBezTo>
                    <a:cubicBezTo>
                      <a:pt x="13" y="7"/>
                      <a:pt x="13" y="7"/>
                      <a:pt x="13" y="7"/>
                    </a:cubicBezTo>
                    <a:cubicBezTo>
                      <a:pt x="13" y="8"/>
                      <a:pt x="13" y="8"/>
                      <a:pt x="12" y="9"/>
                    </a:cubicBezTo>
                    <a:cubicBezTo>
                      <a:pt x="12" y="10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1"/>
                    </a:cubicBezTo>
                    <a:cubicBezTo>
                      <a:pt x="12" y="11"/>
                      <a:pt x="12" y="11"/>
                      <a:pt x="12" y="10"/>
                    </a:cubicBezTo>
                    <a:cubicBezTo>
                      <a:pt x="12" y="10"/>
                      <a:pt x="11" y="9"/>
                      <a:pt x="10" y="9"/>
                    </a:cubicBezTo>
                    <a:cubicBezTo>
                      <a:pt x="10" y="9"/>
                      <a:pt x="7" y="9"/>
                      <a:pt x="6" y="9"/>
                    </a:cubicBezTo>
                    <a:cubicBezTo>
                      <a:pt x="6" y="9"/>
                      <a:pt x="6" y="9"/>
                      <a:pt x="6" y="10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6" y="12"/>
                      <a:pt x="6" y="14"/>
                      <a:pt x="6" y="15"/>
                    </a:cubicBezTo>
                    <a:cubicBezTo>
                      <a:pt x="6" y="17"/>
                      <a:pt x="7" y="17"/>
                      <a:pt x="10" y="17"/>
                    </a:cubicBezTo>
                    <a:cubicBezTo>
                      <a:pt x="10" y="17"/>
                      <a:pt x="11" y="17"/>
                      <a:pt x="12" y="17"/>
                    </a:cubicBezTo>
                    <a:cubicBezTo>
                      <a:pt x="13" y="17"/>
                      <a:pt x="13" y="16"/>
                      <a:pt x="13" y="15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4" y="15"/>
                      <a:pt x="14" y="15"/>
                      <a:pt x="14" y="15"/>
                    </a:cubicBezTo>
                    <a:cubicBezTo>
                      <a:pt x="14" y="16"/>
                      <a:pt x="13" y="18"/>
                      <a:pt x="13" y="18"/>
                    </a:cubicBezTo>
                    <a:cubicBezTo>
                      <a:pt x="13" y="19"/>
                      <a:pt x="13" y="19"/>
                      <a:pt x="12" y="19"/>
                    </a:cubicBezTo>
                    <a:cubicBezTo>
                      <a:pt x="10" y="19"/>
                      <a:pt x="8" y="19"/>
                      <a:pt x="7" y="19"/>
                    </a:cubicBezTo>
                    <a:cubicBezTo>
                      <a:pt x="6" y="19"/>
                      <a:pt x="5" y="19"/>
                      <a:pt x="4" y="19"/>
                    </a:cubicBezTo>
                    <a:cubicBezTo>
                      <a:pt x="4" y="19"/>
                      <a:pt x="3" y="19"/>
                      <a:pt x="3" y="19"/>
                    </a:cubicBezTo>
                    <a:cubicBezTo>
                      <a:pt x="2" y="19"/>
                      <a:pt x="1" y="19"/>
                      <a:pt x="1" y="19"/>
                    </a:cubicBezTo>
                    <a:cubicBezTo>
                      <a:pt x="1" y="19"/>
                      <a:pt x="0" y="19"/>
                      <a:pt x="0" y="18"/>
                    </a:cubicBezTo>
                    <a:cubicBezTo>
                      <a:pt x="0" y="18"/>
                      <a:pt x="1" y="18"/>
                      <a:pt x="1" y="18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2" y="18"/>
                      <a:pt x="2" y="17"/>
                      <a:pt x="3" y="17"/>
                    </a:cubicBezTo>
                    <a:cubicBezTo>
                      <a:pt x="3" y="16"/>
                      <a:pt x="3" y="14"/>
                      <a:pt x="3" y="11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" name="Freeform 29"/>
              <p:cNvSpPr>
                <a:spLocks noEditPoints="1"/>
              </p:cNvSpPr>
              <p:nvPr/>
            </p:nvSpPr>
            <p:spPr bwMode="auto">
              <a:xfrm>
                <a:off x="5895983" y="6380181"/>
                <a:ext cx="84138" cy="74613"/>
              </a:xfrm>
              <a:custGeom>
                <a:avLst/>
                <a:gdLst>
                  <a:gd name="T0" fmla="*/ 7 w 22"/>
                  <a:gd name="T1" fmla="*/ 13 h 20"/>
                  <a:gd name="T2" fmla="*/ 7 w 22"/>
                  <a:gd name="T3" fmla="*/ 14 h 20"/>
                  <a:gd name="T4" fmla="*/ 5 w 22"/>
                  <a:gd name="T5" fmla="*/ 17 h 20"/>
                  <a:gd name="T6" fmla="*/ 5 w 22"/>
                  <a:gd name="T7" fmla="*/ 18 h 20"/>
                  <a:gd name="T8" fmla="*/ 6 w 22"/>
                  <a:gd name="T9" fmla="*/ 19 h 20"/>
                  <a:gd name="T10" fmla="*/ 6 w 22"/>
                  <a:gd name="T11" fmla="*/ 19 h 20"/>
                  <a:gd name="T12" fmla="*/ 7 w 22"/>
                  <a:gd name="T13" fmla="*/ 19 h 20"/>
                  <a:gd name="T14" fmla="*/ 6 w 22"/>
                  <a:gd name="T15" fmla="*/ 20 h 20"/>
                  <a:gd name="T16" fmla="*/ 3 w 22"/>
                  <a:gd name="T17" fmla="*/ 20 h 20"/>
                  <a:gd name="T18" fmla="*/ 0 w 22"/>
                  <a:gd name="T19" fmla="*/ 20 h 20"/>
                  <a:gd name="T20" fmla="*/ 0 w 22"/>
                  <a:gd name="T21" fmla="*/ 19 h 20"/>
                  <a:gd name="T22" fmla="*/ 0 w 22"/>
                  <a:gd name="T23" fmla="*/ 19 h 20"/>
                  <a:gd name="T24" fmla="*/ 1 w 22"/>
                  <a:gd name="T25" fmla="*/ 19 h 20"/>
                  <a:gd name="T26" fmla="*/ 3 w 22"/>
                  <a:gd name="T27" fmla="*/ 17 h 20"/>
                  <a:gd name="T28" fmla="*/ 10 w 22"/>
                  <a:gd name="T29" fmla="*/ 1 h 20"/>
                  <a:gd name="T30" fmla="*/ 11 w 22"/>
                  <a:gd name="T31" fmla="*/ 0 h 20"/>
                  <a:gd name="T32" fmla="*/ 11 w 22"/>
                  <a:gd name="T33" fmla="*/ 1 h 20"/>
                  <a:gd name="T34" fmla="*/ 18 w 22"/>
                  <a:gd name="T35" fmla="*/ 16 h 20"/>
                  <a:gd name="T36" fmla="*/ 20 w 22"/>
                  <a:gd name="T37" fmla="*/ 19 h 20"/>
                  <a:gd name="T38" fmla="*/ 21 w 22"/>
                  <a:gd name="T39" fmla="*/ 19 h 20"/>
                  <a:gd name="T40" fmla="*/ 22 w 22"/>
                  <a:gd name="T41" fmla="*/ 19 h 20"/>
                  <a:gd name="T42" fmla="*/ 20 w 22"/>
                  <a:gd name="T43" fmla="*/ 20 h 20"/>
                  <a:gd name="T44" fmla="*/ 16 w 22"/>
                  <a:gd name="T45" fmla="*/ 20 h 20"/>
                  <a:gd name="T46" fmla="*/ 15 w 22"/>
                  <a:gd name="T47" fmla="*/ 19 h 20"/>
                  <a:gd name="T48" fmla="*/ 15 w 22"/>
                  <a:gd name="T49" fmla="*/ 19 h 20"/>
                  <a:gd name="T50" fmla="*/ 15 w 22"/>
                  <a:gd name="T51" fmla="*/ 19 h 20"/>
                  <a:gd name="T52" fmla="*/ 13 w 22"/>
                  <a:gd name="T53" fmla="*/ 14 h 20"/>
                  <a:gd name="T54" fmla="*/ 13 w 22"/>
                  <a:gd name="T55" fmla="*/ 13 h 20"/>
                  <a:gd name="T56" fmla="*/ 7 w 22"/>
                  <a:gd name="T57" fmla="*/ 13 h 20"/>
                  <a:gd name="T58" fmla="*/ 12 w 22"/>
                  <a:gd name="T59" fmla="*/ 12 h 20"/>
                  <a:gd name="T60" fmla="*/ 13 w 22"/>
                  <a:gd name="T61" fmla="*/ 12 h 20"/>
                  <a:gd name="T62" fmla="*/ 10 w 22"/>
                  <a:gd name="T63" fmla="*/ 6 h 20"/>
                  <a:gd name="T64" fmla="*/ 10 w 22"/>
                  <a:gd name="T65" fmla="*/ 5 h 20"/>
                  <a:gd name="T66" fmla="*/ 10 w 22"/>
                  <a:gd name="T67" fmla="*/ 6 h 20"/>
                  <a:gd name="T68" fmla="*/ 7 w 22"/>
                  <a:gd name="T69" fmla="*/ 12 h 20"/>
                  <a:gd name="T70" fmla="*/ 7 w 22"/>
                  <a:gd name="T71" fmla="*/ 12 h 20"/>
                  <a:gd name="T72" fmla="*/ 12 w 22"/>
                  <a:gd name="T73" fmla="*/ 1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2" h="20">
                    <a:moveTo>
                      <a:pt x="7" y="13"/>
                    </a:moveTo>
                    <a:cubicBezTo>
                      <a:pt x="7" y="13"/>
                      <a:pt x="7" y="13"/>
                      <a:pt x="7" y="14"/>
                    </a:cubicBezTo>
                    <a:cubicBezTo>
                      <a:pt x="5" y="17"/>
                      <a:pt x="5" y="17"/>
                      <a:pt x="5" y="17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5" y="19"/>
                      <a:pt x="5" y="19"/>
                      <a:pt x="6" y="19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7" y="20"/>
                      <a:pt x="7" y="20"/>
                      <a:pt x="6" y="20"/>
                    </a:cubicBezTo>
                    <a:cubicBezTo>
                      <a:pt x="5" y="20"/>
                      <a:pt x="4" y="20"/>
                      <a:pt x="3" y="20"/>
                    </a:cubicBezTo>
                    <a:cubicBezTo>
                      <a:pt x="3" y="20"/>
                      <a:pt x="2" y="20"/>
                      <a:pt x="0" y="20"/>
                    </a:cubicBezTo>
                    <a:cubicBezTo>
                      <a:pt x="0" y="20"/>
                      <a:pt x="0" y="20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2" y="19"/>
                      <a:pt x="3" y="18"/>
                      <a:pt x="3" y="17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0" y="0"/>
                      <a:pt x="11" y="0"/>
                    </a:cubicBezTo>
                    <a:cubicBezTo>
                      <a:pt x="11" y="0"/>
                      <a:pt x="11" y="1"/>
                      <a:pt x="11" y="1"/>
                    </a:cubicBezTo>
                    <a:cubicBezTo>
                      <a:pt x="12" y="2"/>
                      <a:pt x="16" y="13"/>
                      <a:pt x="18" y="16"/>
                    </a:cubicBezTo>
                    <a:cubicBezTo>
                      <a:pt x="19" y="19"/>
                      <a:pt x="20" y="19"/>
                      <a:pt x="20" y="19"/>
                    </a:cubicBezTo>
                    <a:cubicBezTo>
                      <a:pt x="21" y="19"/>
                      <a:pt x="21" y="19"/>
                      <a:pt x="21" y="19"/>
                    </a:cubicBezTo>
                    <a:cubicBezTo>
                      <a:pt x="21" y="19"/>
                      <a:pt x="22" y="19"/>
                      <a:pt x="22" y="19"/>
                    </a:cubicBezTo>
                    <a:cubicBezTo>
                      <a:pt x="22" y="20"/>
                      <a:pt x="21" y="20"/>
                      <a:pt x="20" y="20"/>
                    </a:cubicBezTo>
                    <a:cubicBezTo>
                      <a:pt x="20" y="20"/>
                      <a:pt x="18" y="20"/>
                      <a:pt x="16" y="20"/>
                    </a:cubicBezTo>
                    <a:cubicBezTo>
                      <a:pt x="15" y="20"/>
                      <a:pt x="15" y="20"/>
                      <a:pt x="15" y="19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15" y="19"/>
                      <a:pt x="15" y="19"/>
                      <a:pt x="15" y="19"/>
                    </a:cubicBezTo>
                    <a:cubicBezTo>
                      <a:pt x="13" y="14"/>
                      <a:pt x="13" y="14"/>
                      <a:pt x="13" y="14"/>
                    </a:cubicBezTo>
                    <a:cubicBezTo>
                      <a:pt x="13" y="13"/>
                      <a:pt x="13" y="13"/>
                      <a:pt x="13" y="13"/>
                    </a:cubicBezTo>
                    <a:lnTo>
                      <a:pt x="7" y="13"/>
                    </a:lnTo>
                    <a:close/>
                    <a:moveTo>
                      <a:pt x="12" y="12"/>
                    </a:moveTo>
                    <a:cubicBezTo>
                      <a:pt x="13" y="12"/>
                      <a:pt x="13" y="12"/>
                      <a:pt x="13" y="12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7" y="12"/>
                      <a:pt x="7" y="12"/>
                    </a:cubicBezTo>
                    <a:lnTo>
                      <a:pt x="12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" name="Freeform 30"/>
              <p:cNvSpPr>
                <a:spLocks noEditPoints="1"/>
              </p:cNvSpPr>
              <p:nvPr/>
            </p:nvSpPr>
            <p:spPr bwMode="auto">
              <a:xfrm>
                <a:off x="5975358" y="6383356"/>
                <a:ext cx="79375" cy="71438"/>
              </a:xfrm>
              <a:custGeom>
                <a:avLst/>
                <a:gdLst>
                  <a:gd name="T0" fmla="*/ 3 w 21"/>
                  <a:gd name="T1" fmla="*/ 7 h 19"/>
                  <a:gd name="T2" fmla="*/ 3 w 21"/>
                  <a:gd name="T3" fmla="*/ 2 h 19"/>
                  <a:gd name="T4" fmla="*/ 2 w 21"/>
                  <a:gd name="T5" fmla="*/ 0 h 19"/>
                  <a:gd name="T6" fmla="*/ 0 w 21"/>
                  <a:gd name="T7" fmla="*/ 0 h 19"/>
                  <a:gd name="T8" fmla="*/ 0 w 21"/>
                  <a:gd name="T9" fmla="*/ 0 h 19"/>
                  <a:gd name="T10" fmla="*/ 1 w 21"/>
                  <a:gd name="T11" fmla="*/ 0 h 19"/>
                  <a:gd name="T12" fmla="*/ 4 w 21"/>
                  <a:gd name="T13" fmla="*/ 0 h 19"/>
                  <a:gd name="T14" fmla="*/ 8 w 21"/>
                  <a:gd name="T15" fmla="*/ 0 h 19"/>
                  <a:gd name="T16" fmla="*/ 13 w 21"/>
                  <a:gd name="T17" fmla="*/ 1 h 19"/>
                  <a:gd name="T18" fmla="*/ 15 w 21"/>
                  <a:gd name="T19" fmla="*/ 4 h 19"/>
                  <a:gd name="T20" fmla="*/ 11 w 21"/>
                  <a:gd name="T21" fmla="*/ 10 h 19"/>
                  <a:gd name="T22" fmla="*/ 17 w 21"/>
                  <a:gd name="T23" fmla="*/ 16 h 19"/>
                  <a:gd name="T24" fmla="*/ 20 w 21"/>
                  <a:gd name="T25" fmla="*/ 18 h 19"/>
                  <a:gd name="T26" fmla="*/ 20 w 21"/>
                  <a:gd name="T27" fmla="*/ 18 h 19"/>
                  <a:gd name="T28" fmla="*/ 21 w 21"/>
                  <a:gd name="T29" fmla="*/ 18 h 19"/>
                  <a:gd name="T30" fmla="*/ 20 w 21"/>
                  <a:gd name="T31" fmla="*/ 19 h 19"/>
                  <a:gd name="T32" fmla="*/ 18 w 21"/>
                  <a:gd name="T33" fmla="*/ 19 h 19"/>
                  <a:gd name="T34" fmla="*/ 15 w 21"/>
                  <a:gd name="T35" fmla="*/ 18 h 19"/>
                  <a:gd name="T36" fmla="*/ 11 w 21"/>
                  <a:gd name="T37" fmla="*/ 15 h 19"/>
                  <a:gd name="T38" fmla="*/ 9 w 21"/>
                  <a:gd name="T39" fmla="*/ 11 h 19"/>
                  <a:gd name="T40" fmla="*/ 8 w 21"/>
                  <a:gd name="T41" fmla="*/ 11 h 19"/>
                  <a:gd name="T42" fmla="*/ 6 w 21"/>
                  <a:gd name="T43" fmla="*/ 11 h 19"/>
                  <a:gd name="T44" fmla="*/ 6 w 21"/>
                  <a:gd name="T45" fmla="*/ 11 h 19"/>
                  <a:gd name="T46" fmla="*/ 6 w 21"/>
                  <a:gd name="T47" fmla="*/ 11 h 19"/>
                  <a:gd name="T48" fmla="*/ 6 w 21"/>
                  <a:gd name="T49" fmla="*/ 17 h 19"/>
                  <a:gd name="T50" fmla="*/ 7 w 21"/>
                  <a:gd name="T51" fmla="*/ 18 h 19"/>
                  <a:gd name="T52" fmla="*/ 8 w 21"/>
                  <a:gd name="T53" fmla="*/ 18 h 19"/>
                  <a:gd name="T54" fmla="*/ 9 w 21"/>
                  <a:gd name="T55" fmla="*/ 18 h 19"/>
                  <a:gd name="T56" fmla="*/ 8 w 21"/>
                  <a:gd name="T57" fmla="*/ 19 h 19"/>
                  <a:gd name="T58" fmla="*/ 4 w 21"/>
                  <a:gd name="T59" fmla="*/ 19 h 19"/>
                  <a:gd name="T60" fmla="*/ 1 w 21"/>
                  <a:gd name="T61" fmla="*/ 19 h 19"/>
                  <a:gd name="T62" fmla="*/ 0 w 21"/>
                  <a:gd name="T63" fmla="*/ 18 h 19"/>
                  <a:gd name="T64" fmla="*/ 1 w 21"/>
                  <a:gd name="T65" fmla="*/ 18 h 19"/>
                  <a:gd name="T66" fmla="*/ 2 w 21"/>
                  <a:gd name="T67" fmla="*/ 18 h 19"/>
                  <a:gd name="T68" fmla="*/ 3 w 21"/>
                  <a:gd name="T69" fmla="*/ 17 h 19"/>
                  <a:gd name="T70" fmla="*/ 3 w 21"/>
                  <a:gd name="T71" fmla="*/ 11 h 19"/>
                  <a:gd name="T72" fmla="*/ 3 w 21"/>
                  <a:gd name="T73" fmla="*/ 7 h 19"/>
                  <a:gd name="T74" fmla="*/ 6 w 21"/>
                  <a:gd name="T75" fmla="*/ 9 h 19"/>
                  <a:gd name="T76" fmla="*/ 6 w 21"/>
                  <a:gd name="T77" fmla="*/ 9 h 19"/>
                  <a:gd name="T78" fmla="*/ 8 w 21"/>
                  <a:gd name="T79" fmla="*/ 10 h 19"/>
                  <a:gd name="T80" fmla="*/ 10 w 21"/>
                  <a:gd name="T81" fmla="*/ 9 h 19"/>
                  <a:gd name="T82" fmla="*/ 12 w 21"/>
                  <a:gd name="T83" fmla="*/ 6 h 19"/>
                  <a:gd name="T84" fmla="*/ 8 w 21"/>
                  <a:gd name="T85" fmla="*/ 1 h 19"/>
                  <a:gd name="T86" fmla="*/ 6 w 21"/>
                  <a:gd name="T87" fmla="*/ 1 h 19"/>
                  <a:gd name="T88" fmla="*/ 6 w 21"/>
                  <a:gd name="T89" fmla="*/ 2 h 19"/>
                  <a:gd name="T90" fmla="*/ 6 w 21"/>
                  <a:gd name="T91" fmla="*/ 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1" h="19">
                    <a:moveTo>
                      <a:pt x="3" y="7"/>
                    </a:moveTo>
                    <a:cubicBezTo>
                      <a:pt x="3" y="3"/>
                      <a:pt x="3" y="3"/>
                      <a:pt x="3" y="2"/>
                    </a:cubicBezTo>
                    <a:cubicBezTo>
                      <a:pt x="3" y="1"/>
                      <a:pt x="2" y="1"/>
                      <a:pt x="2" y="0"/>
                    </a:cubicBezTo>
                    <a:cubicBezTo>
                      <a:pt x="1" y="0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2" y="0"/>
                      <a:pt x="4" y="0"/>
                      <a:pt x="4" y="0"/>
                    </a:cubicBezTo>
                    <a:cubicBezTo>
                      <a:pt x="5" y="0"/>
                      <a:pt x="7" y="0"/>
                      <a:pt x="8" y="0"/>
                    </a:cubicBezTo>
                    <a:cubicBezTo>
                      <a:pt x="10" y="0"/>
                      <a:pt x="12" y="0"/>
                      <a:pt x="13" y="1"/>
                    </a:cubicBezTo>
                    <a:cubicBezTo>
                      <a:pt x="14" y="1"/>
                      <a:pt x="15" y="3"/>
                      <a:pt x="15" y="4"/>
                    </a:cubicBezTo>
                    <a:cubicBezTo>
                      <a:pt x="15" y="6"/>
                      <a:pt x="14" y="8"/>
                      <a:pt x="11" y="10"/>
                    </a:cubicBezTo>
                    <a:cubicBezTo>
                      <a:pt x="14" y="13"/>
                      <a:pt x="15" y="15"/>
                      <a:pt x="17" y="16"/>
                    </a:cubicBezTo>
                    <a:cubicBezTo>
                      <a:pt x="18" y="18"/>
                      <a:pt x="19" y="18"/>
                      <a:pt x="20" y="18"/>
                    </a:cubicBezTo>
                    <a:cubicBezTo>
                      <a:pt x="20" y="18"/>
                      <a:pt x="20" y="18"/>
                      <a:pt x="20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21" y="19"/>
                      <a:pt x="21" y="19"/>
                      <a:pt x="20" y="19"/>
                    </a:cubicBezTo>
                    <a:cubicBezTo>
                      <a:pt x="18" y="19"/>
                      <a:pt x="18" y="19"/>
                      <a:pt x="18" y="19"/>
                    </a:cubicBezTo>
                    <a:cubicBezTo>
                      <a:pt x="16" y="19"/>
                      <a:pt x="16" y="19"/>
                      <a:pt x="15" y="18"/>
                    </a:cubicBezTo>
                    <a:cubicBezTo>
                      <a:pt x="14" y="18"/>
                      <a:pt x="13" y="16"/>
                      <a:pt x="11" y="15"/>
                    </a:cubicBezTo>
                    <a:cubicBezTo>
                      <a:pt x="10" y="13"/>
                      <a:pt x="9" y="11"/>
                      <a:pt x="9" y="11"/>
                    </a:cubicBezTo>
                    <a:cubicBezTo>
                      <a:pt x="9" y="11"/>
                      <a:pt x="9" y="11"/>
                      <a:pt x="8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6" y="14"/>
                      <a:pt x="6" y="16"/>
                      <a:pt x="6" y="17"/>
                    </a:cubicBezTo>
                    <a:cubicBezTo>
                      <a:pt x="6" y="17"/>
                      <a:pt x="6" y="18"/>
                      <a:pt x="7" y="18"/>
                    </a:cubicBezTo>
                    <a:cubicBezTo>
                      <a:pt x="7" y="18"/>
                      <a:pt x="8" y="18"/>
                      <a:pt x="8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9" y="19"/>
                      <a:pt x="8" y="19"/>
                      <a:pt x="8" y="19"/>
                    </a:cubicBezTo>
                    <a:cubicBezTo>
                      <a:pt x="7" y="19"/>
                      <a:pt x="5" y="19"/>
                      <a:pt x="4" y="19"/>
                    </a:cubicBezTo>
                    <a:cubicBezTo>
                      <a:pt x="4" y="19"/>
                      <a:pt x="2" y="19"/>
                      <a:pt x="1" y="19"/>
                    </a:cubicBezTo>
                    <a:cubicBezTo>
                      <a:pt x="1" y="19"/>
                      <a:pt x="0" y="19"/>
                      <a:pt x="0" y="18"/>
                    </a:cubicBezTo>
                    <a:cubicBezTo>
                      <a:pt x="0" y="18"/>
                      <a:pt x="1" y="18"/>
                      <a:pt x="1" y="18"/>
                    </a:cubicBezTo>
                    <a:cubicBezTo>
                      <a:pt x="1" y="18"/>
                      <a:pt x="2" y="18"/>
                      <a:pt x="2" y="18"/>
                    </a:cubicBezTo>
                    <a:cubicBezTo>
                      <a:pt x="2" y="18"/>
                      <a:pt x="2" y="17"/>
                      <a:pt x="3" y="17"/>
                    </a:cubicBezTo>
                    <a:cubicBezTo>
                      <a:pt x="3" y="16"/>
                      <a:pt x="3" y="14"/>
                      <a:pt x="3" y="11"/>
                    </a:cubicBezTo>
                    <a:lnTo>
                      <a:pt x="3" y="7"/>
                    </a:lnTo>
                    <a:close/>
                    <a:moveTo>
                      <a:pt x="6" y="9"/>
                    </a:moveTo>
                    <a:cubicBezTo>
                      <a:pt x="6" y="9"/>
                      <a:pt x="6" y="9"/>
                      <a:pt x="6" y="9"/>
                    </a:cubicBezTo>
                    <a:cubicBezTo>
                      <a:pt x="7" y="10"/>
                      <a:pt x="8" y="10"/>
                      <a:pt x="8" y="10"/>
                    </a:cubicBezTo>
                    <a:cubicBezTo>
                      <a:pt x="9" y="10"/>
                      <a:pt x="10" y="10"/>
                      <a:pt x="10" y="9"/>
                    </a:cubicBezTo>
                    <a:cubicBezTo>
                      <a:pt x="11" y="9"/>
                      <a:pt x="12" y="8"/>
                      <a:pt x="12" y="6"/>
                    </a:cubicBezTo>
                    <a:cubicBezTo>
                      <a:pt x="12" y="2"/>
                      <a:pt x="9" y="1"/>
                      <a:pt x="8" y="1"/>
                    </a:cubicBezTo>
                    <a:cubicBezTo>
                      <a:pt x="7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2"/>
                    </a:cubicBezTo>
                    <a:lnTo>
                      <a:pt x="6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" name="Freeform 31"/>
              <p:cNvSpPr>
                <a:spLocks/>
              </p:cNvSpPr>
              <p:nvPr/>
            </p:nvSpPr>
            <p:spPr bwMode="auto">
              <a:xfrm>
                <a:off x="6076958" y="6369069"/>
                <a:ext cx="57150" cy="85725"/>
              </a:xfrm>
              <a:custGeom>
                <a:avLst/>
                <a:gdLst>
                  <a:gd name="T0" fmla="*/ 0 w 15"/>
                  <a:gd name="T1" fmla="*/ 23 h 23"/>
                  <a:gd name="T2" fmla="*/ 0 w 15"/>
                  <a:gd name="T3" fmla="*/ 22 h 23"/>
                  <a:gd name="T4" fmla="*/ 1 w 15"/>
                  <a:gd name="T5" fmla="*/ 21 h 23"/>
                  <a:gd name="T6" fmla="*/ 11 w 15"/>
                  <a:gd name="T7" fmla="*/ 7 h 23"/>
                  <a:gd name="T8" fmla="*/ 7 w 15"/>
                  <a:gd name="T9" fmla="*/ 1 h 23"/>
                  <a:gd name="T10" fmla="*/ 3 w 15"/>
                  <a:gd name="T11" fmla="*/ 2 h 23"/>
                  <a:gd name="T12" fmla="*/ 2 w 15"/>
                  <a:gd name="T13" fmla="*/ 5 h 23"/>
                  <a:gd name="T14" fmla="*/ 2 w 15"/>
                  <a:gd name="T15" fmla="*/ 6 h 23"/>
                  <a:gd name="T16" fmla="*/ 2 w 15"/>
                  <a:gd name="T17" fmla="*/ 5 h 23"/>
                  <a:gd name="T18" fmla="*/ 1 w 15"/>
                  <a:gd name="T19" fmla="*/ 2 h 23"/>
                  <a:gd name="T20" fmla="*/ 2 w 15"/>
                  <a:gd name="T21" fmla="*/ 1 h 23"/>
                  <a:gd name="T22" fmla="*/ 7 w 15"/>
                  <a:gd name="T23" fmla="*/ 0 h 23"/>
                  <a:gd name="T24" fmla="*/ 14 w 15"/>
                  <a:gd name="T25" fmla="*/ 6 h 23"/>
                  <a:gd name="T26" fmla="*/ 4 w 15"/>
                  <a:gd name="T27" fmla="*/ 20 h 23"/>
                  <a:gd name="T28" fmla="*/ 4 w 15"/>
                  <a:gd name="T29" fmla="*/ 20 h 23"/>
                  <a:gd name="T30" fmla="*/ 6 w 15"/>
                  <a:gd name="T31" fmla="*/ 20 h 23"/>
                  <a:gd name="T32" fmla="*/ 11 w 15"/>
                  <a:gd name="T33" fmla="*/ 20 h 23"/>
                  <a:gd name="T34" fmla="*/ 15 w 15"/>
                  <a:gd name="T35" fmla="*/ 17 h 23"/>
                  <a:gd name="T36" fmla="*/ 15 w 15"/>
                  <a:gd name="T37" fmla="*/ 17 h 23"/>
                  <a:gd name="T38" fmla="*/ 15 w 15"/>
                  <a:gd name="T39" fmla="*/ 18 h 23"/>
                  <a:gd name="T40" fmla="*/ 15 w 15"/>
                  <a:gd name="T41" fmla="*/ 22 h 23"/>
                  <a:gd name="T42" fmla="*/ 12 w 15"/>
                  <a:gd name="T43" fmla="*/ 23 h 23"/>
                  <a:gd name="T44" fmla="*/ 0 w 15"/>
                  <a:gd name="T45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5" h="23">
                    <a:moveTo>
                      <a:pt x="0" y="23"/>
                    </a:moveTo>
                    <a:cubicBezTo>
                      <a:pt x="0" y="23"/>
                      <a:pt x="0" y="22"/>
                      <a:pt x="0" y="22"/>
                    </a:cubicBezTo>
                    <a:cubicBezTo>
                      <a:pt x="0" y="22"/>
                      <a:pt x="0" y="22"/>
                      <a:pt x="1" y="21"/>
                    </a:cubicBezTo>
                    <a:cubicBezTo>
                      <a:pt x="5" y="18"/>
                      <a:pt x="11" y="13"/>
                      <a:pt x="11" y="7"/>
                    </a:cubicBezTo>
                    <a:cubicBezTo>
                      <a:pt x="11" y="2"/>
                      <a:pt x="8" y="1"/>
                      <a:pt x="7" y="1"/>
                    </a:cubicBezTo>
                    <a:cubicBezTo>
                      <a:pt x="5" y="1"/>
                      <a:pt x="4" y="2"/>
                      <a:pt x="3" y="2"/>
                    </a:cubicBezTo>
                    <a:cubicBezTo>
                      <a:pt x="3" y="3"/>
                      <a:pt x="2" y="5"/>
                      <a:pt x="2" y="5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6"/>
                      <a:pt x="2" y="6"/>
                      <a:pt x="2" y="5"/>
                    </a:cubicBezTo>
                    <a:cubicBezTo>
                      <a:pt x="2" y="5"/>
                      <a:pt x="1" y="3"/>
                      <a:pt x="1" y="2"/>
                    </a:cubicBezTo>
                    <a:cubicBezTo>
                      <a:pt x="1" y="1"/>
                      <a:pt x="1" y="1"/>
                      <a:pt x="2" y="1"/>
                    </a:cubicBezTo>
                    <a:cubicBezTo>
                      <a:pt x="3" y="1"/>
                      <a:pt x="5" y="0"/>
                      <a:pt x="7" y="0"/>
                    </a:cubicBezTo>
                    <a:cubicBezTo>
                      <a:pt x="12" y="0"/>
                      <a:pt x="14" y="3"/>
                      <a:pt x="14" y="6"/>
                    </a:cubicBezTo>
                    <a:cubicBezTo>
                      <a:pt x="14" y="12"/>
                      <a:pt x="8" y="17"/>
                      <a:pt x="4" y="20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0"/>
                      <a:pt x="10" y="20"/>
                      <a:pt x="11" y="20"/>
                    </a:cubicBezTo>
                    <a:cubicBezTo>
                      <a:pt x="14" y="20"/>
                      <a:pt x="14" y="19"/>
                      <a:pt x="15" y="17"/>
                    </a:cubicBezTo>
                    <a:cubicBezTo>
                      <a:pt x="15" y="17"/>
                      <a:pt x="15" y="17"/>
                      <a:pt x="15" y="17"/>
                    </a:cubicBezTo>
                    <a:cubicBezTo>
                      <a:pt x="15" y="17"/>
                      <a:pt x="15" y="17"/>
                      <a:pt x="15" y="18"/>
                    </a:cubicBezTo>
                    <a:cubicBezTo>
                      <a:pt x="15" y="18"/>
                      <a:pt x="15" y="21"/>
                      <a:pt x="15" y="22"/>
                    </a:cubicBezTo>
                    <a:cubicBezTo>
                      <a:pt x="14" y="22"/>
                      <a:pt x="14" y="23"/>
                      <a:pt x="12" y="23"/>
                    </a:cubicBez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" name="Freeform 32"/>
              <p:cNvSpPr>
                <a:spLocks noEditPoints="1"/>
              </p:cNvSpPr>
              <p:nvPr/>
            </p:nvSpPr>
            <p:spPr bwMode="auto">
              <a:xfrm>
                <a:off x="6140459" y="6369069"/>
                <a:ext cx="57150" cy="85725"/>
              </a:xfrm>
              <a:custGeom>
                <a:avLst/>
                <a:gdLst>
                  <a:gd name="T0" fmla="*/ 7 w 15"/>
                  <a:gd name="T1" fmla="*/ 23 h 23"/>
                  <a:gd name="T2" fmla="*/ 0 w 15"/>
                  <a:gd name="T3" fmla="*/ 12 h 23"/>
                  <a:gd name="T4" fmla="*/ 8 w 15"/>
                  <a:gd name="T5" fmla="*/ 0 h 23"/>
                  <a:gd name="T6" fmla="*/ 15 w 15"/>
                  <a:gd name="T7" fmla="*/ 11 h 23"/>
                  <a:gd name="T8" fmla="*/ 7 w 15"/>
                  <a:gd name="T9" fmla="*/ 23 h 23"/>
                  <a:gd name="T10" fmla="*/ 7 w 15"/>
                  <a:gd name="T11" fmla="*/ 1 h 23"/>
                  <a:gd name="T12" fmla="*/ 3 w 15"/>
                  <a:gd name="T13" fmla="*/ 11 h 23"/>
                  <a:gd name="T14" fmla="*/ 8 w 15"/>
                  <a:gd name="T15" fmla="*/ 22 h 23"/>
                  <a:gd name="T16" fmla="*/ 12 w 15"/>
                  <a:gd name="T17" fmla="*/ 12 h 23"/>
                  <a:gd name="T18" fmla="*/ 7 w 15"/>
                  <a:gd name="T19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" h="23">
                    <a:moveTo>
                      <a:pt x="7" y="23"/>
                    </a:moveTo>
                    <a:cubicBezTo>
                      <a:pt x="2" y="23"/>
                      <a:pt x="0" y="16"/>
                      <a:pt x="0" y="12"/>
                    </a:cubicBezTo>
                    <a:cubicBezTo>
                      <a:pt x="0" y="5"/>
                      <a:pt x="2" y="0"/>
                      <a:pt x="8" y="0"/>
                    </a:cubicBezTo>
                    <a:cubicBezTo>
                      <a:pt x="14" y="0"/>
                      <a:pt x="15" y="6"/>
                      <a:pt x="15" y="11"/>
                    </a:cubicBezTo>
                    <a:cubicBezTo>
                      <a:pt x="15" y="18"/>
                      <a:pt x="12" y="23"/>
                      <a:pt x="7" y="23"/>
                    </a:cubicBezTo>
                    <a:close/>
                    <a:moveTo>
                      <a:pt x="7" y="1"/>
                    </a:moveTo>
                    <a:cubicBezTo>
                      <a:pt x="5" y="1"/>
                      <a:pt x="3" y="4"/>
                      <a:pt x="3" y="11"/>
                    </a:cubicBezTo>
                    <a:cubicBezTo>
                      <a:pt x="3" y="16"/>
                      <a:pt x="5" y="22"/>
                      <a:pt x="8" y="22"/>
                    </a:cubicBezTo>
                    <a:cubicBezTo>
                      <a:pt x="10" y="22"/>
                      <a:pt x="12" y="18"/>
                      <a:pt x="12" y="12"/>
                    </a:cubicBezTo>
                    <a:cubicBezTo>
                      <a:pt x="12" y="7"/>
                      <a:pt x="10" y="1"/>
                      <a:pt x="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" name="Freeform 33"/>
              <p:cNvSpPr>
                <a:spLocks/>
              </p:cNvSpPr>
              <p:nvPr/>
            </p:nvSpPr>
            <p:spPr bwMode="auto">
              <a:xfrm>
                <a:off x="6211896" y="6369069"/>
                <a:ext cx="41275" cy="85725"/>
              </a:xfrm>
              <a:custGeom>
                <a:avLst/>
                <a:gdLst>
                  <a:gd name="T0" fmla="*/ 4 w 11"/>
                  <a:gd name="T1" fmla="*/ 9 h 23"/>
                  <a:gd name="T2" fmla="*/ 4 w 11"/>
                  <a:gd name="T3" fmla="*/ 5 h 23"/>
                  <a:gd name="T4" fmla="*/ 4 w 11"/>
                  <a:gd name="T5" fmla="*/ 4 h 23"/>
                  <a:gd name="T6" fmla="*/ 0 w 11"/>
                  <a:gd name="T7" fmla="*/ 6 h 23"/>
                  <a:gd name="T8" fmla="*/ 0 w 11"/>
                  <a:gd name="T9" fmla="*/ 6 h 23"/>
                  <a:gd name="T10" fmla="*/ 0 w 11"/>
                  <a:gd name="T11" fmla="*/ 5 h 23"/>
                  <a:gd name="T12" fmla="*/ 0 w 11"/>
                  <a:gd name="T13" fmla="*/ 5 h 23"/>
                  <a:gd name="T14" fmla="*/ 7 w 11"/>
                  <a:gd name="T15" fmla="*/ 0 h 23"/>
                  <a:gd name="T16" fmla="*/ 8 w 11"/>
                  <a:gd name="T17" fmla="*/ 0 h 23"/>
                  <a:gd name="T18" fmla="*/ 8 w 11"/>
                  <a:gd name="T19" fmla="*/ 1 h 23"/>
                  <a:gd name="T20" fmla="*/ 8 w 11"/>
                  <a:gd name="T21" fmla="*/ 8 h 23"/>
                  <a:gd name="T22" fmla="*/ 8 w 11"/>
                  <a:gd name="T23" fmla="*/ 14 h 23"/>
                  <a:gd name="T24" fmla="*/ 8 w 11"/>
                  <a:gd name="T25" fmla="*/ 20 h 23"/>
                  <a:gd name="T26" fmla="*/ 9 w 11"/>
                  <a:gd name="T27" fmla="*/ 22 h 23"/>
                  <a:gd name="T28" fmla="*/ 11 w 11"/>
                  <a:gd name="T29" fmla="*/ 22 h 23"/>
                  <a:gd name="T30" fmla="*/ 11 w 11"/>
                  <a:gd name="T31" fmla="*/ 22 h 23"/>
                  <a:gd name="T32" fmla="*/ 11 w 11"/>
                  <a:gd name="T33" fmla="*/ 23 h 23"/>
                  <a:gd name="T34" fmla="*/ 6 w 11"/>
                  <a:gd name="T35" fmla="*/ 23 h 23"/>
                  <a:gd name="T36" fmla="*/ 1 w 11"/>
                  <a:gd name="T37" fmla="*/ 23 h 23"/>
                  <a:gd name="T38" fmla="*/ 0 w 11"/>
                  <a:gd name="T39" fmla="*/ 22 h 23"/>
                  <a:gd name="T40" fmla="*/ 1 w 11"/>
                  <a:gd name="T41" fmla="*/ 22 h 23"/>
                  <a:gd name="T42" fmla="*/ 3 w 11"/>
                  <a:gd name="T43" fmla="*/ 22 h 23"/>
                  <a:gd name="T44" fmla="*/ 4 w 11"/>
                  <a:gd name="T45" fmla="*/ 20 h 23"/>
                  <a:gd name="T46" fmla="*/ 4 w 11"/>
                  <a:gd name="T47" fmla="*/ 14 h 23"/>
                  <a:gd name="T48" fmla="*/ 4 w 11"/>
                  <a:gd name="T49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1" h="23">
                    <a:moveTo>
                      <a:pt x="4" y="9"/>
                    </a:moveTo>
                    <a:cubicBezTo>
                      <a:pt x="4" y="7"/>
                      <a:pt x="4" y="6"/>
                      <a:pt x="4" y="5"/>
                    </a:cubicBezTo>
                    <a:cubicBezTo>
                      <a:pt x="4" y="5"/>
                      <a:pt x="4" y="4"/>
                      <a:pt x="4" y="4"/>
                    </a:cubicBezTo>
                    <a:cubicBezTo>
                      <a:pt x="3" y="4"/>
                      <a:pt x="1" y="5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5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6" y="1"/>
                      <a:pt x="7" y="0"/>
                    </a:cubicBezTo>
                    <a:cubicBezTo>
                      <a:pt x="7" y="0"/>
                      <a:pt x="7" y="0"/>
                      <a:pt x="8" y="0"/>
                    </a:cubicBezTo>
                    <a:cubicBezTo>
                      <a:pt x="8" y="0"/>
                      <a:pt x="8" y="0"/>
                      <a:pt x="8" y="1"/>
                    </a:cubicBezTo>
                    <a:cubicBezTo>
                      <a:pt x="8" y="1"/>
                      <a:pt x="8" y="4"/>
                      <a:pt x="8" y="8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7"/>
                      <a:pt x="8" y="19"/>
                      <a:pt x="8" y="20"/>
                    </a:cubicBezTo>
                    <a:cubicBezTo>
                      <a:pt x="8" y="21"/>
                      <a:pt x="8" y="22"/>
                      <a:pt x="9" y="22"/>
                    </a:cubicBezTo>
                    <a:cubicBezTo>
                      <a:pt x="10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3"/>
                      <a:pt x="11" y="23"/>
                      <a:pt x="11" y="23"/>
                    </a:cubicBezTo>
                    <a:cubicBezTo>
                      <a:pt x="9" y="23"/>
                      <a:pt x="7" y="23"/>
                      <a:pt x="6" y="23"/>
                    </a:cubicBezTo>
                    <a:cubicBezTo>
                      <a:pt x="5" y="23"/>
                      <a:pt x="3" y="23"/>
                      <a:pt x="1" y="23"/>
                    </a:cubicBezTo>
                    <a:cubicBezTo>
                      <a:pt x="1" y="23"/>
                      <a:pt x="0" y="23"/>
                      <a:pt x="0" y="22"/>
                    </a:cubicBezTo>
                    <a:cubicBezTo>
                      <a:pt x="0" y="22"/>
                      <a:pt x="0" y="22"/>
                      <a:pt x="1" y="22"/>
                    </a:cubicBezTo>
                    <a:cubicBezTo>
                      <a:pt x="1" y="22"/>
                      <a:pt x="2" y="22"/>
                      <a:pt x="3" y="22"/>
                    </a:cubicBezTo>
                    <a:cubicBezTo>
                      <a:pt x="4" y="22"/>
                      <a:pt x="4" y="21"/>
                      <a:pt x="4" y="20"/>
                    </a:cubicBezTo>
                    <a:cubicBezTo>
                      <a:pt x="4" y="19"/>
                      <a:pt x="4" y="17"/>
                      <a:pt x="4" y="14"/>
                    </a:cubicBezTo>
                    <a:lnTo>
                      <a:pt x="4" y="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" name="Freeform 34"/>
              <p:cNvSpPr>
                <a:spLocks/>
              </p:cNvSpPr>
              <p:nvPr/>
            </p:nvSpPr>
            <p:spPr bwMode="auto">
              <a:xfrm>
                <a:off x="6272221" y="6369069"/>
                <a:ext cx="49213" cy="85725"/>
              </a:xfrm>
              <a:custGeom>
                <a:avLst/>
                <a:gdLst>
                  <a:gd name="T0" fmla="*/ 0 w 13"/>
                  <a:gd name="T1" fmla="*/ 23 h 23"/>
                  <a:gd name="T2" fmla="*/ 0 w 13"/>
                  <a:gd name="T3" fmla="*/ 21 h 23"/>
                  <a:gd name="T4" fmla="*/ 0 w 13"/>
                  <a:gd name="T5" fmla="*/ 18 h 23"/>
                  <a:gd name="T6" fmla="*/ 0 w 13"/>
                  <a:gd name="T7" fmla="*/ 17 h 23"/>
                  <a:gd name="T8" fmla="*/ 1 w 13"/>
                  <a:gd name="T9" fmla="*/ 18 h 23"/>
                  <a:gd name="T10" fmla="*/ 5 w 13"/>
                  <a:gd name="T11" fmla="*/ 22 h 23"/>
                  <a:gd name="T12" fmla="*/ 9 w 13"/>
                  <a:gd name="T13" fmla="*/ 16 h 23"/>
                  <a:gd name="T14" fmla="*/ 2 w 13"/>
                  <a:gd name="T15" fmla="*/ 9 h 23"/>
                  <a:gd name="T16" fmla="*/ 2 w 13"/>
                  <a:gd name="T17" fmla="*/ 9 h 23"/>
                  <a:gd name="T18" fmla="*/ 2 w 13"/>
                  <a:gd name="T19" fmla="*/ 1 h 23"/>
                  <a:gd name="T20" fmla="*/ 3 w 13"/>
                  <a:gd name="T21" fmla="*/ 1 h 23"/>
                  <a:gd name="T22" fmla="*/ 10 w 13"/>
                  <a:gd name="T23" fmla="*/ 1 h 23"/>
                  <a:gd name="T24" fmla="*/ 12 w 13"/>
                  <a:gd name="T25" fmla="*/ 0 h 23"/>
                  <a:gd name="T26" fmla="*/ 12 w 13"/>
                  <a:gd name="T27" fmla="*/ 0 h 23"/>
                  <a:gd name="T28" fmla="*/ 12 w 13"/>
                  <a:gd name="T29" fmla="*/ 1 h 23"/>
                  <a:gd name="T30" fmla="*/ 12 w 13"/>
                  <a:gd name="T31" fmla="*/ 5 h 23"/>
                  <a:gd name="T32" fmla="*/ 12 w 13"/>
                  <a:gd name="T33" fmla="*/ 5 h 23"/>
                  <a:gd name="T34" fmla="*/ 12 w 13"/>
                  <a:gd name="T35" fmla="*/ 5 h 23"/>
                  <a:gd name="T36" fmla="*/ 9 w 13"/>
                  <a:gd name="T37" fmla="*/ 3 h 23"/>
                  <a:gd name="T38" fmla="*/ 4 w 13"/>
                  <a:gd name="T39" fmla="*/ 3 h 23"/>
                  <a:gd name="T40" fmla="*/ 3 w 13"/>
                  <a:gd name="T41" fmla="*/ 7 h 23"/>
                  <a:gd name="T42" fmla="*/ 13 w 13"/>
                  <a:gd name="T43" fmla="*/ 15 h 23"/>
                  <a:gd name="T44" fmla="*/ 3 w 13"/>
                  <a:gd name="T45" fmla="*/ 23 h 23"/>
                  <a:gd name="T46" fmla="*/ 0 w 13"/>
                  <a:gd name="T47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" h="23">
                    <a:moveTo>
                      <a:pt x="0" y="23"/>
                    </a:moveTo>
                    <a:cubicBezTo>
                      <a:pt x="0" y="22"/>
                      <a:pt x="0" y="22"/>
                      <a:pt x="0" y="21"/>
                    </a:cubicBezTo>
                    <a:cubicBezTo>
                      <a:pt x="0" y="20"/>
                      <a:pt x="0" y="19"/>
                      <a:pt x="0" y="18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" y="17"/>
                      <a:pt x="1" y="17"/>
                      <a:pt x="1" y="18"/>
                    </a:cubicBezTo>
                    <a:cubicBezTo>
                      <a:pt x="1" y="21"/>
                      <a:pt x="3" y="22"/>
                      <a:pt x="5" y="22"/>
                    </a:cubicBezTo>
                    <a:cubicBezTo>
                      <a:pt x="7" y="22"/>
                      <a:pt x="9" y="20"/>
                      <a:pt x="9" y="16"/>
                    </a:cubicBezTo>
                    <a:cubicBezTo>
                      <a:pt x="9" y="12"/>
                      <a:pt x="4" y="10"/>
                      <a:pt x="2" y="9"/>
                    </a:cubicBezTo>
                    <a:cubicBezTo>
                      <a:pt x="2" y="9"/>
                      <a:pt x="1" y="9"/>
                      <a:pt x="2" y="9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3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1" y="1"/>
                      <a:pt x="11" y="1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1"/>
                    </a:cubicBezTo>
                    <a:cubicBezTo>
                      <a:pt x="12" y="2"/>
                      <a:pt x="12" y="3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2" y="4"/>
                      <a:pt x="11" y="3"/>
                      <a:pt x="9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8" y="7"/>
                      <a:pt x="13" y="10"/>
                      <a:pt x="13" y="15"/>
                    </a:cubicBezTo>
                    <a:cubicBezTo>
                      <a:pt x="13" y="19"/>
                      <a:pt x="10" y="23"/>
                      <a:pt x="3" y="23"/>
                    </a:cubicBezTo>
                    <a:cubicBezTo>
                      <a:pt x="2" y="23"/>
                      <a:pt x="1" y="23"/>
                      <a:pt x="0" y="23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" name="Freeform 35"/>
              <p:cNvSpPr>
                <a:spLocks/>
              </p:cNvSpPr>
              <p:nvPr/>
            </p:nvSpPr>
            <p:spPr bwMode="auto">
              <a:xfrm>
                <a:off x="4930782" y="5718192"/>
                <a:ext cx="112713" cy="104775"/>
              </a:xfrm>
              <a:custGeom>
                <a:avLst/>
                <a:gdLst>
                  <a:gd name="T0" fmla="*/ 13 w 30"/>
                  <a:gd name="T1" fmla="*/ 18 h 28"/>
                  <a:gd name="T2" fmla="*/ 12 w 30"/>
                  <a:gd name="T3" fmla="*/ 14 h 28"/>
                  <a:gd name="T4" fmla="*/ 5 w 30"/>
                  <a:gd name="T5" fmla="*/ 4 h 28"/>
                  <a:gd name="T6" fmla="*/ 3 w 30"/>
                  <a:gd name="T7" fmla="*/ 1 h 28"/>
                  <a:gd name="T8" fmla="*/ 1 w 30"/>
                  <a:gd name="T9" fmla="*/ 1 h 28"/>
                  <a:gd name="T10" fmla="*/ 0 w 30"/>
                  <a:gd name="T11" fmla="*/ 0 h 28"/>
                  <a:gd name="T12" fmla="*/ 1 w 30"/>
                  <a:gd name="T13" fmla="*/ 0 h 28"/>
                  <a:gd name="T14" fmla="*/ 6 w 30"/>
                  <a:gd name="T15" fmla="*/ 0 h 28"/>
                  <a:gd name="T16" fmla="*/ 10 w 30"/>
                  <a:gd name="T17" fmla="*/ 0 h 28"/>
                  <a:gd name="T18" fmla="*/ 11 w 30"/>
                  <a:gd name="T19" fmla="*/ 0 h 28"/>
                  <a:gd name="T20" fmla="*/ 10 w 30"/>
                  <a:gd name="T21" fmla="*/ 1 h 28"/>
                  <a:gd name="T22" fmla="*/ 9 w 30"/>
                  <a:gd name="T23" fmla="*/ 1 h 28"/>
                  <a:gd name="T24" fmla="*/ 10 w 30"/>
                  <a:gd name="T25" fmla="*/ 3 h 28"/>
                  <a:gd name="T26" fmla="*/ 16 w 30"/>
                  <a:gd name="T27" fmla="*/ 13 h 28"/>
                  <a:gd name="T28" fmla="*/ 22 w 30"/>
                  <a:gd name="T29" fmla="*/ 4 h 28"/>
                  <a:gd name="T30" fmla="*/ 22 w 30"/>
                  <a:gd name="T31" fmla="*/ 2 h 28"/>
                  <a:gd name="T32" fmla="*/ 22 w 30"/>
                  <a:gd name="T33" fmla="*/ 1 h 28"/>
                  <a:gd name="T34" fmla="*/ 21 w 30"/>
                  <a:gd name="T35" fmla="*/ 0 h 28"/>
                  <a:gd name="T36" fmla="*/ 22 w 30"/>
                  <a:gd name="T37" fmla="*/ 0 h 28"/>
                  <a:gd name="T38" fmla="*/ 25 w 30"/>
                  <a:gd name="T39" fmla="*/ 0 h 28"/>
                  <a:gd name="T40" fmla="*/ 29 w 30"/>
                  <a:gd name="T41" fmla="*/ 0 h 28"/>
                  <a:gd name="T42" fmla="*/ 30 w 30"/>
                  <a:gd name="T43" fmla="*/ 0 h 28"/>
                  <a:gd name="T44" fmla="*/ 29 w 30"/>
                  <a:gd name="T45" fmla="*/ 1 h 28"/>
                  <a:gd name="T46" fmla="*/ 28 w 30"/>
                  <a:gd name="T47" fmla="*/ 1 h 28"/>
                  <a:gd name="T48" fmla="*/ 26 w 30"/>
                  <a:gd name="T49" fmla="*/ 3 h 28"/>
                  <a:gd name="T50" fmla="*/ 18 w 30"/>
                  <a:gd name="T51" fmla="*/ 15 h 28"/>
                  <a:gd name="T52" fmla="*/ 18 w 30"/>
                  <a:gd name="T53" fmla="*/ 18 h 28"/>
                  <a:gd name="T54" fmla="*/ 18 w 30"/>
                  <a:gd name="T55" fmla="*/ 21 h 28"/>
                  <a:gd name="T56" fmla="*/ 18 w 30"/>
                  <a:gd name="T57" fmla="*/ 25 h 28"/>
                  <a:gd name="T58" fmla="*/ 19 w 30"/>
                  <a:gd name="T59" fmla="*/ 27 h 28"/>
                  <a:gd name="T60" fmla="*/ 21 w 30"/>
                  <a:gd name="T61" fmla="*/ 27 h 28"/>
                  <a:gd name="T62" fmla="*/ 22 w 30"/>
                  <a:gd name="T63" fmla="*/ 28 h 28"/>
                  <a:gd name="T64" fmla="*/ 21 w 30"/>
                  <a:gd name="T65" fmla="*/ 28 h 28"/>
                  <a:gd name="T66" fmla="*/ 15 w 30"/>
                  <a:gd name="T67" fmla="*/ 28 h 28"/>
                  <a:gd name="T68" fmla="*/ 10 w 30"/>
                  <a:gd name="T69" fmla="*/ 28 h 28"/>
                  <a:gd name="T70" fmla="*/ 9 w 30"/>
                  <a:gd name="T71" fmla="*/ 28 h 28"/>
                  <a:gd name="T72" fmla="*/ 10 w 30"/>
                  <a:gd name="T73" fmla="*/ 27 h 28"/>
                  <a:gd name="T74" fmla="*/ 11 w 30"/>
                  <a:gd name="T75" fmla="*/ 27 h 28"/>
                  <a:gd name="T76" fmla="*/ 13 w 30"/>
                  <a:gd name="T77" fmla="*/ 25 h 28"/>
                  <a:gd name="T78" fmla="*/ 13 w 30"/>
                  <a:gd name="T79" fmla="*/ 21 h 28"/>
                  <a:gd name="T80" fmla="*/ 13 w 30"/>
                  <a:gd name="T81" fmla="*/ 1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0" h="28">
                    <a:moveTo>
                      <a:pt x="13" y="18"/>
                    </a:moveTo>
                    <a:cubicBezTo>
                      <a:pt x="13" y="16"/>
                      <a:pt x="12" y="16"/>
                      <a:pt x="12" y="14"/>
                    </a:cubicBezTo>
                    <a:cubicBezTo>
                      <a:pt x="12" y="14"/>
                      <a:pt x="6" y="6"/>
                      <a:pt x="5" y="4"/>
                    </a:cubicBezTo>
                    <a:cubicBezTo>
                      <a:pt x="4" y="2"/>
                      <a:pt x="3" y="2"/>
                      <a:pt x="3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2" y="0"/>
                      <a:pt x="5" y="0"/>
                      <a:pt x="6" y="0"/>
                    </a:cubicBezTo>
                    <a:cubicBezTo>
                      <a:pt x="7" y="0"/>
                      <a:pt x="8" y="0"/>
                      <a:pt x="10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1"/>
                      <a:pt x="11" y="1"/>
                      <a:pt x="10" y="1"/>
                    </a:cubicBezTo>
                    <a:cubicBezTo>
                      <a:pt x="10" y="1"/>
                      <a:pt x="9" y="1"/>
                      <a:pt x="9" y="1"/>
                    </a:cubicBezTo>
                    <a:cubicBezTo>
                      <a:pt x="9" y="2"/>
                      <a:pt x="10" y="2"/>
                      <a:pt x="10" y="3"/>
                    </a:cubicBezTo>
                    <a:cubicBezTo>
                      <a:pt x="11" y="4"/>
                      <a:pt x="16" y="12"/>
                      <a:pt x="16" y="13"/>
                    </a:cubicBezTo>
                    <a:cubicBezTo>
                      <a:pt x="17" y="13"/>
                      <a:pt x="21" y="5"/>
                      <a:pt x="22" y="4"/>
                    </a:cubicBezTo>
                    <a:cubicBezTo>
                      <a:pt x="22" y="3"/>
                      <a:pt x="22" y="2"/>
                      <a:pt x="22" y="2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1" y="1"/>
                      <a:pt x="21" y="1"/>
                      <a:pt x="21" y="0"/>
                    </a:cubicBezTo>
                    <a:cubicBezTo>
                      <a:pt x="21" y="0"/>
                      <a:pt x="21" y="0"/>
                      <a:pt x="22" y="0"/>
                    </a:cubicBezTo>
                    <a:cubicBezTo>
                      <a:pt x="23" y="0"/>
                      <a:pt x="24" y="0"/>
                      <a:pt x="25" y="0"/>
                    </a:cubicBezTo>
                    <a:cubicBezTo>
                      <a:pt x="26" y="0"/>
                      <a:pt x="29" y="0"/>
                      <a:pt x="29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0" y="1"/>
                      <a:pt x="30" y="1"/>
                      <a:pt x="29" y="1"/>
                    </a:cubicBezTo>
                    <a:cubicBezTo>
                      <a:pt x="29" y="1"/>
                      <a:pt x="28" y="1"/>
                      <a:pt x="28" y="1"/>
                    </a:cubicBezTo>
                    <a:cubicBezTo>
                      <a:pt x="27" y="2"/>
                      <a:pt x="27" y="2"/>
                      <a:pt x="26" y="3"/>
                    </a:cubicBezTo>
                    <a:cubicBezTo>
                      <a:pt x="25" y="4"/>
                      <a:pt x="19" y="13"/>
                      <a:pt x="18" y="15"/>
                    </a:cubicBezTo>
                    <a:cubicBezTo>
                      <a:pt x="18" y="16"/>
                      <a:pt x="18" y="17"/>
                      <a:pt x="18" y="18"/>
                    </a:cubicBezTo>
                    <a:cubicBezTo>
                      <a:pt x="18" y="21"/>
                      <a:pt x="18" y="21"/>
                      <a:pt x="18" y="21"/>
                    </a:cubicBezTo>
                    <a:cubicBezTo>
                      <a:pt x="18" y="22"/>
                      <a:pt x="18" y="24"/>
                      <a:pt x="18" y="25"/>
                    </a:cubicBezTo>
                    <a:cubicBezTo>
                      <a:pt x="18" y="26"/>
                      <a:pt x="18" y="27"/>
                      <a:pt x="19" y="27"/>
                    </a:cubicBezTo>
                    <a:cubicBezTo>
                      <a:pt x="20" y="27"/>
                      <a:pt x="21" y="27"/>
                      <a:pt x="21" y="27"/>
                    </a:cubicBezTo>
                    <a:cubicBezTo>
                      <a:pt x="22" y="27"/>
                      <a:pt x="22" y="27"/>
                      <a:pt x="22" y="28"/>
                    </a:cubicBezTo>
                    <a:cubicBezTo>
                      <a:pt x="22" y="28"/>
                      <a:pt x="22" y="28"/>
                      <a:pt x="21" y="28"/>
                    </a:cubicBezTo>
                    <a:cubicBezTo>
                      <a:pt x="19" y="28"/>
                      <a:pt x="16" y="28"/>
                      <a:pt x="15" y="28"/>
                    </a:cubicBezTo>
                    <a:cubicBezTo>
                      <a:pt x="14" y="28"/>
                      <a:pt x="12" y="28"/>
                      <a:pt x="10" y="28"/>
                    </a:cubicBezTo>
                    <a:cubicBezTo>
                      <a:pt x="10" y="28"/>
                      <a:pt x="9" y="28"/>
                      <a:pt x="9" y="28"/>
                    </a:cubicBezTo>
                    <a:cubicBezTo>
                      <a:pt x="9" y="27"/>
                      <a:pt x="10" y="27"/>
                      <a:pt x="10" y="27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12" y="27"/>
                      <a:pt x="12" y="26"/>
                      <a:pt x="13" y="25"/>
                    </a:cubicBezTo>
                    <a:cubicBezTo>
                      <a:pt x="13" y="24"/>
                      <a:pt x="13" y="22"/>
                      <a:pt x="13" y="21"/>
                    </a:cubicBezTo>
                    <a:lnTo>
                      <a:pt x="13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" name="Freeform 36"/>
              <p:cNvSpPr>
                <a:spLocks/>
              </p:cNvSpPr>
              <p:nvPr/>
            </p:nvSpPr>
            <p:spPr bwMode="auto">
              <a:xfrm>
                <a:off x="5040320" y="5718192"/>
                <a:ext cx="77788" cy="104775"/>
              </a:xfrm>
              <a:custGeom>
                <a:avLst/>
                <a:gdLst>
                  <a:gd name="T0" fmla="*/ 4 w 21"/>
                  <a:gd name="T1" fmla="*/ 11 h 28"/>
                  <a:gd name="T2" fmla="*/ 4 w 21"/>
                  <a:gd name="T3" fmla="*/ 3 h 28"/>
                  <a:gd name="T4" fmla="*/ 2 w 21"/>
                  <a:gd name="T5" fmla="*/ 1 h 28"/>
                  <a:gd name="T6" fmla="*/ 1 w 21"/>
                  <a:gd name="T7" fmla="*/ 1 h 28"/>
                  <a:gd name="T8" fmla="*/ 0 w 21"/>
                  <a:gd name="T9" fmla="*/ 0 h 28"/>
                  <a:gd name="T10" fmla="*/ 1 w 21"/>
                  <a:gd name="T11" fmla="*/ 0 h 28"/>
                  <a:gd name="T12" fmla="*/ 7 w 21"/>
                  <a:gd name="T13" fmla="*/ 0 h 28"/>
                  <a:gd name="T14" fmla="*/ 17 w 21"/>
                  <a:gd name="T15" fmla="*/ 0 h 28"/>
                  <a:gd name="T16" fmla="*/ 19 w 21"/>
                  <a:gd name="T17" fmla="*/ 0 h 28"/>
                  <a:gd name="T18" fmla="*/ 19 w 21"/>
                  <a:gd name="T19" fmla="*/ 0 h 28"/>
                  <a:gd name="T20" fmla="*/ 20 w 21"/>
                  <a:gd name="T21" fmla="*/ 0 h 28"/>
                  <a:gd name="T22" fmla="*/ 19 w 21"/>
                  <a:gd name="T23" fmla="*/ 2 h 28"/>
                  <a:gd name="T24" fmla="*/ 19 w 21"/>
                  <a:gd name="T25" fmla="*/ 5 h 28"/>
                  <a:gd name="T26" fmla="*/ 19 w 21"/>
                  <a:gd name="T27" fmla="*/ 5 h 28"/>
                  <a:gd name="T28" fmla="*/ 18 w 21"/>
                  <a:gd name="T29" fmla="*/ 5 h 28"/>
                  <a:gd name="T30" fmla="*/ 18 w 21"/>
                  <a:gd name="T31" fmla="*/ 4 h 28"/>
                  <a:gd name="T32" fmla="*/ 16 w 21"/>
                  <a:gd name="T33" fmla="*/ 2 h 28"/>
                  <a:gd name="T34" fmla="*/ 10 w 21"/>
                  <a:gd name="T35" fmla="*/ 2 h 28"/>
                  <a:gd name="T36" fmla="*/ 9 w 21"/>
                  <a:gd name="T37" fmla="*/ 2 h 28"/>
                  <a:gd name="T38" fmla="*/ 9 w 21"/>
                  <a:gd name="T39" fmla="*/ 12 h 28"/>
                  <a:gd name="T40" fmla="*/ 10 w 21"/>
                  <a:gd name="T41" fmla="*/ 12 h 28"/>
                  <a:gd name="T42" fmla="*/ 16 w 21"/>
                  <a:gd name="T43" fmla="*/ 12 h 28"/>
                  <a:gd name="T44" fmla="*/ 18 w 21"/>
                  <a:gd name="T45" fmla="*/ 11 h 28"/>
                  <a:gd name="T46" fmla="*/ 19 w 21"/>
                  <a:gd name="T47" fmla="*/ 11 h 28"/>
                  <a:gd name="T48" fmla="*/ 19 w 21"/>
                  <a:gd name="T49" fmla="*/ 11 h 28"/>
                  <a:gd name="T50" fmla="*/ 19 w 21"/>
                  <a:gd name="T51" fmla="*/ 14 h 28"/>
                  <a:gd name="T52" fmla="*/ 19 w 21"/>
                  <a:gd name="T53" fmla="*/ 16 h 28"/>
                  <a:gd name="T54" fmla="*/ 18 w 21"/>
                  <a:gd name="T55" fmla="*/ 17 h 28"/>
                  <a:gd name="T56" fmla="*/ 18 w 21"/>
                  <a:gd name="T57" fmla="*/ 17 h 28"/>
                  <a:gd name="T58" fmla="*/ 18 w 21"/>
                  <a:gd name="T59" fmla="*/ 16 h 28"/>
                  <a:gd name="T60" fmla="*/ 16 w 21"/>
                  <a:gd name="T61" fmla="*/ 14 h 28"/>
                  <a:gd name="T62" fmla="*/ 10 w 21"/>
                  <a:gd name="T63" fmla="*/ 14 h 28"/>
                  <a:gd name="T64" fmla="*/ 9 w 21"/>
                  <a:gd name="T65" fmla="*/ 14 h 28"/>
                  <a:gd name="T66" fmla="*/ 9 w 21"/>
                  <a:gd name="T67" fmla="*/ 17 h 28"/>
                  <a:gd name="T68" fmla="*/ 9 w 21"/>
                  <a:gd name="T69" fmla="*/ 23 h 28"/>
                  <a:gd name="T70" fmla="*/ 14 w 21"/>
                  <a:gd name="T71" fmla="*/ 26 h 28"/>
                  <a:gd name="T72" fmla="*/ 18 w 21"/>
                  <a:gd name="T73" fmla="*/ 25 h 28"/>
                  <a:gd name="T74" fmla="*/ 20 w 21"/>
                  <a:gd name="T75" fmla="*/ 23 h 28"/>
                  <a:gd name="T76" fmla="*/ 20 w 21"/>
                  <a:gd name="T77" fmla="*/ 22 h 28"/>
                  <a:gd name="T78" fmla="*/ 21 w 21"/>
                  <a:gd name="T79" fmla="*/ 23 h 28"/>
                  <a:gd name="T80" fmla="*/ 20 w 21"/>
                  <a:gd name="T81" fmla="*/ 27 h 28"/>
                  <a:gd name="T82" fmla="*/ 18 w 21"/>
                  <a:gd name="T83" fmla="*/ 28 h 28"/>
                  <a:gd name="T84" fmla="*/ 11 w 21"/>
                  <a:gd name="T85" fmla="*/ 28 h 28"/>
                  <a:gd name="T86" fmla="*/ 6 w 21"/>
                  <a:gd name="T87" fmla="*/ 28 h 28"/>
                  <a:gd name="T88" fmla="*/ 4 w 21"/>
                  <a:gd name="T89" fmla="*/ 28 h 28"/>
                  <a:gd name="T90" fmla="*/ 2 w 21"/>
                  <a:gd name="T91" fmla="*/ 28 h 28"/>
                  <a:gd name="T92" fmla="*/ 1 w 21"/>
                  <a:gd name="T93" fmla="*/ 28 h 28"/>
                  <a:gd name="T94" fmla="*/ 2 w 21"/>
                  <a:gd name="T95" fmla="*/ 27 h 28"/>
                  <a:gd name="T96" fmla="*/ 3 w 21"/>
                  <a:gd name="T97" fmla="*/ 27 h 28"/>
                  <a:gd name="T98" fmla="*/ 4 w 21"/>
                  <a:gd name="T99" fmla="*/ 25 h 28"/>
                  <a:gd name="T100" fmla="*/ 4 w 21"/>
                  <a:gd name="T101" fmla="*/ 17 h 28"/>
                  <a:gd name="T102" fmla="*/ 4 w 21"/>
                  <a:gd name="T103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" h="28">
                    <a:moveTo>
                      <a:pt x="4" y="11"/>
                    </a:moveTo>
                    <a:cubicBezTo>
                      <a:pt x="4" y="5"/>
                      <a:pt x="4" y="4"/>
                      <a:pt x="4" y="3"/>
                    </a:cubicBezTo>
                    <a:cubicBezTo>
                      <a:pt x="4" y="2"/>
                      <a:pt x="4" y="1"/>
                      <a:pt x="2" y="1"/>
                    </a:cubicBezTo>
                    <a:cubicBezTo>
                      <a:pt x="2" y="1"/>
                      <a:pt x="2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3" y="0"/>
                      <a:pt x="6" y="0"/>
                      <a:pt x="7" y="0"/>
                    </a:cubicBezTo>
                    <a:cubicBezTo>
                      <a:pt x="8" y="0"/>
                      <a:pt x="16" y="0"/>
                      <a:pt x="17" y="0"/>
                    </a:cubicBezTo>
                    <a:cubicBezTo>
                      <a:pt x="18" y="0"/>
                      <a:pt x="18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19" y="1"/>
                      <a:pt x="19" y="2"/>
                    </a:cubicBezTo>
                    <a:cubicBezTo>
                      <a:pt x="19" y="3"/>
                      <a:pt x="19" y="4"/>
                      <a:pt x="19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5"/>
                      <a:pt x="18" y="4"/>
                      <a:pt x="18" y="4"/>
                    </a:cubicBezTo>
                    <a:cubicBezTo>
                      <a:pt x="18" y="3"/>
                      <a:pt x="17" y="2"/>
                      <a:pt x="16" y="2"/>
                    </a:cubicBezTo>
                    <a:cubicBezTo>
                      <a:pt x="15" y="2"/>
                      <a:pt x="10" y="2"/>
                      <a:pt x="10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2"/>
                      <a:pt x="9" y="12"/>
                      <a:pt x="10" y="12"/>
                    </a:cubicBezTo>
                    <a:cubicBezTo>
                      <a:pt x="10" y="12"/>
                      <a:pt x="15" y="12"/>
                      <a:pt x="16" y="12"/>
                    </a:cubicBezTo>
                    <a:cubicBezTo>
                      <a:pt x="17" y="12"/>
                      <a:pt x="18" y="12"/>
                      <a:pt x="18" y="11"/>
                    </a:cubicBezTo>
                    <a:cubicBezTo>
                      <a:pt x="18" y="11"/>
                      <a:pt x="19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1"/>
                      <a:pt x="19" y="12"/>
                      <a:pt x="19" y="14"/>
                    </a:cubicBezTo>
                    <a:cubicBezTo>
                      <a:pt x="19" y="15"/>
                      <a:pt x="19" y="16"/>
                      <a:pt x="19" y="16"/>
                    </a:cubicBezTo>
                    <a:cubicBezTo>
                      <a:pt x="19" y="17"/>
                      <a:pt x="18" y="17"/>
                      <a:pt x="18" y="17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8" y="17"/>
                      <a:pt x="18" y="16"/>
                      <a:pt x="18" y="16"/>
                    </a:cubicBezTo>
                    <a:cubicBezTo>
                      <a:pt x="17" y="15"/>
                      <a:pt x="17" y="14"/>
                      <a:pt x="16" y="14"/>
                    </a:cubicBezTo>
                    <a:cubicBezTo>
                      <a:pt x="15" y="14"/>
                      <a:pt x="10" y="14"/>
                      <a:pt x="10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9" y="19"/>
                      <a:pt x="9" y="22"/>
                      <a:pt x="9" y="23"/>
                    </a:cubicBezTo>
                    <a:cubicBezTo>
                      <a:pt x="9" y="25"/>
                      <a:pt x="11" y="26"/>
                      <a:pt x="14" y="26"/>
                    </a:cubicBezTo>
                    <a:cubicBezTo>
                      <a:pt x="15" y="26"/>
                      <a:pt x="17" y="26"/>
                      <a:pt x="18" y="25"/>
                    </a:cubicBezTo>
                    <a:cubicBezTo>
                      <a:pt x="19" y="25"/>
                      <a:pt x="19" y="24"/>
                      <a:pt x="20" y="23"/>
                    </a:cubicBezTo>
                    <a:cubicBezTo>
                      <a:pt x="20" y="22"/>
                      <a:pt x="20" y="22"/>
                      <a:pt x="20" y="22"/>
                    </a:cubicBezTo>
                    <a:cubicBezTo>
                      <a:pt x="21" y="22"/>
                      <a:pt x="21" y="23"/>
                      <a:pt x="21" y="23"/>
                    </a:cubicBezTo>
                    <a:cubicBezTo>
                      <a:pt x="21" y="24"/>
                      <a:pt x="20" y="26"/>
                      <a:pt x="20" y="27"/>
                    </a:cubicBezTo>
                    <a:cubicBezTo>
                      <a:pt x="20" y="28"/>
                      <a:pt x="19" y="28"/>
                      <a:pt x="18" y="28"/>
                    </a:cubicBezTo>
                    <a:cubicBezTo>
                      <a:pt x="15" y="28"/>
                      <a:pt x="13" y="28"/>
                      <a:pt x="11" y="28"/>
                    </a:cubicBezTo>
                    <a:cubicBezTo>
                      <a:pt x="9" y="28"/>
                      <a:pt x="8" y="28"/>
                      <a:pt x="6" y="28"/>
                    </a:cubicBezTo>
                    <a:cubicBezTo>
                      <a:pt x="6" y="28"/>
                      <a:pt x="5" y="28"/>
                      <a:pt x="4" y="28"/>
                    </a:cubicBezTo>
                    <a:cubicBezTo>
                      <a:pt x="3" y="28"/>
                      <a:pt x="2" y="28"/>
                      <a:pt x="2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7"/>
                      <a:pt x="1" y="27"/>
                      <a:pt x="2" y="27"/>
                    </a:cubicBezTo>
                    <a:cubicBezTo>
                      <a:pt x="2" y="27"/>
                      <a:pt x="3" y="27"/>
                      <a:pt x="3" y="27"/>
                    </a:cubicBezTo>
                    <a:cubicBezTo>
                      <a:pt x="4" y="27"/>
                      <a:pt x="4" y="26"/>
                      <a:pt x="4" y="25"/>
                    </a:cubicBezTo>
                    <a:cubicBezTo>
                      <a:pt x="4" y="24"/>
                      <a:pt x="4" y="21"/>
                      <a:pt x="4" y="17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" name="Freeform 37"/>
              <p:cNvSpPr>
                <a:spLocks noEditPoints="1"/>
              </p:cNvSpPr>
              <p:nvPr/>
            </p:nvSpPr>
            <p:spPr bwMode="auto">
              <a:xfrm>
                <a:off x="5111757" y="5715017"/>
                <a:ext cx="123825" cy="107950"/>
              </a:xfrm>
              <a:custGeom>
                <a:avLst/>
                <a:gdLst>
                  <a:gd name="T0" fmla="*/ 11 w 33"/>
                  <a:gd name="T1" fmla="*/ 20 h 29"/>
                  <a:gd name="T2" fmla="*/ 10 w 33"/>
                  <a:gd name="T3" fmla="*/ 20 h 29"/>
                  <a:gd name="T4" fmla="*/ 8 w 33"/>
                  <a:gd name="T5" fmla="*/ 25 h 29"/>
                  <a:gd name="T6" fmla="*/ 8 w 33"/>
                  <a:gd name="T7" fmla="*/ 27 h 29"/>
                  <a:gd name="T8" fmla="*/ 9 w 33"/>
                  <a:gd name="T9" fmla="*/ 28 h 29"/>
                  <a:gd name="T10" fmla="*/ 10 w 33"/>
                  <a:gd name="T11" fmla="*/ 28 h 29"/>
                  <a:gd name="T12" fmla="*/ 11 w 33"/>
                  <a:gd name="T13" fmla="*/ 29 h 29"/>
                  <a:gd name="T14" fmla="*/ 10 w 33"/>
                  <a:gd name="T15" fmla="*/ 29 h 29"/>
                  <a:gd name="T16" fmla="*/ 6 w 33"/>
                  <a:gd name="T17" fmla="*/ 29 h 29"/>
                  <a:gd name="T18" fmla="*/ 1 w 33"/>
                  <a:gd name="T19" fmla="*/ 29 h 29"/>
                  <a:gd name="T20" fmla="*/ 0 w 33"/>
                  <a:gd name="T21" fmla="*/ 29 h 29"/>
                  <a:gd name="T22" fmla="*/ 1 w 33"/>
                  <a:gd name="T23" fmla="*/ 28 h 29"/>
                  <a:gd name="T24" fmla="*/ 2 w 33"/>
                  <a:gd name="T25" fmla="*/ 28 h 29"/>
                  <a:gd name="T26" fmla="*/ 5 w 33"/>
                  <a:gd name="T27" fmla="*/ 25 h 29"/>
                  <a:gd name="T28" fmla="*/ 15 w 33"/>
                  <a:gd name="T29" fmla="*/ 2 h 29"/>
                  <a:gd name="T30" fmla="*/ 16 w 33"/>
                  <a:gd name="T31" fmla="*/ 0 h 29"/>
                  <a:gd name="T32" fmla="*/ 18 w 33"/>
                  <a:gd name="T33" fmla="*/ 1 h 29"/>
                  <a:gd name="T34" fmla="*/ 27 w 33"/>
                  <a:gd name="T35" fmla="*/ 24 h 29"/>
                  <a:gd name="T36" fmla="*/ 31 w 33"/>
                  <a:gd name="T37" fmla="*/ 28 h 29"/>
                  <a:gd name="T38" fmla="*/ 32 w 33"/>
                  <a:gd name="T39" fmla="*/ 28 h 29"/>
                  <a:gd name="T40" fmla="*/ 33 w 33"/>
                  <a:gd name="T41" fmla="*/ 29 h 29"/>
                  <a:gd name="T42" fmla="*/ 31 w 33"/>
                  <a:gd name="T43" fmla="*/ 29 h 29"/>
                  <a:gd name="T44" fmla="*/ 23 w 33"/>
                  <a:gd name="T45" fmla="*/ 29 h 29"/>
                  <a:gd name="T46" fmla="*/ 22 w 33"/>
                  <a:gd name="T47" fmla="*/ 29 h 29"/>
                  <a:gd name="T48" fmla="*/ 23 w 33"/>
                  <a:gd name="T49" fmla="*/ 28 h 29"/>
                  <a:gd name="T50" fmla="*/ 23 w 33"/>
                  <a:gd name="T51" fmla="*/ 27 h 29"/>
                  <a:gd name="T52" fmla="*/ 20 w 33"/>
                  <a:gd name="T53" fmla="*/ 20 h 29"/>
                  <a:gd name="T54" fmla="*/ 20 w 33"/>
                  <a:gd name="T55" fmla="*/ 20 h 29"/>
                  <a:gd name="T56" fmla="*/ 11 w 33"/>
                  <a:gd name="T57" fmla="*/ 20 h 29"/>
                  <a:gd name="T58" fmla="*/ 19 w 33"/>
                  <a:gd name="T59" fmla="*/ 18 h 29"/>
                  <a:gd name="T60" fmla="*/ 19 w 33"/>
                  <a:gd name="T61" fmla="*/ 17 h 29"/>
                  <a:gd name="T62" fmla="*/ 16 w 33"/>
                  <a:gd name="T63" fmla="*/ 8 h 29"/>
                  <a:gd name="T64" fmla="*/ 15 w 33"/>
                  <a:gd name="T65" fmla="*/ 8 h 29"/>
                  <a:gd name="T66" fmla="*/ 15 w 33"/>
                  <a:gd name="T67" fmla="*/ 8 h 29"/>
                  <a:gd name="T68" fmla="*/ 11 w 33"/>
                  <a:gd name="T69" fmla="*/ 17 h 29"/>
                  <a:gd name="T70" fmla="*/ 12 w 33"/>
                  <a:gd name="T71" fmla="*/ 18 h 29"/>
                  <a:gd name="T72" fmla="*/ 19 w 33"/>
                  <a:gd name="T73" fmla="*/ 18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3" h="29">
                    <a:moveTo>
                      <a:pt x="11" y="20"/>
                    </a:moveTo>
                    <a:cubicBezTo>
                      <a:pt x="11" y="20"/>
                      <a:pt x="11" y="20"/>
                      <a:pt x="10" y="20"/>
                    </a:cubicBezTo>
                    <a:cubicBezTo>
                      <a:pt x="8" y="25"/>
                      <a:pt x="8" y="25"/>
                      <a:pt x="8" y="25"/>
                    </a:cubicBezTo>
                    <a:cubicBezTo>
                      <a:pt x="8" y="26"/>
                      <a:pt x="8" y="27"/>
                      <a:pt x="8" y="27"/>
                    </a:cubicBezTo>
                    <a:cubicBezTo>
                      <a:pt x="8" y="28"/>
                      <a:pt x="8" y="28"/>
                      <a:pt x="9" y="28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10" y="28"/>
                      <a:pt x="11" y="28"/>
                      <a:pt x="11" y="29"/>
                    </a:cubicBezTo>
                    <a:cubicBezTo>
                      <a:pt x="11" y="29"/>
                      <a:pt x="10" y="29"/>
                      <a:pt x="10" y="29"/>
                    </a:cubicBezTo>
                    <a:cubicBezTo>
                      <a:pt x="9" y="29"/>
                      <a:pt x="7" y="29"/>
                      <a:pt x="6" y="29"/>
                    </a:cubicBezTo>
                    <a:cubicBezTo>
                      <a:pt x="5" y="29"/>
                      <a:pt x="3" y="29"/>
                      <a:pt x="1" y="29"/>
                    </a:cubicBezTo>
                    <a:cubicBezTo>
                      <a:pt x="1" y="29"/>
                      <a:pt x="0" y="29"/>
                      <a:pt x="0" y="29"/>
                    </a:cubicBezTo>
                    <a:cubicBezTo>
                      <a:pt x="0" y="28"/>
                      <a:pt x="1" y="28"/>
                      <a:pt x="1" y="28"/>
                    </a:cubicBezTo>
                    <a:cubicBezTo>
                      <a:pt x="1" y="28"/>
                      <a:pt x="2" y="28"/>
                      <a:pt x="2" y="28"/>
                    </a:cubicBezTo>
                    <a:cubicBezTo>
                      <a:pt x="4" y="28"/>
                      <a:pt x="4" y="27"/>
                      <a:pt x="5" y="25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6" y="1"/>
                      <a:pt x="16" y="0"/>
                      <a:pt x="16" y="0"/>
                    </a:cubicBezTo>
                    <a:cubicBezTo>
                      <a:pt x="17" y="0"/>
                      <a:pt x="17" y="1"/>
                      <a:pt x="18" y="1"/>
                    </a:cubicBezTo>
                    <a:cubicBezTo>
                      <a:pt x="18" y="3"/>
                      <a:pt x="25" y="18"/>
                      <a:pt x="27" y="24"/>
                    </a:cubicBezTo>
                    <a:cubicBezTo>
                      <a:pt x="29" y="27"/>
                      <a:pt x="30" y="28"/>
                      <a:pt x="31" y="28"/>
                    </a:cubicBezTo>
                    <a:cubicBezTo>
                      <a:pt x="31" y="28"/>
                      <a:pt x="32" y="28"/>
                      <a:pt x="32" y="28"/>
                    </a:cubicBezTo>
                    <a:cubicBezTo>
                      <a:pt x="32" y="28"/>
                      <a:pt x="33" y="28"/>
                      <a:pt x="33" y="29"/>
                    </a:cubicBezTo>
                    <a:cubicBezTo>
                      <a:pt x="33" y="29"/>
                      <a:pt x="32" y="29"/>
                      <a:pt x="31" y="29"/>
                    </a:cubicBezTo>
                    <a:cubicBezTo>
                      <a:pt x="30" y="29"/>
                      <a:pt x="27" y="29"/>
                      <a:pt x="23" y="29"/>
                    </a:cubicBezTo>
                    <a:cubicBezTo>
                      <a:pt x="23" y="29"/>
                      <a:pt x="22" y="29"/>
                      <a:pt x="22" y="29"/>
                    </a:cubicBezTo>
                    <a:cubicBezTo>
                      <a:pt x="22" y="28"/>
                      <a:pt x="22" y="28"/>
                      <a:pt x="23" y="28"/>
                    </a:cubicBezTo>
                    <a:cubicBezTo>
                      <a:pt x="23" y="28"/>
                      <a:pt x="23" y="28"/>
                      <a:pt x="23" y="27"/>
                    </a:cubicBezTo>
                    <a:cubicBezTo>
                      <a:pt x="20" y="20"/>
                      <a:pt x="20" y="20"/>
                      <a:pt x="20" y="20"/>
                    </a:cubicBezTo>
                    <a:cubicBezTo>
                      <a:pt x="20" y="20"/>
                      <a:pt x="20" y="20"/>
                      <a:pt x="20" y="20"/>
                    </a:cubicBezTo>
                    <a:lnTo>
                      <a:pt x="11" y="20"/>
                    </a:lnTo>
                    <a:close/>
                    <a:moveTo>
                      <a:pt x="19" y="18"/>
                    </a:moveTo>
                    <a:cubicBezTo>
                      <a:pt x="19" y="18"/>
                      <a:pt x="19" y="17"/>
                      <a:pt x="19" y="17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6" y="8"/>
                      <a:pt x="15" y="8"/>
                      <a:pt x="15" y="8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1" y="17"/>
                      <a:pt x="11" y="17"/>
                      <a:pt x="11" y="17"/>
                    </a:cubicBezTo>
                    <a:cubicBezTo>
                      <a:pt x="11" y="17"/>
                      <a:pt x="11" y="18"/>
                      <a:pt x="12" y="18"/>
                    </a:cubicBezTo>
                    <a:lnTo>
                      <a:pt x="19" y="1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" name="Freeform 38"/>
              <p:cNvSpPr>
                <a:spLocks noEditPoints="1"/>
              </p:cNvSpPr>
              <p:nvPr/>
            </p:nvSpPr>
            <p:spPr bwMode="auto">
              <a:xfrm>
                <a:off x="5230820" y="5718192"/>
                <a:ext cx="112713" cy="104775"/>
              </a:xfrm>
              <a:custGeom>
                <a:avLst/>
                <a:gdLst>
                  <a:gd name="T0" fmla="*/ 4 w 30"/>
                  <a:gd name="T1" fmla="*/ 11 h 28"/>
                  <a:gd name="T2" fmla="*/ 4 w 30"/>
                  <a:gd name="T3" fmla="*/ 3 h 28"/>
                  <a:gd name="T4" fmla="*/ 2 w 30"/>
                  <a:gd name="T5" fmla="*/ 1 h 28"/>
                  <a:gd name="T6" fmla="*/ 0 w 30"/>
                  <a:gd name="T7" fmla="*/ 1 h 28"/>
                  <a:gd name="T8" fmla="*/ 0 w 30"/>
                  <a:gd name="T9" fmla="*/ 0 h 28"/>
                  <a:gd name="T10" fmla="*/ 1 w 30"/>
                  <a:gd name="T11" fmla="*/ 0 h 28"/>
                  <a:gd name="T12" fmla="*/ 6 w 30"/>
                  <a:gd name="T13" fmla="*/ 0 h 28"/>
                  <a:gd name="T14" fmla="*/ 12 w 30"/>
                  <a:gd name="T15" fmla="*/ 0 h 28"/>
                  <a:gd name="T16" fmla="*/ 19 w 30"/>
                  <a:gd name="T17" fmla="*/ 2 h 28"/>
                  <a:gd name="T18" fmla="*/ 22 w 30"/>
                  <a:gd name="T19" fmla="*/ 7 h 28"/>
                  <a:gd name="T20" fmla="*/ 16 w 30"/>
                  <a:gd name="T21" fmla="*/ 15 h 28"/>
                  <a:gd name="T22" fmla="*/ 25 w 30"/>
                  <a:gd name="T23" fmla="*/ 25 h 28"/>
                  <a:gd name="T24" fmla="*/ 29 w 30"/>
                  <a:gd name="T25" fmla="*/ 27 h 28"/>
                  <a:gd name="T26" fmla="*/ 30 w 30"/>
                  <a:gd name="T27" fmla="*/ 27 h 28"/>
                  <a:gd name="T28" fmla="*/ 30 w 30"/>
                  <a:gd name="T29" fmla="*/ 28 h 28"/>
                  <a:gd name="T30" fmla="*/ 30 w 30"/>
                  <a:gd name="T31" fmla="*/ 28 h 28"/>
                  <a:gd name="T32" fmla="*/ 26 w 30"/>
                  <a:gd name="T33" fmla="*/ 28 h 28"/>
                  <a:gd name="T34" fmla="*/ 22 w 30"/>
                  <a:gd name="T35" fmla="*/ 27 h 28"/>
                  <a:gd name="T36" fmla="*/ 17 w 30"/>
                  <a:gd name="T37" fmla="*/ 22 h 28"/>
                  <a:gd name="T38" fmla="*/ 13 w 30"/>
                  <a:gd name="T39" fmla="*/ 17 h 28"/>
                  <a:gd name="T40" fmla="*/ 12 w 30"/>
                  <a:gd name="T41" fmla="*/ 16 h 28"/>
                  <a:gd name="T42" fmla="*/ 9 w 30"/>
                  <a:gd name="T43" fmla="*/ 16 h 28"/>
                  <a:gd name="T44" fmla="*/ 8 w 30"/>
                  <a:gd name="T45" fmla="*/ 17 h 28"/>
                  <a:gd name="T46" fmla="*/ 8 w 30"/>
                  <a:gd name="T47" fmla="*/ 17 h 28"/>
                  <a:gd name="T48" fmla="*/ 9 w 30"/>
                  <a:gd name="T49" fmla="*/ 25 h 28"/>
                  <a:gd name="T50" fmla="*/ 10 w 30"/>
                  <a:gd name="T51" fmla="*/ 27 h 28"/>
                  <a:gd name="T52" fmla="*/ 12 w 30"/>
                  <a:gd name="T53" fmla="*/ 27 h 28"/>
                  <a:gd name="T54" fmla="*/ 13 w 30"/>
                  <a:gd name="T55" fmla="*/ 28 h 28"/>
                  <a:gd name="T56" fmla="*/ 12 w 30"/>
                  <a:gd name="T57" fmla="*/ 28 h 28"/>
                  <a:gd name="T58" fmla="*/ 6 w 30"/>
                  <a:gd name="T59" fmla="*/ 28 h 28"/>
                  <a:gd name="T60" fmla="*/ 1 w 30"/>
                  <a:gd name="T61" fmla="*/ 28 h 28"/>
                  <a:gd name="T62" fmla="*/ 0 w 30"/>
                  <a:gd name="T63" fmla="*/ 28 h 28"/>
                  <a:gd name="T64" fmla="*/ 1 w 30"/>
                  <a:gd name="T65" fmla="*/ 27 h 28"/>
                  <a:gd name="T66" fmla="*/ 2 w 30"/>
                  <a:gd name="T67" fmla="*/ 27 h 28"/>
                  <a:gd name="T68" fmla="*/ 3 w 30"/>
                  <a:gd name="T69" fmla="*/ 25 h 28"/>
                  <a:gd name="T70" fmla="*/ 4 w 30"/>
                  <a:gd name="T71" fmla="*/ 17 h 28"/>
                  <a:gd name="T72" fmla="*/ 4 w 30"/>
                  <a:gd name="T73" fmla="*/ 11 h 28"/>
                  <a:gd name="T74" fmla="*/ 8 w 30"/>
                  <a:gd name="T75" fmla="*/ 14 h 28"/>
                  <a:gd name="T76" fmla="*/ 9 w 30"/>
                  <a:gd name="T77" fmla="*/ 14 h 28"/>
                  <a:gd name="T78" fmla="*/ 12 w 30"/>
                  <a:gd name="T79" fmla="*/ 15 h 28"/>
                  <a:gd name="T80" fmla="*/ 14 w 30"/>
                  <a:gd name="T81" fmla="*/ 14 h 28"/>
                  <a:gd name="T82" fmla="*/ 17 w 30"/>
                  <a:gd name="T83" fmla="*/ 8 h 28"/>
                  <a:gd name="T84" fmla="*/ 11 w 30"/>
                  <a:gd name="T85" fmla="*/ 2 h 28"/>
                  <a:gd name="T86" fmla="*/ 9 w 30"/>
                  <a:gd name="T87" fmla="*/ 2 h 28"/>
                  <a:gd name="T88" fmla="*/ 8 w 30"/>
                  <a:gd name="T89" fmla="*/ 3 h 28"/>
                  <a:gd name="T90" fmla="*/ 8 w 30"/>
                  <a:gd name="T91" fmla="*/ 1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" h="28">
                    <a:moveTo>
                      <a:pt x="4" y="11"/>
                    </a:moveTo>
                    <a:cubicBezTo>
                      <a:pt x="4" y="5"/>
                      <a:pt x="4" y="4"/>
                      <a:pt x="4" y="3"/>
                    </a:cubicBezTo>
                    <a:cubicBezTo>
                      <a:pt x="3" y="2"/>
                      <a:pt x="3" y="1"/>
                      <a:pt x="2" y="1"/>
                    </a:cubicBezTo>
                    <a:cubicBezTo>
                      <a:pt x="2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ubicBezTo>
                      <a:pt x="7" y="0"/>
                      <a:pt x="11" y="0"/>
                      <a:pt x="12" y="0"/>
                    </a:cubicBezTo>
                    <a:cubicBezTo>
                      <a:pt x="14" y="0"/>
                      <a:pt x="17" y="0"/>
                      <a:pt x="19" y="2"/>
                    </a:cubicBezTo>
                    <a:cubicBezTo>
                      <a:pt x="20" y="2"/>
                      <a:pt x="22" y="4"/>
                      <a:pt x="22" y="7"/>
                    </a:cubicBezTo>
                    <a:cubicBezTo>
                      <a:pt x="22" y="9"/>
                      <a:pt x="20" y="12"/>
                      <a:pt x="16" y="15"/>
                    </a:cubicBezTo>
                    <a:cubicBezTo>
                      <a:pt x="20" y="19"/>
                      <a:pt x="23" y="22"/>
                      <a:pt x="25" y="25"/>
                    </a:cubicBezTo>
                    <a:cubicBezTo>
                      <a:pt x="27" y="27"/>
                      <a:pt x="28" y="27"/>
                      <a:pt x="29" y="27"/>
                    </a:cubicBezTo>
                    <a:cubicBezTo>
                      <a:pt x="29" y="27"/>
                      <a:pt x="30" y="27"/>
                      <a:pt x="30" y="27"/>
                    </a:cubicBezTo>
                    <a:cubicBezTo>
                      <a:pt x="30" y="27"/>
                      <a:pt x="30" y="27"/>
                      <a:pt x="30" y="28"/>
                    </a:cubicBezTo>
                    <a:cubicBezTo>
                      <a:pt x="30" y="28"/>
                      <a:pt x="30" y="28"/>
                      <a:pt x="30" y="28"/>
                    </a:cubicBezTo>
                    <a:cubicBezTo>
                      <a:pt x="26" y="28"/>
                      <a:pt x="26" y="28"/>
                      <a:pt x="26" y="28"/>
                    </a:cubicBezTo>
                    <a:cubicBezTo>
                      <a:pt x="24" y="28"/>
                      <a:pt x="23" y="28"/>
                      <a:pt x="22" y="27"/>
                    </a:cubicBezTo>
                    <a:cubicBezTo>
                      <a:pt x="20" y="26"/>
                      <a:pt x="19" y="25"/>
                      <a:pt x="17" y="22"/>
                    </a:cubicBezTo>
                    <a:cubicBezTo>
                      <a:pt x="15" y="20"/>
                      <a:pt x="13" y="17"/>
                      <a:pt x="13" y="17"/>
                    </a:cubicBezTo>
                    <a:cubicBezTo>
                      <a:pt x="13" y="17"/>
                      <a:pt x="12" y="16"/>
                      <a:pt x="12" y="16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6"/>
                      <a:pt x="8" y="16"/>
                      <a:pt x="8" y="17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8" y="21"/>
                      <a:pt x="9" y="24"/>
                      <a:pt x="9" y="25"/>
                    </a:cubicBezTo>
                    <a:cubicBezTo>
                      <a:pt x="9" y="26"/>
                      <a:pt x="9" y="27"/>
                      <a:pt x="10" y="27"/>
                    </a:cubicBezTo>
                    <a:cubicBezTo>
                      <a:pt x="11" y="27"/>
                      <a:pt x="12" y="27"/>
                      <a:pt x="12" y="27"/>
                    </a:cubicBezTo>
                    <a:cubicBezTo>
                      <a:pt x="12" y="27"/>
                      <a:pt x="13" y="27"/>
                      <a:pt x="13" y="28"/>
                    </a:cubicBezTo>
                    <a:cubicBezTo>
                      <a:pt x="13" y="28"/>
                      <a:pt x="12" y="28"/>
                      <a:pt x="12" y="28"/>
                    </a:cubicBezTo>
                    <a:cubicBezTo>
                      <a:pt x="10" y="28"/>
                      <a:pt x="6" y="28"/>
                      <a:pt x="6" y="28"/>
                    </a:cubicBezTo>
                    <a:cubicBezTo>
                      <a:pt x="5" y="28"/>
                      <a:pt x="3" y="28"/>
                      <a:pt x="1" y="28"/>
                    </a:cubicBezTo>
                    <a:cubicBezTo>
                      <a:pt x="1" y="28"/>
                      <a:pt x="0" y="28"/>
                      <a:pt x="0" y="28"/>
                    </a:cubicBezTo>
                    <a:cubicBezTo>
                      <a:pt x="0" y="27"/>
                      <a:pt x="0" y="27"/>
                      <a:pt x="1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3" y="27"/>
                      <a:pt x="3" y="26"/>
                      <a:pt x="3" y="25"/>
                    </a:cubicBezTo>
                    <a:cubicBezTo>
                      <a:pt x="4" y="24"/>
                      <a:pt x="4" y="21"/>
                      <a:pt x="4" y="17"/>
                    </a:cubicBezTo>
                    <a:lnTo>
                      <a:pt x="4" y="11"/>
                    </a:lnTo>
                    <a:close/>
                    <a:moveTo>
                      <a:pt x="8" y="14"/>
                    </a:moveTo>
                    <a:cubicBezTo>
                      <a:pt x="8" y="14"/>
                      <a:pt x="9" y="14"/>
                      <a:pt x="9" y="14"/>
                    </a:cubicBezTo>
                    <a:cubicBezTo>
                      <a:pt x="10" y="14"/>
                      <a:pt x="11" y="15"/>
                      <a:pt x="12" y="15"/>
                    </a:cubicBezTo>
                    <a:cubicBezTo>
                      <a:pt x="13" y="15"/>
                      <a:pt x="14" y="14"/>
                      <a:pt x="14" y="14"/>
                    </a:cubicBezTo>
                    <a:cubicBezTo>
                      <a:pt x="16" y="13"/>
                      <a:pt x="17" y="11"/>
                      <a:pt x="17" y="8"/>
                    </a:cubicBezTo>
                    <a:cubicBezTo>
                      <a:pt x="17" y="3"/>
                      <a:pt x="13" y="2"/>
                      <a:pt x="11" y="2"/>
                    </a:cubicBezTo>
                    <a:cubicBezTo>
                      <a:pt x="10" y="2"/>
                      <a:pt x="9" y="2"/>
                      <a:pt x="9" y="2"/>
                    </a:cubicBezTo>
                    <a:cubicBezTo>
                      <a:pt x="9" y="2"/>
                      <a:pt x="8" y="2"/>
                      <a:pt x="8" y="3"/>
                    </a:cubicBezTo>
                    <a:lnTo>
                      <a:pt x="8" y="1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" name="Freeform 39"/>
              <p:cNvSpPr>
                <a:spLocks noEditPoints="1"/>
              </p:cNvSpPr>
              <p:nvPr/>
            </p:nvSpPr>
            <p:spPr bwMode="auto">
              <a:xfrm>
                <a:off x="5381633" y="5715017"/>
                <a:ext cx="120650" cy="107950"/>
              </a:xfrm>
              <a:custGeom>
                <a:avLst/>
                <a:gdLst>
                  <a:gd name="T0" fmla="*/ 0 w 32"/>
                  <a:gd name="T1" fmla="*/ 15 h 29"/>
                  <a:gd name="T2" fmla="*/ 16 w 32"/>
                  <a:gd name="T3" fmla="*/ 0 h 29"/>
                  <a:gd name="T4" fmla="*/ 32 w 32"/>
                  <a:gd name="T5" fmla="*/ 14 h 29"/>
                  <a:gd name="T6" fmla="*/ 16 w 32"/>
                  <a:gd name="T7" fmla="*/ 29 h 29"/>
                  <a:gd name="T8" fmla="*/ 0 w 32"/>
                  <a:gd name="T9" fmla="*/ 15 h 29"/>
                  <a:gd name="T10" fmla="*/ 26 w 32"/>
                  <a:gd name="T11" fmla="*/ 16 h 29"/>
                  <a:gd name="T12" fmla="*/ 15 w 32"/>
                  <a:gd name="T13" fmla="*/ 2 h 29"/>
                  <a:gd name="T14" fmla="*/ 6 w 32"/>
                  <a:gd name="T15" fmla="*/ 14 h 29"/>
                  <a:gd name="T16" fmla="*/ 17 w 32"/>
                  <a:gd name="T17" fmla="*/ 27 h 29"/>
                  <a:gd name="T18" fmla="*/ 26 w 32"/>
                  <a:gd name="T19" fmla="*/ 1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29">
                    <a:moveTo>
                      <a:pt x="0" y="15"/>
                    </a:moveTo>
                    <a:cubicBezTo>
                      <a:pt x="0" y="9"/>
                      <a:pt x="5" y="0"/>
                      <a:pt x="16" y="0"/>
                    </a:cubicBezTo>
                    <a:cubicBezTo>
                      <a:pt x="26" y="0"/>
                      <a:pt x="32" y="6"/>
                      <a:pt x="32" y="14"/>
                    </a:cubicBezTo>
                    <a:cubicBezTo>
                      <a:pt x="32" y="23"/>
                      <a:pt x="26" y="29"/>
                      <a:pt x="16" y="29"/>
                    </a:cubicBezTo>
                    <a:cubicBezTo>
                      <a:pt x="5" y="29"/>
                      <a:pt x="0" y="22"/>
                      <a:pt x="0" y="15"/>
                    </a:cubicBezTo>
                    <a:close/>
                    <a:moveTo>
                      <a:pt x="26" y="16"/>
                    </a:moveTo>
                    <a:cubicBezTo>
                      <a:pt x="26" y="7"/>
                      <a:pt x="21" y="2"/>
                      <a:pt x="15" y="2"/>
                    </a:cubicBezTo>
                    <a:cubicBezTo>
                      <a:pt x="11" y="2"/>
                      <a:pt x="6" y="5"/>
                      <a:pt x="6" y="14"/>
                    </a:cubicBezTo>
                    <a:cubicBezTo>
                      <a:pt x="6" y="21"/>
                      <a:pt x="10" y="27"/>
                      <a:pt x="17" y="27"/>
                    </a:cubicBezTo>
                    <a:cubicBezTo>
                      <a:pt x="20" y="27"/>
                      <a:pt x="26" y="26"/>
                      <a:pt x="26" y="1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" name="Freeform 40"/>
              <p:cNvSpPr>
                <a:spLocks/>
              </p:cNvSpPr>
              <p:nvPr/>
            </p:nvSpPr>
            <p:spPr bwMode="auto">
              <a:xfrm>
                <a:off x="5510220" y="5718192"/>
                <a:ext cx="74613" cy="104775"/>
              </a:xfrm>
              <a:custGeom>
                <a:avLst/>
                <a:gdLst>
                  <a:gd name="T0" fmla="*/ 9 w 20"/>
                  <a:gd name="T1" fmla="*/ 17 h 28"/>
                  <a:gd name="T2" fmla="*/ 9 w 20"/>
                  <a:gd name="T3" fmla="*/ 25 h 28"/>
                  <a:gd name="T4" fmla="*/ 11 w 20"/>
                  <a:gd name="T5" fmla="*/ 27 h 28"/>
                  <a:gd name="T6" fmla="*/ 13 w 20"/>
                  <a:gd name="T7" fmla="*/ 27 h 28"/>
                  <a:gd name="T8" fmla="*/ 13 w 20"/>
                  <a:gd name="T9" fmla="*/ 28 h 28"/>
                  <a:gd name="T10" fmla="*/ 13 w 20"/>
                  <a:gd name="T11" fmla="*/ 28 h 28"/>
                  <a:gd name="T12" fmla="*/ 6 w 20"/>
                  <a:gd name="T13" fmla="*/ 28 h 28"/>
                  <a:gd name="T14" fmla="*/ 2 w 20"/>
                  <a:gd name="T15" fmla="*/ 28 h 28"/>
                  <a:gd name="T16" fmla="*/ 1 w 20"/>
                  <a:gd name="T17" fmla="*/ 28 h 28"/>
                  <a:gd name="T18" fmla="*/ 1 w 20"/>
                  <a:gd name="T19" fmla="*/ 27 h 28"/>
                  <a:gd name="T20" fmla="*/ 3 w 20"/>
                  <a:gd name="T21" fmla="*/ 27 h 28"/>
                  <a:gd name="T22" fmla="*/ 4 w 20"/>
                  <a:gd name="T23" fmla="*/ 25 h 28"/>
                  <a:gd name="T24" fmla="*/ 4 w 20"/>
                  <a:gd name="T25" fmla="*/ 17 h 28"/>
                  <a:gd name="T26" fmla="*/ 4 w 20"/>
                  <a:gd name="T27" fmla="*/ 11 h 28"/>
                  <a:gd name="T28" fmla="*/ 4 w 20"/>
                  <a:gd name="T29" fmla="*/ 3 h 28"/>
                  <a:gd name="T30" fmla="*/ 2 w 20"/>
                  <a:gd name="T31" fmla="*/ 1 h 28"/>
                  <a:gd name="T32" fmla="*/ 1 w 20"/>
                  <a:gd name="T33" fmla="*/ 1 h 28"/>
                  <a:gd name="T34" fmla="*/ 0 w 20"/>
                  <a:gd name="T35" fmla="*/ 0 h 28"/>
                  <a:gd name="T36" fmla="*/ 1 w 20"/>
                  <a:gd name="T37" fmla="*/ 0 h 28"/>
                  <a:gd name="T38" fmla="*/ 7 w 20"/>
                  <a:gd name="T39" fmla="*/ 0 h 28"/>
                  <a:gd name="T40" fmla="*/ 17 w 20"/>
                  <a:gd name="T41" fmla="*/ 0 h 28"/>
                  <a:gd name="T42" fmla="*/ 19 w 20"/>
                  <a:gd name="T43" fmla="*/ 0 h 28"/>
                  <a:gd name="T44" fmla="*/ 20 w 20"/>
                  <a:gd name="T45" fmla="*/ 0 h 28"/>
                  <a:gd name="T46" fmla="*/ 20 w 20"/>
                  <a:gd name="T47" fmla="*/ 0 h 28"/>
                  <a:gd name="T48" fmla="*/ 20 w 20"/>
                  <a:gd name="T49" fmla="*/ 2 h 28"/>
                  <a:gd name="T50" fmla="*/ 19 w 20"/>
                  <a:gd name="T51" fmla="*/ 5 h 28"/>
                  <a:gd name="T52" fmla="*/ 19 w 20"/>
                  <a:gd name="T53" fmla="*/ 5 h 28"/>
                  <a:gd name="T54" fmla="*/ 18 w 20"/>
                  <a:gd name="T55" fmla="*/ 5 h 28"/>
                  <a:gd name="T56" fmla="*/ 18 w 20"/>
                  <a:gd name="T57" fmla="*/ 3 h 28"/>
                  <a:gd name="T58" fmla="*/ 16 w 20"/>
                  <a:gd name="T59" fmla="*/ 2 h 28"/>
                  <a:gd name="T60" fmla="*/ 9 w 20"/>
                  <a:gd name="T61" fmla="*/ 2 h 28"/>
                  <a:gd name="T62" fmla="*/ 9 w 20"/>
                  <a:gd name="T63" fmla="*/ 3 h 28"/>
                  <a:gd name="T64" fmla="*/ 9 w 20"/>
                  <a:gd name="T65" fmla="*/ 12 h 28"/>
                  <a:gd name="T66" fmla="*/ 9 w 20"/>
                  <a:gd name="T67" fmla="*/ 12 h 28"/>
                  <a:gd name="T68" fmla="*/ 15 w 20"/>
                  <a:gd name="T69" fmla="*/ 12 h 28"/>
                  <a:gd name="T70" fmla="*/ 16 w 20"/>
                  <a:gd name="T71" fmla="*/ 12 h 28"/>
                  <a:gd name="T72" fmla="*/ 18 w 20"/>
                  <a:gd name="T73" fmla="*/ 11 h 28"/>
                  <a:gd name="T74" fmla="*/ 19 w 20"/>
                  <a:gd name="T75" fmla="*/ 11 h 28"/>
                  <a:gd name="T76" fmla="*/ 19 w 20"/>
                  <a:gd name="T77" fmla="*/ 11 h 28"/>
                  <a:gd name="T78" fmla="*/ 19 w 20"/>
                  <a:gd name="T79" fmla="*/ 14 h 28"/>
                  <a:gd name="T80" fmla="*/ 18 w 20"/>
                  <a:gd name="T81" fmla="*/ 16 h 28"/>
                  <a:gd name="T82" fmla="*/ 18 w 20"/>
                  <a:gd name="T83" fmla="*/ 17 h 28"/>
                  <a:gd name="T84" fmla="*/ 18 w 20"/>
                  <a:gd name="T85" fmla="*/ 17 h 28"/>
                  <a:gd name="T86" fmla="*/ 17 w 20"/>
                  <a:gd name="T87" fmla="*/ 15 h 28"/>
                  <a:gd name="T88" fmla="*/ 16 w 20"/>
                  <a:gd name="T89" fmla="*/ 14 h 28"/>
                  <a:gd name="T90" fmla="*/ 9 w 20"/>
                  <a:gd name="T91" fmla="*/ 14 h 28"/>
                  <a:gd name="T92" fmla="*/ 9 w 20"/>
                  <a:gd name="T93" fmla="*/ 14 h 28"/>
                  <a:gd name="T94" fmla="*/ 9 w 20"/>
                  <a:gd name="T95" fmla="*/ 1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0" h="28">
                    <a:moveTo>
                      <a:pt x="9" y="17"/>
                    </a:moveTo>
                    <a:cubicBezTo>
                      <a:pt x="9" y="21"/>
                      <a:pt x="9" y="24"/>
                      <a:pt x="9" y="25"/>
                    </a:cubicBezTo>
                    <a:cubicBezTo>
                      <a:pt x="9" y="26"/>
                      <a:pt x="10" y="27"/>
                      <a:pt x="11" y="27"/>
                    </a:cubicBezTo>
                    <a:cubicBezTo>
                      <a:pt x="11" y="27"/>
                      <a:pt x="12" y="27"/>
                      <a:pt x="13" y="27"/>
                    </a:cubicBezTo>
                    <a:cubicBezTo>
                      <a:pt x="13" y="27"/>
                      <a:pt x="13" y="27"/>
                      <a:pt x="13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0" y="28"/>
                      <a:pt x="7" y="28"/>
                      <a:pt x="6" y="28"/>
                    </a:cubicBezTo>
                    <a:cubicBezTo>
                      <a:pt x="5" y="28"/>
                      <a:pt x="3" y="28"/>
                      <a:pt x="2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2" y="27"/>
                      <a:pt x="2" y="27"/>
                      <a:pt x="3" y="27"/>
                    </a:cubicBezTo>
                    <a:cubicBezTo>
                      <a:pt x="3" y="27"/>
                      <a:pt x="4" y="26"/>
                      <a:pt x="4" y="25"/>
                    </a:cubicBezTo>
                    <a:cubicBezTo>
                      <a:pt x="4" y="24"/>
                      <a:pt x="4" y="21"/>
                      <a:pt x="4" y="17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5"/>
                      <a:pt x="4" y="4"/>
                      <a:pt x="4" y="3"/>
                    </a:cubicBezTo>
                    <a:cubicBezTo>
                      <a:pt x="4" y="2"/>
                      <a:pt x="4" y="1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3" y="0"/>
                      <a:pt x="5" y="0"/>
                      <a:pt x="7" y="0"/>
                    </a:cubicBezTo>
                    <a:cubicBezTo>
                      <a:pt x="8" y="0"/>
                      <a:pt x="16" y="0"/>
                      <a:pt x="17" y="0"/>
                    </a:cubicBezTo>
                    <a:cubicBezTo>
                      <a:pt x="18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20" y="0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1"/>
                      <a:pt x="20" y="2"/>
                    </a:cubicBezTo>
                    <a:cubicBezTo>
                      <a:pt x="19" y="2"/>
                      <a:pt x="19" y="4"/>
                      <a:pt x="19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19" y="5"/>
                      <a:pt x="18" y="5"/>
                      <a:pt x="18" y="5"/>
                    </a:cubicBezTo>
                    <a:cubicBezTo>
                      <a:pt x="18" y="4"/>
                      <a:pt x="19" y="4"/>
                      <a:pt x="18" y="3"/>
                    </a:cubicBezTo>
                    <a:cubicBezTo>
                      <a:pt x="18" y="3"/>
                      <a:pt x="17" y="2"/>
                      <a:pt x="16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2"/>
                      <a:pt x="9" y="2"/>
                      <a:pt x="9" y="3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12"/>
                      <a:pt x="16" y="12"/>
                      <a:pt x="16" y="12"/>
                    </a:cubicBezTo>
                    <a:cubicBezTo>
                      <a:pt x="17" y="12"/>
                      <a:pt x="18" y="12"/>
                      <a:pt x="18" y="11"/>
                    </a:cubicBezTo>
                    <a:cubicBezTo>
                      <a:pt x="18" y="11"/>
                      <a:pt x="18" y="11"/>
                      <a:pt x="19" y="11"/>
                    </a:cubicBezTo>
                    <a:cubicBezTo>
                      <a:pt x="19" y="11"/>
                      <a:pt x="19" y="11"/>
                      <a:pt x="19" y="11"/>
                    </a:cubicBezTo>
                    <a:cubicBezTo>
                      <a:pt x="19" y="11"/>
                      <a:pt x="19" y="12"/>
                      <a:pt x="19" y="14"/>
                    </a:cubicBezTo>
                    <a:cubicBezTo>
                      <a:pt x="18" y="14"/>
                      <a:pt x="18" y="16"/>
                      <a:pt x="18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8" y="16"/>
                      <a:pt x="18" y="16"/>
                      <a:pt x="17" y="15"/>
                    </a:cubicBezTo>
                    <a:cubicBezTo>
                      <a:pt x="17" y="15"/>
                      <a:pt x="17" y="14"/>
                      <a:pt x="16" y="14"/>
                    </a:cubicBezTo>
                    <a:cubicBezTo>
                      <a:pt x="15" y="14"/>
                      <a:pt x="10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lnTo>
                      <a:pt x="9" y="1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" name="Freeform 41"/>
              <p:cNvSpPr>
                <a:spLocks/>
              </p:cNvSpPr>
              <p:nvPr/>
            </p:nvSpPr>
            <p:spPr bwMode="auto">
              <a:xfrm>
                <a:off x="5637220" y="5715017"/>
                <a:ext cx="98425" cy="107950"/>
              </a:xfrm>
              <a:custGeom>
                <a:avLst/>
                <a:gdLst>
                  <a:gd name="T0" fmla="*/ 11 w 26"/>
                  <a:gd name="T1" fmla="*/ 3 h 29"/>
                  <a:gd name="T2" fmla="*/ 5 w 26"/>
                  <a:gd name="T3" fmla="*/ 3 h 29"/>
                  <a:gd name="T4" fmla="*/ 1 w 26"/>
                  <a:gd name="T5" fmla="*/ 4 h 29"/>
                  <a:gd name="T6" fmla="*/ 1 w 26"/>
                  <a:gd name="T7" fmla="*/ 6 h 29"/>
                  <a:gd name="T8" fmla="*/ 0 w 26"/>
                  <a:gd name="T9" fmla="*/ 6 h 29"/>
                  <a:gd name="T10" fmla="*/ 0 w 26"/>
                  <a:gd name="T11" fmla="*/ 6 h 29"/>
                  <a:gd name="T12" fmla="*/ 1 w 26"/>
                  <a:gd name="T13" fmla="*/ 1 h 29"/>
                  <a:gd name="T14" fmla="*/ 1 w 26"/>
                  <a:gd name="T15" fmla="*/ 0 h 29"/>
                  <a:gd name="T16" fmla="*/ 3 w 26"/>
                  <a:gd name="T17" fmla="*/ 1 h 29"/>
                  <a:gd name="T18" fmla="*/ 7 w 26"/>
                  <a:gd name="T19" fmla="*/ 1 h 29"/>
                  <a:gd name="T20" fmla="*/ 22 w 26"/>
                  <a:gd name="T21" fmla="*/ 1 h 29"/>
                  <a:gd name="T22" fmla="*/ 25 w 26"/>
                  <a:gd name="T23" fmla="*/ 1 h 29"/>
                  <a:gd name="T24" fmla="*/ 26 w 26"/>
                  <a:gd name="T25" fmla="*/ 1 h 29"/>
                  <a:gd name="T26" fmla="*/ 26 w 26"/>
                  <a:gd name="T27" fmla="*/ 1 h 29"/>
                  <a:gd name="T28" fmla="*/ 26 w 26"/>
                  <a:gd name="T29" fmla="*/ 6 h 29"/>
                  <a:gd name="T30" fmla="*/ 26 w 26"/>
                  <a:gd name="T31" fmla="*/ 7 h 29"/>
                  <a:gd name="T32" fmla="*/ 25 w 26"/>
                  <a:gd name="T33" fmla="*/ 6 h 29"/>
                  <a:gd name="T34" fmla="*/ 25 w 26"/>
                  <a:gd name="T35" fmla="*/ 5 h 29"/>
                  <a:gd name="T36" fmla="*/ 21 w 26"/>
                  <a:gd name="T37" fmla="*/ 3 h 29"/>
                  <a:gd name="T38" fmla="*/ 16 w 26"/>
                  <a:gd name="T39" fmla="*/ 3 h 29"/>
                  <a:gd name="T40" fmla="*/ 16 w 26"/>
                  <a:gd name="T41" fmla="*/ 18 h 29"/>
                  <a:gd name="T42" fmla="*/ 16 w 26"/>
                  <a:gd name="T43" fmla="*/ 26 h 29"/>
                  <a:gd name="T44" fmla="*/ 17 w 26"/>
                  <a:gd name="T45" fmla="*/ 28 h 29"/>
                  <a:gd name="T46" fmla="*/ 19 w 26"/>
                  <a:gd name="T47" fmla="*/ 28 h 29"/>
                  <a:gd name="T48" fmla="*/ 20 w 26"/>
                  <a:gd name="T49" fmla="*/ 29 h 29"/>
                  <a:gd name="T50" fmla="*/ 19 w 26"/>
                  <a:gd name="T51" fmla="*/ 29 h 29"/>
                  <a:gd name="T52" fmla="*/ 13 w 26"/>
                  <a:gd name="T53" fmla="*/ 29 h 29"/>
                  <a:gd name="T54" fmla="*/ 8 w 26"/>
                  <a:gd name="T55" fmla="*/ 29 h 29"/>
                  <a:gd name="T56" fmla="*/ 7 w 26"/>
                  <a:gd name="T57" fmla="*/ 29 h 29"/>
                  <a:gd name="T58" fmla="*/ 8 w 26"/>
                  <a:gd name="T59" fmla="*/ 28 h 29"/>
                  <a:gd name="T60" fmla="*/ 9 w 26"/>
                  <a:gd name="T61" fmla="*/ 28 h 29"/>
                  <a:gd name="T62" fmla="*/ 10 w 26"/>
                  <a:gd name="T63" fmla="*/ 26 h 29"/>
                  <a:gd name="T64" fmla="*/ 11 w 26"/>
                  <a:gd name="T65" fmla="*/ 18 h 29"/>
                  <a:gd name="T66" fmla="*/ 11 w 26"/>
                  <a:gd name="T67" fmla="*/ 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6" h="29">
                    <a:moveTo>
                      <a:pt x="11" y="3"/>
                    </a:moveTo>
                    <a:cubicBezTo>
                      <a:pt x="5" y="3"/>
                      <a:pt x="5" y="3"/>
                      <a:pt x="5" y="3"/>
                    </a:cubicBezTo>
                    <a:cubicBezTo>
                      <a:pt x="3" y="3"/>
                      <a:pt x="2" y="4"/>
                      <a:pt x="1" y="4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1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1" y="1"/>
                      <a:pt x="1" y="1"/>
                    </a:cubicBezTo>
                    <a:cubicBezTo>
                      <a:pt x="1" y="1"/>
                      <a:pt x="1" y="0"/>
                      <a:pt x="1" y="0"/>
                    </a:cubicBezTo>
                    <a:cubicBezTo>
                      <a:pt x="1" y="0"/>
                      <a:pt x="2" y="1"/>
                      <a:pt x="3" y="1"/>
                    </a:cubicBezTo>
                    <a:cubicBezTo>
                      <a:pt x="4" y="1"/>
                      <a:pt x="5" y="1"/>
                      <a:pt x="7" y="1"/>
                    </a:cubicBezTo>
                    <a:cubicBezTo>
                      <a:pt x="22" y="1"/>
                      <a:pt x="22" y="1"/>
                      <a:pt x="22" y="1"/>
                    </a:cubicBezTo>
                    <a:cubicBezTo>
                      <a:pt x="23" y="1"/>
                      <a:pt x="24" y="1"/>
                      <a:pt x="25" y="1"/>
                    </a:cubicBezTo>
                    <a:cubicBezTo>
                      <a:pt x="25" y="1"/>
                      <a:pt x="26" y="1"/>
                      <a:pt x="26" y="1"/>
                    </a:cubicBezTo>
                    <a:cubicBezTo>
                      <a:pt x="26" y="1"/>
                      <a:pt x="26" y="1"/>
                      <a:pt x="26" y="1"/>
                    </a:cubicBezTo>
                    <a:cubicBezTo>
                      <a:pt x="26" y="2"/>
                      <a:pt x="26" y="5"/>
                      <a:pt x="26" y="6"/>
                    </a:cubicBezTo>
                    <a:cubicBezTo>
                      <a:pt x="26" y="6"/>
                      <a:pt x="26" y="7"/>
                      <a:pt x="26" y="7"/>
                    </a:cubicBezTo>
                    <a:cubicBezTo>
                      <a:pt x="25" y="7"/>
                      <a:pt x="25" y="6"/>
                      <a:pt x="25" y="6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4"/>
                      <a:pt x="24" y="3"/>
                      <a:pt x="21" y="3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22"/>
                      <a:pt x="16" y="25"/>
                      <a:pt x="16" y="26"/>
                    </a:cubicBezTo>
                    <a:cubicBezTo>
                      <a:pt x="16" y="27"/>
                      <a:pt x="16" y="28"/>
                      <a:pt x="17" y="28"/>
                    </a:cubicBezTo>
                    <a:cubicBezTo>
                      <a:pt x="18" y="28"/>
                      <a:pt x="19" y="28"/>
                      <a:pt x="19" y="28"/>
                    </a:cubicBezTo>
                    <a:cubicBezTo>
                      <a:pt x="20" y="28"/>
                      <a:pt x="20" y="28"/>
                      <a:pt x="20" y="29"/>
                    </a:cubicBezTo>
                    <a:cubicBezTo>
                      <a:pt x="20" y="29"/>
                      <a:pt x="20" y="29"/>
                      <a:pt x="19" y="29"/>
                    </a:cubicBezTo>
                    <a:cubicBezTo>
                      <a:pt x="17" y="29"/>
                      <a:pt x="14" y="29"/>
                      <a:pt x="13" y="29"/>
                    </a:cubicBezTo>
                    <a:cubicBezTo>
                      <a:pt x="12" y="29"/>
                      <a:pt x="10" y="29"/>
                      <a:pt x="8" y="29"/>
                    </a:cubicBezTo>
                    <a:cubicBezTo>
                      <a:pt x="8" y="29"/>
                      <a:pt x="7" y="29"/>
                      <a:pt x="7" y="29"/>
                    </a:cubicBezTo>
                    <a:cubicBezTo>
                      <a:pt x="7" y="28"/>
                      <a:pt x="8" y="28"/>
                      <a:pt x="8" y="28"/>
                    </a:cubicBezTo>
                    <a:cubicBezTo>
                      <a:pt x="9" y="28"/>
                      <a:pt x="9" y="28"/>
                      <a:pt x="9" y="28"/>
                    </a:cubicBezTo>
                    <a:cubicBezTo>
                      <a:pt x="10" y="28"/>
                      <a:pt x="10" y="27"/>
                      <a:pt x="10" y="26"/>
                    </a:cubicBezTo>
                    <a:cubicBezTo>
                      <a:pt x="11" y="25"/>
                      <a:pt x="11" y="22"/>
                      <a:pt x="11" y="18"/>
                    </a:cubicBezTo>
                    <a:lnTo>
                      <a:pt x="11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" name="Freeform 42"/>
              <p:cNvSpPr>
                <a:spLocks/>
              </p:cNvSpPr>
              <p:nvPr/>
            </p:nvSpPr>
            <p:spPr bwMode="auto">
              <a:xfrm>
                <a:off x="5741996" y="5718192"/>
                <a:ext cx="128588" cy="104775"/>
              </a:xfrm>
              <a:custGeom>
                <a:avLst/>
                <a:gdLst>
                  <a:gd name="T0" fmla="*/ 24 w 34"/>
                  <a:gd name="T1" fmla="*/ 12 h 28"/>
                  <a:gd name="T2" fmla="*/ 24 w 34"/>
                  <a:gd name="T3" fmla="*/ 12 h 28"/>
                  <a:gd name="T4" fmla="*/ 24 w 34"/>
                  <a:gd name="T5" fmla="*/ 11 h 28"/>
                  <a:gd name="T6" fmla="*/ 24 w 34"/>
                  <a:gd name="T7" fmla="*/ 3 h 28"/>
                  <a:gd name="T8" fmla="*/ 22 w 34"/>
                  <a:gd name="T9" fmla="*/ 1 h 28"/>
                  <a:gd name="T10" fmla="*/ 21 w 34"/>
                  <a:gd name="T11" fmla="*/ 1 h 28"/>
                  <a:gd name="T12" fmla="*/ 20 w 34"/>
                  <a:gd name="T13" fmla="*/ 0 h 28"/>
                  <a:gd name="T14" fmla="*/ 21 w 34"/>
                  <a:gd name="T15" fmla="*/ 0 h 28"/>
                  <a:gd name="T16" fmla="*/ 27 w 34"/>
                  <a:gd name="T17" fmla="*/ 0 h 28"/>
                  <a:gd name="T18" fmla="*/ 32 w 34"/>
                  <a:gd name="T19" fmla="*/ 0 h 28"/>
                  <a:gd name="T20" fmla="*/ 33 w 34"/>
                  <a:gd name="T21" fmla="*/ 0 h 28"/>
                  <a:gd name="T22" fmla="*/ 32 w 34"/>
                  <a:gd name="T23" fmla="*/ 1 h 28"/>
                  <a:gd name="T24" fmla="*/ 31 w 34"/>
                  <a:gd name="T25" fmla="*/ 1 h 28"/>
                  <a:gd name="T26" fmla="*/ 29 w 34"/>
                  <a:gd name="T27" fmla="*/ 3 h 28"/>
                  <a:gd name="T28" fmla="*/ 29 w 34"/>
                  <a:gd name="T29" fmla="*/ 11 h 28"/>
                  <a:gd name="T30" fmla="*/ 29 w 34"/>
                  <a:gd name="T31" fmla="*/ 17 h 28"/>
                  <a:gd name="T32" fmla="*/ 29 w 34"/>
                  <a:gd name="T33" fmla="*/ 25 h 28"/>
                  <a:gd name="T34" fmla="*/ 31 w 34"/>
                  <a:gd name="T35" fmla="*/ 27 h 28"/>
                  <a:gd name="T36" fmla="*/ 33 w 34"/>
                  <a:gd name="T37" fmla="*/ 27 h 28"/>
                  <a:gd name="T38" fmla="*/ 34 w 34"/>
                  <a:gd name="T39" fmla="*/ 28 h 28"/>
                  <a:gd name="T40" fmla="*/ 33 w 34"/>
                  <a:gd name="T41" fmla="*/ 28 h 28"/>
                  <a:gd name="T42" fmla="*/ 27 w 34"/>
                  <a:gd name="T43" fmla="*/ 28 h 28"/>
                  <a:gd name="T44" fmla="*/ 22 w 34"/>
                  <a:gd name="T45" fmla="*/ 28 h 28"/>
                  <a:gd name="T46" fmla="*/ 21 w 34"/>
                  <a:gd name="T47" fmla="*/ 28 h 28"/>
                  <a:gd name="T48" fmla="*/ 21 w 34"/>
                  <a:gd name="T49" fmla="*/ 27 h 28"/>
                  <a:gd name="T50" fmla="*/ 23 w 34"/>
                  <a:gd name="T51" fmla="*/ 27 h 28"/>
                  <a:gd name="T52" fmla="*/ 24 w 34"/>
                  <a:gd name="T53" fmla="*/ 25 h 28"/>
                  <a:gd name="T54" fmla="*/ 24 w 34"/>
                  <a:gd name="T55" fmla="*/ 17 h 28"/>
                  <a:gd name="T56" fmla="*/ 24 w 34"/>
                  <a:gd name="T57" fmla="*/ 14 h 28"/>
                  <a:gd name="T58" fmla="*/ 24 w 34"/>
                  <a:gd name="T59" fmla="*/ 14 h 28"/>
                  <a:gd name="T60" fmla="*/ 9 w 34"/>
                  <a:gd name="T61" fmla="*/ 14 h 28"/>
                  <a:gd name="T62" fmla="*/ 9 w 34"/>
                  <a:gd name="T63" fmla="*/ 14 h 28"/>
                  <a:gd name="T64" fmla="*/ 9 w 34"/>
                  <a:gd name="T65" fmla="*/ 17 h 28"/>
                  <a:gd name="T66" fmla="*/ 9 w 34"/>
                  <a:gd name="T67" fmla="*/ 25 h 28"/>
                  <a:gd name="T68" fmla="*/ 11 w 34"/>
                  <a:gd name="T69" fmla="*/ 27 h 28"/>
                  <a:gd name="T70" fmla="*/ 13 w 34"/>
                  <a:gd name="T71" fmla="*/ 27 h 28"/>
                  <a:gd name="T72" fmla="*/ 13 w 34"/>
                  <a:gd name="T73" fmla="*/ 28 h 28"/>
                  <a:gd name="T74" fmla="*/ 13 w 34"/>
                  <a:gd name="T75" fmla="*/ 28 h 28"/>
                  <a:gd name="T76" fmla="*/ 6 w 34"/>
                  <a:gd name="T77" fmla="*/ 28 h 28"/>
                  <a:gd name="T78" fmla="*/ 2 w 34"/>
                  <a:gd name="T79" fmla="*/ 28 h 28"/>
                  <a:gd name="T80" fmla="*/ 1 w 34"/>
                  <a:gd name="T81" fmla="*/ 28 h 28"/>
                  <a:gd name="T82" fmla="*/ 1 w 34"/>
                  <a:gd name="T83" fmla="*/ 27 h 28"/>
                  <a:gd name="T84" fmla="*/ 3 w 34"/>
                  <a:gd name="T85" fmla="*/ 27 h 28"/>
                  <a:gd name="T86" fmla="*/ 4 w 34"/>
                  <a:gd name="T87" fmla="*/ 25 h 28"/>
                  <a:gd name="T88" fmla="*/ 4 w 34"/>
                  <a:gd name="T89" fmla="*/ 17 h 28"/>
                  <a:gd name="T90" fmla="*/ 4 w 34"/>
                  <a:gd name="T91" fmla="*/ 11 h 28"/>
                  <a:gd name="T92" fmla="*/ 4 w 34"/>
                  <a:gd name="T93" fmla="*/ 3 h 28"/>
                  <a:gd name="T94" fmla="*/ 2 w 34"/>
                  <a:gd name="T95" fmla="*/ 1 h 28"/>
                  <a:gd name="T96" fmla="*/ 1 w 34"/>
                  <a:gd name="T97" fmla="*/ 1 h 28"/>
                  <a:gd name="T98" fmla="*/ 0 w 34"/>
                  <a:gd name="T99" fmla="*/ 0 h 28"/>
                  <a:gd name="T100" fmla="*/ 1 w 34"/>
                  <a:gd name="T101" fmla="*/ 0 h 28"/>
                  <a:gd name="T102" fmla="*/ 7 w 34"/>
                  <a:gd name="T103" fmla="*/ 0 h 28"/>
                  <a:gd name="T104" fmla="*/ 12 w 34"/>
                  <a:gd name="T105" fmla="*/ 0 h 28"/>
                  <a:gd name="T106" fmla="*/ 12 w 34"/>
                  <a:gd name="T107" fmla="*/ 0 h 28"/>
                  <a:gd name="T108" fmla="*/ 12 w 34"/>
                  <a:gd name="T109" fmla="*/ 1 h 28"/>
                  <a:gd name="T110" fmla="*/ 11 w 34"/>
                  <a:gd name="T111" fmla="*/ 1 h 28"/>
                  <a:gd name="T112" fmla="*/ 9 w 34"/>
                  <a:gd name="T113" fmla="*/ 3 h 28"/>
                  <a:gd name="T114" fmla="*/ 9 w 34"/>
                  <a:gd name="T115" fmla="*/ 11 h 28"/>
                  <a:gd name="T116" fmla="*/ 9 w 34"/>
                  <a:gd name="T117" fmla="*/ 12 h 28"/>
                  <a:gd name="T118" fmla="*/ 9 w 34"/>
                  <a:gd name="T119" fmla="*/ 12 h 28"/>
                  <a:gd name="T120" fmla="*/ 24 w 34"/>
                  <a:gd name="T121" fmla="*/ 1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4" h="28">
                    <a:moveTo>
                      <a:pt x="24" y="12"/>
                    </a:moveTo>
                    <a:cubicBezTo>
                      <a:pt x="24" y="12"/>
                      <a:pt x="24" y="12"/>
                      <a:pt x="24" y="12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4" y="5"/>
                      <a:pt x="24" y="4"/>
                      <a:pt x="24" y="3"/>
                    </a:cubicBezTo>
                    <a:cubicBezTo>
                      <a:pt x="24" y="2"/>
                      <a:pt x="24" y="1"/>
                      <a:pt x="22" y="1"/>
                    </a:cubicBezTo>
                    <a:cubicBezTo>
                      <a:pt x="22" y="1"/>
                      <a:pt x="21" y="1"/>
                      <a:pt x="21" y="1"/>
                    </a:cubicBezTo>
                    <a:cubicBezTo>
                      <a:pt x="20" y="1"/>
                      <a:pt x="20" y="1"/>
                      <a:pt x="20" y="0"/>
                    </a:cubicBezTo>
                    <a:cubicBezTo>
                      <a:pt x="20" y="0"/>
                      <a:pt x="21" y="0"/>
                      <a:pt x="21" y="0"/>
                    </a:cubicBezTo>
                    <a:cubicBezTo>
                      <a:pt x="23" y="0"/>
                      <a:pt x="26" y="0"/>
                      <a:pt x="27" y="0"/>
                    </a:cubicBezTo>
                    <a:cubicBezTo>
                      <a:pt x="28" y="0"/>
                      <a:pt x="30" y="0"/>
                      <a:pt x="32" y="0"/>
                    </a:cubicBezTo>
                    <a:cubicBezTo>
                      <a:pt x="32" y="0"/>
                      <a:pt x="33" y="0"/>
                      <a:pt x="33" y="0"/>
                    </a:cubicBezTo>
                    <a:cubicBezTo>
                      <a:pt x="33" y="1"/>
                      <a:pt x="32" y="1"/>
                      <a:pt x="32" y="1"/>
                    </a:cubicBezTo>
                    <a:cubicBezTo>
                      <a:pt x="32" y="1"/>
                      <a:pt x="31" y="1"/>
                      <a:pt x="31" y="1"/>
                    </a:cubicBezTo>
                    <a:cubicBezTo>
                      <a:pt x="30" y="1"/>
                      <a:pt x="29" y="2"/>
                      <a:pt x="29" y="3"/>
                    </a:cubicBezTo>
                    <a:cubicBezTo>
                      <a:pt x="29" y="4"/>
                      <a:pt x="29" y="5"/>
                      <a:pt x="29" y="11"/>
                    </a:cubicBez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21"/>
                      <a:pt x="29" y="24"/>
                      <a:pt x="29" y="25"/>
                    </a:cubicBezTo>
                    <a:cubicBezTo>
                      <a:pt x="30" y="26"/>
                      <a:pt x="30" y="27"/>
                      <a:pt x="31" y="27"/>
                    </a:cubicBezTo>
                    <a:cubicBezTo>
                      <a:pt x="31" y="27"/>
                      <a:pt x="32" y="27"/>
                      <a:pt x="33" y="27"/>
                    </a:cubicBezTo>
                    <a:cubicBezTo>
                      <a:pt x="33" y="27"/>
                      <a:pt x="34" y="27"/>
                      <a:pt x="34" y="28"/>
                    </a:cubicBezTo>
                    <a:cubicBezTo>
                      <a:pt x="34" y="28"/>
                      <a:pt x="33" y="28"/>
                      <a:pt x="33" y="28"/>
                    </a:cubicBezTo>
                    <a:cubicBezTo>
                      <a:pt x="30" y="28"/>
                      <a:pt x="28" y="28"/>
                      <a:pt x="27" y="28"/>
                    </a:cubicBezTo>
                    <a:cubicBezTo>
                      <a:pt x="26" y="28"/>
                      <a:pt x="23" y="28"/>
                      <a:pt x="22" y="28"/>
                    </a:cubicBezTo>
                    <a:cubicBezTo>
                      <a:pt x="21" y="28"/>
                      <a:pt x="21" y="28"/>
                      <a:pt x="21" y="28"/>
                    </a:cubicBezTo>
                    <a:cubicBezTo>
                      <a:pt x="21" y="27"/>
                      <a:pt x="21" y="27"/>
                      <a:pt x="21" y="27"/>
                    </a:cubicBezTo>
                    <a:cubicBezTo>
                      <a:pt x="22" y="27"/>
                      <a:pt x="22" y="27"/>
                      <a:pt x="23" y="27"/>
                    </a:cubicBezTo>
                    <a:cubicBezTo>
                      <a:pt x="24" y="27"/>
                      <a:pt x="24" y="26"/>
                      <a:pt x="24" y="25"/>
                    </a:cubicBezTo>
                    <a:cubicBezTo>
                      <a:pt x="24" y="24"/>
                      <a:pt x="24" y="21"/>
                      <a:pt x="24" y="17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24" y="14"/>
                      <a:pt x="24" y="14"/>
                      <a:pt x="24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9" y="21"/>
                      <a:pt x="9" y="24"/>
                      <a:pt x="9" y="25"/>
                    </a:cubicBezTo>
                    <a:cubicBezTo>
                      <a:pt x="10" y="26"/>
                      <a:pt x="10" y="27"/>
                      <a:pt x="11" y="27"/>
                    </a:cubicBezTo>
                    <a:cubicBezTo>
                      <a:pt x="11" y="27"/>
                      <a:pt x="12" y="27"/>
                      <a:pt x="13" y="27"/>
                    </a:cubicBezTo>
                    <a:cubicBezTo>
                      <a:pt x="13" y="27"/>
                      <a:pt x="13" y="27"/>
                      <a:pt x="13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0" y="28"/>
                      <a:pt x="8" y="28"/>
                      <a:pt x="6" y="28"/>
                    </a:cubicBezTo>
                    <a:cubicBezTo>
                      <a:pt x="6" y="28"/>
                      <a:pt x="3" y="28"/>
                      <a:pt x="2" y="28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2" y="27"/>
                      <a:pt x="2" y="27"/>
                      <a:pt x="3" y="27"/>
                    </a:cubicBezTo>
                    <a:cubicBezTo>
                      <a:pt x="4" y="27"/>
                      <a:pt x="4" y="26"/>
                      <a:pt x="4" y="25"/>
                    </a:cubicBezTo>
                    <a:cubicBezTo>
                      <a:pt x="4" y="24"/>
                      <a:pt x="4" y="21"/>
                      <a:pt x="4" y="17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5"/>
                      <a:pt x="4" y="4"/>
                      <a:pt x="4" y="3"/>
                    </a:cubicBezTo>
                    <a:cubicBezTo>
                      <a:pt x="4" y="2"/>
                      <a:pt x="4" y="1"/>
                      <a:pt x="2" y="1"/>
                    </a:cubicBezTo>
                    <a:cubicBezTo>
                      <a:pt x="2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3" y="0"/>
                      <a:pt x="6" y="0"/>
                      <a:pt x="7" y="0"/>
                    </a:cubicBezTo>
                    <a:cubicBezTo>
                      <a:pt x="8" y="0"/>
                      <a:pt x="10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0" y="1"/>
                      <a:pt x="9" y="2"/>
                      <a:pt x="9" y="3"/>
                    </a:cubicBezTo>
                    <a:cubicBezTo>
                      <a:pt x="9" y="4"/>
                      <a:pt x="9" y="5"/>
                      <a:pt x="9" y="11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2"/>
                      <a:pt x="9" y="12"/>
                      <a:pt x="9" y="12"/>
                    </a:cubicBezTo>
                    <a:lnTo>
                      <a:pt x="24" y="1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" name="Freeform 43"/>
              <p:cNvSpPr>
                <a:spLocks/>
              </p:cNvSpPr>
              <p:nvPr/>
            </p:nvSpPr>
            <p:spPr bwMode="auto">
              <a:xfrm>
                <a:off x="5881696" y="5718192"/>
                <a:ext cx="74613" cy="104775"/>
              </a:xfrm>
              <a:custGeom>
                <a:avLst/>
                <a:gdLst>
                  <a:gd name="T0" fmla="*/ 4 w 20"/>
                  <a:gd name="T1" fmla="*/ 11 h 28"/>
                  <a:gd name="T2" fmla="*/ 4 w 20"/>
                  <a:gd name="T3" fmla="*/ 3 h 28"/>
                  <a:gd name="T4" fmla="*/ 2 w 20"/>
                  <a:gd name="T5" fmla="*/ 1 h 28"/>
                  <a:gd name="T6" fmla="*/ 0 w 20"/>
                  <a:gd name="T7" fmla="*/ 1 h 28"/>
                  <a:gd name="T8" fmla="*/ 0 w 20"/>
                  <a:gd name="T9" fmla="*/ 0 h 28"/>
                  <a:gd name="T10" fmla="*/ 1 w 20"/>
                  <a:gd name="T11" fmla="*/ 0 h 28"/>
                  <a:gd name="T12" fmla="*/ 6 w 20"/>
                  <a:gd name="T13" fmla="*/ 0 h 28"/>
                  <a:gd name="T14" fmla="*/ 17 w 20"/>
                  <a:gd name="T15" fmla="*/ 0 h 28"/>
                  <a:gd name="T16" fmla="*/ 18 w 20"/>
                  <a:gd name="T17" fmla="*/ 0 h 28"/>
                  <a:gd name="T18" fmla="*/ 19 w 20"/>
                  <a:gd name="T19" fmla="*/ 0 h 28"/>
                  <a:gd name="T20" fmla="*/ 19 w 20"/>
                  <a:gd name="T21" fmla="*/ 0 h 28"/>
                  <a:gd name="T22" fmla="*/ 19 w 20"/>
                  <a:gd name="T23" fmla="*/ 2 h 28"/>
                  <a:gd name="T24" fmla="*/ 19 w 20"/>
                  <a:gd name="T25" fmla="*/ 5 h 28"/>
                  <a:gd name="T26" fmla="*/ 18 w 20"/>
                  <a:gd name="T27" fmla="*/ 5 h 28"/>
                  <a:gd name="T28" fmla="*/ 18 w 20"/>
                  <a:gd name="T29" fmla="*/ 5 h 28"/>
                  <a:gd name="T30" fmla="*/ 18 w 20"/>
                  <a:gd name="T31" fmla="*/ 4 h 28"/>
                  <a:gd name="T32" fmla="*/ 15 w 20"/>
                  <a:gd name="T33" fmla="*/ 2 h 28"/>
                  <a:gd name="T34" fmla="*/ 9 w 20"/>
                  <a:gd name="T35" fmla="*/ 2 h 28"/>
                  <a:gd name="T36" fmla="*/ 9 w 20"/>
                  <a:gd name="T37" fmla="*/ 2 h 28"/>
                  <a:gd name="T38" fmla="*/ 9 w 20"/>
                  <a:gd name="T39" fmla="*/ 12 h 28"/>
                  <a:gd name="T40" fmla="*/ 9 w 20"/>
                  <a:gd name="T41" fmla="*/ 12 h 28"/>
                  <a:gd name="T42" fmla="*/ 16 w 20"/>
                  <a:gd name="T43" fmla="*/ 12 h 28"/>
                  <a:gd name="T44" fmla="*/ 18 w 20"/>
                  <a:gd name="T45" fmla="*/ 11 h 28"/>
                  <a:gd name="T46" fmla="*/ 18 w 20"/>
                  <a:gd name="T47" fmla="*/ 11 h 28"/>
                  <a:gd name="T48" fmla="*/ 19 w 20"/>
                  <a:gd name="T49" fmla="*/ 11 h 28"/>
                  <a:gd name="T50" fmla="*/ 18 w 20"/>
                  <a:gd name="T51" fmla="*/ 14 h 28"/>
                  <a:gd name="T52" fmla="*/ 18 w 20"/>
                  <a:gd name="T53" fmla="*/ 16 h 28"/>
                  <a:gd name="T54" fmla="*/ 18 w 20"/>
                  <a:gd name="T55" fmla="*/ 17 h 28"/>
                  <a:gd name="T56" fmla="*/ 17 w 20"/>
                  <a:gd name="T57" fmla="*/ 17 h 28"/>
                  <a:gd name="T58" fmla="*/ 17 w 20"/>
                  <a:gd name="T59" fmla="*/ 16 h 28"/>
                  <a:gd name="T60" fmla="*/ 15 w 20"/>
                  <a:gd name="T61" fmla="*/ 14 h 28"/>
                  <a:gd name="T62" fmla="*/ 9 w 20"/>
                  <a:gd name="T63" fmla="*/ 14 h 28"/>
                  <a:gd name="T64" fmla="*/ 9 w 20"/>
                  <a:gd name="T65" fmla="*/ 14 h 28"/>
                  <a:gd name="T66" fmla="*/ 9 w 20"/>
                  <a:gd name="T67" fmla="*/ 17 h 28"/>
                  <a:gd name="T68" fmla="*/ 9 w 20"/>
                  <a:gd name="T69" fmla="*/ 23 h 28"/>
                  <a:gd name="T70" fmla="*/ 14 w 20"/>
                  <a:gd name="T71" fmla="*/ 26 h 28"/>
                  <a:gd name="T72" fmla="*/ 18 w 20"/>
                  <a:gd name="T73" fmla="*/ 25 h 28"/>
                  <a:gd name="T74" fmla="*/ 19 w 20"/>
                  <a:gd name="T75" fmla="*/ 23 h 28"/>
                  <a:gd name="T76" fmla="*/ 20 w 20"/>
                  <a:gd name="T77" fmla="*/ 22 h 28"/>
                  <a:gd name="T78" fmla="*/ 20 w 20"/>
                  <a:gd name="T79" fmla="*/ 23 h 28"/>
                  <a:gd name="T80" fmla="*/ 20 w 20"/>
                  <a:gd name="T81" fmla="*/ 27 h 28"/>
                  <a:gd name="T82" fmla="*/ 18 w 20"/>
                  <a:gd name="T83" fmla="*/ 28 h 28"/>
                  <a:gd name="T84" fmla="*/ 10 w 20"/>
                  <a:gd name="T85" fmla="*/ 28 h 28"/>
                  <a:gd name="T86" fmla="*/ 6 w 20"/>
                  <a:gd name="T87" fmla="*/ 28 h 28"/>
                  <a:gd name="T88" fmla="*/ 4 w 20"/>
                  <a:gd name="T89" fmla="*/ 28 h 28"/>
                  <a:gd name="T90" fmla="*/ 1 w 20"/>
                  <a:gd name="T91" fmla="*/ 28 h 28"/>
                  <a:gd name="T92" fmla="*/ 0 w 20"/>
                  <a:gd name="T93" fmla="*/ 28 h 28"/>
                  <a:gd name="T94" fmla="*/ 1 w 20"/>
                  <a:gd name="T95" fmla="*/ 27 h 28"/>
                  <a:gd name="T96" fmla="*/ 2 w 20"/>
                  <a:gd name="T97" fmla="*/ 27 h 28"/>
                  <a:gd name="T98" fmla="*/ 4 w 20"/>
                  <a:gd name="T99" fmla="*/ 25 h 28"/>
                  <a:gd name="T100" fmla="*/ 4 w 20"/>
                  <a:gd name="T101" fmla="*/ 17 h 28"/>
                  <a:gd name="T102" fmla="*/ 4 w 20"/>
                  <a:gd name="T103" fmla="*/ 1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0" h="28">
                    <a:moveTo>
                      <a:pt x="4" y="11"/>
                    </a:moveTo>
                    <a:cubicBezTo>
                      <a:pt x="4" y="5"/>
                      <a:pt x="4" y="4"/>
                      <a:pt x="4" y="3"/>
                    </a:cubicBezTo>
                    <a:cubicBezTo>
                      <a:pt x="4" y="2"/>
                      <a:pt x="3" y="1"/>
                      <a:pt x="2" y="1"/>
                    </a:cubicBezTo>
                    <a:cubicBezTo>
                      <a:pt x="2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3" y="0"/>
                      <a:pt x="5" y="0"/>
                      <a:pt x="6" y="0"/>
                    </a:cubicBezTo>
                    <a:cubicBezTo>
                      <a:pt x="7" y="0"/>
                      <a:pt x="16" y="0"/>
                      <a:pt x="17" y="0"/>
                    </a:cubicBezTo>
                    <a:cubicBezTo>
                      <a:pt x="17" y="0"/>
                      <a:pt x="18" y="0"/>
                      <a:pt x="18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19" y="0"/>
                      <a:pt x="19" y="1"/>
                      <a:pt x="19" y="2"/>
                    </a:cubicBezTo>
                    <a:cubicBezTo>
                      <a:pt x="19" y="3"/>
                      <a:pt x="19" y="4"/>
                      <a:pt x="19" y="5"/>
                    </a:cubicBezTo>
                    <a:cubicBezTo>
                      <a:pt x="19" y="5"/>
                      <a:pt x="19" y="5"/>
                      <a:pt x="18" y="5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5"/>
                      <a:pt x="18" y="4"/>
                      <a:pt x="18" y="4"/>
                    </a:cubicBezTo>
                    <a:cubicBezTo>
                      <a:pt x="17" y="3"/>
                      <a:pt x="17" y="2"/>
                      <a:pt x="15" y="2"/>
                    </a:cubicBezTo>
                    <a:cubicBezTo>
                      <a:pt x="14" y="2"/>
                      <a:pt x="10" y="2"/>
                      <a:pt x="9" y="2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10" y="12"/>
                      <a:pt x="15" y="12"/>
                      <a:pt x="16" y="12"/>
                    </a:cubicBezTo>
                    <a:cubicBezTo>
                      <a:pt x="17" y="12"/>
                      <a:pt x="17" y="12"/>
                      <a:pt x="18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8" y="11"/>
                      <a:pt x="19" y="11"/>
                      <a:pt x="19" y="11"/>
                    </a:cubicBezTo>
                    <a:cubicBezTo>
                      <a:pt x="19" y="11"/>
                      <a:pt x="18" y="12"/>
                      <a:pt x="18" y="14"/>
                    </a:cubicBezTo>
                    <a:cubicBezTo>
                      <a:pt x="18" y="15"/>
                      <a:pt x="18" y="16"/>
                      <a:pt x="18" y="16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7" y="17"/>
                      <a:pt x="17" y="17"/>
                      <a:pt x="17" y="17"/>
                    </a:cubicBezTo>
                    <a:cubicBezTo>
                      <a:pt x="17" y="17"/>
                      <a:pt x="17" y="16"/>
                      <a:pt x="17" y="16"/>
                    </a:cubicBezTo>
                    <a:cubicBezTo>
                      <a:pt x="17" y="15"/>
                      <a:pt x="17" y="14"/>
                      <a:pt x="15" y="14"/>
                    </a:cubicBezTo>
                    <a:cubicBezTo>
                      <a:pt x="14" y="14"/>
                      <a:pt x="10" y="14"/>
                      <a:pt x="9" y="14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9" y="19"/>
                      <a:pt x="9" y="22"/>
                      <a:pt x="9" y="23"/>
                    </a:cubicBezTo>
                    <a:cubicBezTo>
                      <a:pt x="9" y="25"/>
                      <a:pt x="10" y="26"/>
                      <a:pt x="14" y="26"/>
                    </a:cubicBezTo>
                    <a:cubicBezTo>
                      <a:pt x="15" y="26"/>
                      <a:pt x="17" y="26"/>
                      <a:pt x="18" y="25"/>
                    </a:cubicBezTo>
                    <a:cubicBezTo>
                      <a:pt x="19" y="25"/>
                      <a:pt x="19" y="24"/>
                      <a:pt x="19" y="23"/>
                    </a:cubicBezTo>
                    <a:cubicBezTo>
                      <a:pt x="19" y="22"/>
                      <a:pt x="19" y="22"/>
                      <a:pt x="20" y="22"/>
                    </a:cubicBezTo>
                    <a:cubicBezTo>
                      <a:pt x="20" y="22"/>
                      <a:pt x="20" y="23"/>
                      <a:pt x="20" y="23"/>
                    </a:cubicBezTo>
                    <a:cubicBezTo>
                      <a:pt x="20" y="24"/>
                      <a:pt x="20" y="26"/>
                      <a:pt x="20" y="27"/>
                    </a:cubicBezTo>
                    <a:cubicBezTo>
                      <a:pt x="19" y="28"/>
                      <a:pt x="19" y="28"/>
                      <a:pt x="18" y="28"/>
                    </a:cubicBezTo>
                    <a:cubicBezTo>
                      <a:pt x="15" y="28"/>
                      <a:pt x="12" y="28"/>
                      <a:pt x="10" y="28"/>
                    </a:cubicBezTo>
                    <a:cubicBezTo>
                      <a:pt x="9" y="28"/>
                      <a:pt x="7" y="28"/>
                      <a:pt x="6" y="28"/>
                    </a:cubicBezTo>
                    <a:cubicBezTo>
                      <a:pt x="6" y="28"/>
                      <a:pt x="5" y="28"/>
                      <a:pt x="4" y="28"/>
                    </a:cubicBezTo>
                    <a:cubicBezTo>
                      <a:pt x="3" y="28"/>
                      <a:pt x="2" y="28"/>
                      <a:pt x="1" y="28"/>
                    </a:cubicBezTo>
                    <a:cubicBezTo>
                      <a:pt x="1" y="28"/>
                      <a:pt x="0" y="28"/>
                      <a:pt x="0" y="28"/>
                    </a:cubicBezTo>
                    <a:cubicBezTo>
                      <a:pt x="0" y="27"/>
                      <a:pt x="1" y="27"/>
                      <a:pt x="1" y="27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3" y="27"/>
                      <a:pt x="3" y="26"/>
                      <a:pt x="4" y="25"/>
                    </a:cubicBezTo>
                    <a:cubicBezTo>
                      <a:pt x="4" y="24"/>
                      <a:pt x="4" y="21"/>
                      <a:pt x="4" y="17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" name="Freeform 44"/>
              <p:cNvSpPr>
                <a:spLocks/>
              </p:cNvSpPr>
              <p:nvPr/>
            </p:nvSpPr>
            <p:spPr bwMode="auto">
              <a:xfrm>
                <a:off x="4814895" y="5880117"/>
                <a:ext cx="385763" cy="401639"/>
              </a:xfrm>
              <a:custGeom>
                <a:avLst/>
                <a:gdLst>
                  <a:gd name="T0" fmla="*/ 103 w 103"/>
                  <a:gd name="T1" fmla="*/ 53 h 107"/>
                  <a:gd name="T2" fmla="*/ 92 w 103"/>
                  <a:gd name="T3" fmla="*/ 90 h 107"/>
                  <a:gd name="T4" fmla="*/ 54 w 103"/>
                  <a:gd name="T5" fmla="*/ 107 h 107"/>
                  <a:gd name="T6" fmla="*/ 0 w 103"/>
                  <a:gd name="T7" fmla="*/ 54 h 107"/>
                  <a:gd name="T8" fmla="*/ 54 w 103"/>
                  <a:gd name="T9" fmla="*/ 0 h 107"/>
                  <a:gd name="T10" fmla="*/ 98 w 103"/>
                  <a:gd name="T11" fmla="*/ 22 h 107"/>
                  <a:gd name="T12" fmla="*/ 90 w 103"/>
                  <a:gd name="T13" fmla="*/ 30 h 107"/>
                  <a:gd name="T14" fmla="*/ 54 w 103"/>
                  <a:gd name="T15" fmla="*/ 11 h 107"/>
                  <a:gd name="T16" fmla="*/ 12 w 103"/>
                  <a:gd name="T17" fmla="*/ 54 h 107"/>
                  <a:gd name="T18" fmla="*/ 24 w 103"/>
                  <a:gd name="T19" fmla="*/ 83 h 107"/>
                  <a:gd name="T20" fmla="*/ 53 w 103"/>
                  <a:gd name="T21" fmla="*/ 96 h 107"/>
                  <a:gd name="T22" fmla="*/ 90 w 103"/>
                  <a:gd name="T23" fmla="*/ 64 h 107"/>
                  <a:gd name="T24" fmla="*/ 59 w 103"/>
                  <a:gd name="T25" fmla="*/ 64 h 107"/>
                  <a:gd name="T26" fmla="*/ 59 w 103"/>
                  <a:gd name="T27" fmla="*/ 53 h 107"/>
                  <a:gd name="T28" fmla="*/ 103 w 103"/>
                  <a:gd name="T29" fmla="*/ 53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3" h="107">
                    <a:moveTo>
                      <a:pt x="103" y="53"/>
                    </a:moveTo>
                    <a:cubicBezTo>
                      <a:pt x="103" y="67"/>
                      <a:pt x="101" y="79"/>
                      <a:pt x="92" y="90"/>
                    </a:cubicBezTo>
                    <a:cubicBezTo>
                      <a:pt x="82" y="101"/>
                      <a:pt x="68" y="107"/>
                      <a:pt x="54" y="107"/>
                    </a:cubicBezTo>
                    <a:cubicBezTo>
                      <a:pt x="24" y="107"/>
                      <a:pt x="0" y="83"/>
                      <a:pt x="0" y="54"/>
                    </a:cubicBezTo>
                    <a:cubicBezTo>
                      <a:pt x="0" y="24"/>
                      <a:pt x="24" y="0"/>
                      <a:pt x="54" y="0"/>
                    </a:cubicBezTo>
                    <a:cubicBezTo>
                      <a:pt x="72" y="0"/>
                      <a:pt x="87" y="8"/>
                      <a:pt x="98" y="22"/>
                    </a:cubicBezTo>
                    <a:cubicBezTo>
                      <a:pt x="90" y="30"/>
                      <a:pt x="90" y="30"/>
                      <a:pt x="90" y="30"/>
                    </a:cubicBezTo>
                    <a:cubicBezTo>
                      <a:pt x="81" y="18"/>
                      <a:pt x="69" y="11"/>
                      <a:pt x="54" y="11"/>
                    </a:cubicBezTo>
                    <a:cubicBezTo>
                      <a:pt x="30" y="11"/>
                      <a:pt x="12" y="31"/>
                      <a:pt x="12" y="54"/>
                    </a:cubicBezTo>
                    <a:cubicBezTo>
                      <a:pt x="12" y="65"/>
                      <a:pt x="16" y="75"/>
                      <a:pt x="24" y="83"/>
                    </a:cubicBezTo>
                    <a:cubicBezTo>
                      <a:pt x="31" y="91"/>
                      <a:pt x="42" y="96"/>
                      <a:pt x="53" y="96"/>
                    </a:cubicBezTo>
                    <a:cubicBezTo>
                      <a:pt x="71" y="96"/>
                      <a:pt x="90" y="83"/>
                      <a:pt x="90" y="64"/>
                    </a:cubicBezTo>
                    <a:cubicBezTo>
                      <a:pt x="59" y="64"/>
                      <a:pt x="59" y="64"/>
                      <a:pt x="59" y="64"/>
                    </a:cubicBezTo>
                    <a:cubicBezTo>
                      <a:pt x="59" y="53"/>
                      <a:pt x="59" y="53"/>
                      <a:pt x="59" y="53"/>
                    </a:cubicBezTo>
                    <a:lnTo>
                      <a:pt x="103" y="5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" name="Freeform 45"/>
              <p:cNvSpPr>
                <a:spLocks/>
              </p:cNvSpPr>
              <p:nvPr/>
            </p:nvSpPr>
            <p:spPr bwMode="auto">
              <a:xfrm>
                <a:off x="5813433" y="5888055"/>
                <a:ext cx="260350" cy="385764"/>
              </a:xfrm>
              <a:custGeom>
                <a:avLst/>
                <a:gdLst>
                  <a:gd name="T0" fmla="*/ 95 w 164"/>
                  <a:gd name="T1" fmla="*/ 243 h 243"/>
                  <a:gd name="T2" fmla="*/ 67 w 164"/>
                  <a:gd name="T3" fmla="*/ 243 h 243"/>
                  <a:gd name="T4" fmla="*/ 67 w 164"/>
                  <a:gd name="T5" fmla="*/ 23 h 243"/>
                  <a:gd name="T6" fmla="*/ 0 w 164"/>
                  <a:gd name="T7" fmla="*/ 23 h 243"/>
                  <a:gd name="T8" fmla="*/ 0 w 164"/>
                  <a:gd name="T9" fmla="*/ 0 h 243"/>
                  <a:gd name="T10" fmla="*/ 164 w 164"/>
                  <a:gd name="T11" fmla="*/ 0 h 243"/>
                  <a:gd name="T12" fmla="*/ 164 w 164"/>
                  <a:gd name="T13" fmla="*/ 23 h 243"/>
                  <a:gd name="T14" fmla="*/ 95 w 164"/>
                  <a:gd name="T15" fmla="*/ 23 h 243"/>
                  <a:gd name="T16" fmla="*/ 95 w 164"/>
                  <a:gd name="T17" fmla="*/ 243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4" h="243">
                    <a:moveTo>
                      <a:pt x="95" y="243"/>
                    </a:moveTo>
                    <a:lnTo>
                      <a:pt x="67" y="243"/>
                    </a:lnTo>
                    <a:lnTo>
                      <a:pt x="67" y="23"/>
                    </a:lnTo>
                    <a:lnTo>
                      <a:pt x="0" y="23"/>
                    </a:lnTo>
                    <a:lnTo>
                      <a:pt x="0" y="0"/>
                    </a:lnTo>
                    <a:lnTo>
                      <a:pt x="164" y="0"/>
                    </a:lnTo>
                    <a:lnTo>
                      <a:pt x="164" y="23"/>
                    </a:lnTo>
                    <a:lnTo>
                      <a:pt x="95" y="23"/>
                    </a:lnTo>
                    <a:lnTo>
                      <a:pt x="95" y="24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" name="Freeform 46"/>
              <p:cNvSpPr>
                <a:spLocks noEditPoints="1"/>
              </p:cNvSpPr>
              <p:nvPr/>
            </p:nvSpPr>
            <p:spPr bwMode="auto">
              <a:xfrm>
                <a:off x="5554670" y="5869005"/>
                <a:ext cx="354013" cy="404814"/>
              </a:xfrm>
              <a:custGeom>
                <a:avLst/>
                <a:gdLst>
                  <a:gd name="T0" fmla="*/ 59 w 223"/>
                  <a:gd name="T1" fmla="*/ 187 h 255"/>
                  <a:gd name="T2" fmla="*/ 28 w 223"/>
                  <a:gd name="T3" fmla="*/ 255 h 255"/>
                  <a:gd name="T4" fmla="*/ 0 w 223"/>
                  <a:gd name="T5" fmla="*/ 255 h 255"/>
                  <a:gd name="T6" fmla="*/ 114 w 223"/>
                  <a:gd name="T7" fmla="*/ 0 h 255"/>
                  <a:gd name="T8" fmla="*/ 223 w 223"/>
                  <a:gd name="T9" fmla="*/ 255 h 255"/>
                  <a:gd name="T10" fmla="*/ 192 w 223"/>
                  <a:gd name="T11" fmla="*/ 255 h 255"/>
                  <a:gd name="T12" fmla="*/ 163 w 223"/>
                  <a:gd name="T13" fmla="*/ 187 h 255"/>
                  <a:gd name="T14" fmla="*/ 59 w 223"/>
                  <a:gd name="T15" fmla="*/ 187 h 255"/>
                  <a:gd name="T16" fmla="*/ 111 w 223"/>
                  <a:gd name="T17" fmla="*/ 64 h 255"/>
                  <a:gd name="T18" fmla="*/ 71 w 223"/>
                  <a:gd name="T19" fmla="*/ 161 h 255"/>
                  <a:gd name="T20" fmla="*/ 154 w 223"/>
                  <a:gd name="T21" fmla="*/ 161 h 255"/>
                  <a:gd name="T22" fmla="*/ 111 w 223"/>
                  <a:gd name="T23" fmla="*/ 64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23" h="255">
                    <a:moveTo>
                      <a:pt x="59" y="187"/>
                    </a:moveTo>
                    <a:lnTo>
                      <a:pt x="28" y="255"/>
                    </a:lnTo>
                    <a:lnTo>
                      <a:pt x="0" y="255"/>
                    </a:lnTo>
                    <a:lnTo>
                      <a:pt x="114" y="0"/>
                    </a:lnTo>
                    <a:lnTo>
                      <a:pt x="223" y="255"/>
                    </a:lnTo>
                    <a:lnTo>
                      <a:pt x="192" y="255"/>
                    </a:lnTo>
                    <a:lnTo>
                      <a:pt x="163" y="187"/>
                    </a:lnTo>
                    <a:lnTo>
                      <a:pt x="59" y="187"/>
                    </a:lnTo>
                    <a:close/>
                    <a:moveTo>
                      <a:pt x="111" y="64"/>
                    </a:moveTo>
                    <a:lnTo>
                      <a:pt x="71" y="161"/>
                    </a:lnTo>
                    <a:lnTo>
                      <a:pt x="154" y="161"/>
                    </a:lnTo>
                    <a:lnTo>
                      <a:pt x="111" y="6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" name="Oval 47"/>
              <p:cNvSpPr>
                <a:spLocks noChangeArrowheads="1"/>
              </p:cNvSpPr>
              <p:nvPr/>
            </p:nvSpPr>
            <p:spPr bwMode="auto">
              <a:xfrm>
                <a:off x="5205420" y="5880117"/>
                <a:ext cx="404813" cy="401639"/>
              </a:xfrm>
              <a:prstGeom prst="ellipse">
                <a:avLst/>
              </a:prstGeom>
              <a:solidFill>
                <a:srgbClr val="C316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" name="Freeform 48"/>
              <p:cNvSpPr>
                <a:spLocks noEditPoints="1"/>
              </p:cNvSpPr>
              <p:nvPr/>
            </p:nvSpPr>
            <p:spPr bwMode="auto">
              <a:xfrm>
                <a:off x="5208595" y="5894405"/>
                <a:ext cx="387350" cy="357189"/>
              </a:xfrm>
              <a:custGeom>
                <a:avLst/>
                <a:gdLst>
                  <a:gd name="T0" fmla="*/ 97 w 103"/>
                  <a:gd name="T1" fmla="*/ 77 h 95"/>
                  <a:gd name="T2" fmla="*/ 81 w 103"/>
                  <a:gd name="T3" fmla="*/ 14 h 95"/>
                  <a:gd name="T4" fmla="*/ 51 w 103"/>
                  <a:gd name="T5" fmla="*/ 7 h 95"/>
                  <a:gd name="T6" fmla="*/ 66 w 103"/>
                  <a:gd name="T7" fmla="*/ 19 h 95"/>
                  <a:gd name="T8" fmla="*/ 59 w 103"/>
                  <a:gd name="T9" fmla="*/ 42 h 95"/>
                  <a:gd name="T10" fmla="*/ 0 w 103"/>
                  <a:gd name="T11" fmla="*/ 57 h 95"/>
                  <a:gd name="T12" fmla="*/ 8 w 103"/>
                  <a:gd name="T13" fmla="*/ 57 h 95"/>
                  <a:gd name="T14" fmla="*/ 12 w 103"/>
                  <a:gd name="T15" fmla="*/ 71 h 95"/>
                  <a:gd name="T16" fmla="*/ 18 w 103"/>
                  <a:gd name="T17" fmla="*/ 86 h 95"/>
                  <a:gd name="T18" fmla="*/ 36 w 103"/>
                  <a:gd name="T19" fmla="*/ 80 h 95"/>
                  <a:gd name="T20" fmla="*/ 47 w 103"/>
                  <a:gd name="T21" fmla="*/ 86 h 95"/>
                  <a:gd name="T22" fmla="*/ 48 w 103"/>
                  <a:gd name="T23" fmla="*/ 71 h 95"/>
                  <a:gd name="T24" fmla="*/ 56 w 103"/>
                  <a:gd name="T25" fmla="*/ 76 h 95"/>
                  <a:gd name="T26" fmla="*/ 63 w 103"/>
                  <a:gd name="T27" fmla="*/ 73 h 95"/>
                  <a:gd name="T28" fmla="*/ 75 w 103"/>
                  <a:gd name="T29" fmla="*/ 93 h 95"/>
                  <a:gd name="T30" fmla="*/ 76 w 103"/>
                  <a:gd name="T31" fmla="*/ 75 h 95"/>
                  <a:gd name="T32" fmla="*/ 85 w 103"/>
                  <a:gd name="T33" fmla="*/ 76 h 95"/>
                  <a:gd name="T34" fmla="*/ 94 w 103"/>
                  <a:gd name="T35" fmla="*/ 85 h 95"/>
                  <a:gd name="T36" fmla="*/ 57 w 103"/>
                  <a:gd name="T37" fmla="*/ 32 h 95"/>
                  <a:gd name="T38" fmla="*/ 23 w 103"/>
                  <a:gd name="T39" fmla="*/ 61 h 95"/>
                  <a:gd name="T40" fmla="*/ 25 w 103"/>
                  <a:gd name="T41" fmla="*/ 38 h 95"/>
                  <a:gd name="T42" fmla="*/ 31 w 103"/>
                  <a:gd name="T43" fmla="*/ 37 h 95"/>
                  <a:gd name="T44" fmla="*/ 31 w 103"/>
                  <a:gd name="T45" fmla="*/ 42 h 95"/>
                  <a:gd name="T46" fmla="*/ 25 w 103"/>
                  <a:gd name="T47" fmla="*/ 45 h 95"/>
                  <a:gd name="T48" fmla="*/ 30 w 103"/>
                  <a:gd name="T49" fmla="*/ 49 h 95"/>
                  <a:gd name="T50" fmla="*/ 27 w 103"/>
                  <a:gd name="T51" fmla="*/ 51 h 95"/>
                  <a:gd name="T52" fmla="*/ 30 w 103"/>
                  <a:gd name="T53" fmla="*/ 52 h 95"/>
                  <a:gd name="T54" fmla="*/ 28 w 103"/>
                  <a:gd name="T55" fmla="*/ 58 h 95"/>
                  <a:gd name="T56" fmla="*/ 33 w 103"/>
                  <a:gd name="T57" fmla="*/ 57 h 95"/>
                  <a:gd name="T58" fmla="*/ 28 w 103"/>
                  <a:gd name="T59" fmla="*/ 62 h 95"/>
                  <a:gd name="T60" fmla="*/ 45 w 103"/>
                  <a:gd name="T61" fmla="*/ 43 h 95"/>
                  <a:gd name="T62" fmla="*/ 46 w 103"/>
                  <a:gd name="T63" fmla="*/ 44 h 95"/>
                  <a:gd name="T64" fmla="*/ 47 w 103"/>
                  <a:gd name="T65" fmla="*/ 48 h 95"/>
                  <a:gd name="T66" fmla="*/ 44 w 103"/>
                  <a:gd name="T67" fmla="*/ 53 h 95"/>
                  <a:gd name="T68" fmla="*/ 48 w 103"/>
                  <a:gd name="T69" fmla="*/ 55 h 95"/>
                  <a:gd name="T70" fmla="*/ 46 w 103"/>
                  <a:gd name="T71" fmla="*/ 61 h 95"/>
                  <a:gd name="T72" fmla="*/ 89 w 103"/>
                  <a:gd name="T73" fmla="*/ 14 h 95"/>
                  <a:gd name="T74" fmla="*/ 71 w 103"/>
                  <a:gd name="T75" fmla="*/ 35 h 95"/>
                  <a:gd name="T76" fmla="*/ 77 w 103"/>
                  <a:gd name="T77" fmla="*/ 22 h 95"/>
                  <a:gd name="T78" fmla="*/ 59 w 103"/>
                  <a:gd name="T79" fmla="*/ 15 h 95"/>
                  <a:gd name="T80" fmla="*/ 67 w 103"/>
                  <a:gd name="T81" fmla="*/ 64 h 95"/>
                  <a:gd name="T82" fmla="*/ 56 w 103"/>
                  <a:gd name="T83" fmla="*/ 47 h 95"/>
                  <a:gd name="T84" fmla="*/ 58 w 103"/>
                  <a:gd name="T85" fmla="*/ 47 h 95"/>
                  <a:gd name="T86" fmla="*/ 60 w 103"/>
                  <a:gd name="T87" fmla="*/ 51 h 95"/>
                  <a:gd name="T88" fmla="*/ 59 w 103"/>
                  <a:gd name="T89" fmla="*/ 56 h 95"/>
                  <a:gd name="T90" fmla="*/ 63 w 103"/>
                  <a:gd name="T91" fmla="*/ 57 h 95"/>
                  <a:gd name="T92" fmla="*/ 63 w 103"/>
                  <a:gd name="T93" fmla="*/ 61 h 95"/>
                  <a:gd name="T94" fmla="*/ 64 w 103"/>
                  <a:gd name="T95" fmla="*/ 60 h 95"/>
                  <a:gd name="T96" fmla="*/ 66 w 103"/>
                  <a:gd name="T97" fmla="*/ 61 h 95"/>
                  <a:gd name="T98" fmla="*/ 69 w 103"/>
                  <a:gd name="T99" fmla="*/ 61 h 95"/>
                  <a:gd name="T100" fmla="*/ 74 w 103"/>
                  <a:gd name="T101" fmla="*/ 63 h 95"/>
                  <a:gd name="T102" fmla="*/ 74 w 103"/>
                  <a:gd name="T103" fmla="*/ 59 h 95"/>
                  <a:gd name="T104" fmla="*/ 81 w 103"/>
                  <a:gd name="T105" fmla="*/ 60 h 95"/>
                  <a:gd name="T106" fmla="*/ 67 w 103"/>
                  <a:gd name="T107" fmla="*/ 47 h 95"/>
                  <a:gd name="T108" fmla="*/ 71 w 103"/>
                  <a:gd name="T109" fmla="*/ 40 h 95"/>
                  <a:gd name="T110" fmla="*/ 76 w 103"/>
                  <a:gd name="T111" fmla="*/ 48 h 95"/>
                  <a:gd name="T112" fmla="*/ 79 w 103"/>
                  <a:gd name="T113" fmla="*/ 41 h 95"/>
                  <a:gd name="T114" fmla="*/ 85 w 103"/>
                  <a:gd name="T115" fmla="*/ 44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" h="95">
                    <a:moveTo>
                      <a:pt x="26" y="49"/>
                    </a:moveTo>
                    <a:cubicBezTo>
                      <a:pt x="26" y="49"/>
                      <a:pt x="26" y="49"/>
                      <a:pt x="26" y="49"/>
                    </a:cubicBezTo>
                    <a:cubicBezTo>
                      <a:pt x="25" y="49"/>
                      <a:pt x="25" y="49"/>
                      <a:pt x="25" y="49"/>
                    </a:cubicBezTo>
                    <a:lnTo>
                      <a:pt x="26" y="49"/>
                    </a:lnTo>
                    <a:close/>
                    <a:moveTo>
                      <a:pt x="97" y="77"/>
                    </a:moveTo>
                    <a:cubicBezTo>
                      <a:pt x="94" y="76"/>
                      <a:pt x="93" y="73"/>
                      <a:pt x="92" y="69"/>
                    </a:cubicBezTo>
                    <a:cubicBezTo>
                      <a:pt x="91" y="65"/>
                      <a:pt x="88" y="62"/>
                      <a:pt x="88" y="62"/>
                    </a:cubicBezTo>
                    <a:cubicBezTo>
                      <a:pt x="103" y="35"/>
                      <a:pt x="83" y="19"/>
                      <a:pt x="83" y="19"/>
                    </a:cubicBezTo>
                    <a:cubicBezTo>
                      <a:pt x="88" y="20"/>
                      <a:pt x="92" y="13"/>
                      <a:pt x="92" y="13"/>
                    </a:cubicBezTo>
                    <a:cubicBezTo>
                      <a:pt x="85" y="10"/>
                      <a:pt x="81" y="14"/>
                      <a:pt x="81" y="14"/>
                    </a:cubicBezTo>
                    <a:cubicBezTo>
                      <a:pt x="81" y="0"/>
                      <a:pt x="95" y="7"/>
                      <a:pt x="95" y="7"/>
                    </a:cubicBezTo>
                    <a:cubicBezTo>
                      <a:pt x="95" y="7"/>
                      <a:pt x="93" y="2"/>
                      <a:pt x="84" y="3"/>
                    </a:cubicBezTo>
                    <a:cubicBezTo>
                      <a:pt x="76" y="4"/>
                      <a:pt x="74" y="12"/>
                      <a:pt x="74" y="12"/>
                    </a:cubicBezTo>
                    <a:cubicBezTo>
                      <a:pt x="74" y="12"/>
                      <a:pt x="74" y="8"/>
                      <a:pt x="66" y="5"/>
                    </a:cubicBezTo>
                    <a:cubicBezTo>
                      <a:pt x="56" y="1"/>
                      <a:pt x="51" y="7"/>
                      <a:pt x="51" y="7"/>
                    </a:cubicBezTo>
                    <a:cubicBezTo>
                      <a:pt x="65" y="3"/>
                      <a:pt x="69" y="12"/>
                      <a:pt x="69" y="12"/>
                    </a:cubicBezTo>
                    <a:cubicBezTo>
                      <a:pt x="67" y="10"/>
                      <a:pt x="61" y="11"/>
                      <a:pt x="60" y="13"/>
                    </a:cubicBezTo>
                    <a:cubicBezTo>
                      <a:pt x="58" y="14"/>
                      <a:pt x="54" y="14"/>
                      <a:pt x="54" y="14"/>
                    </a:cubicBezTo>
                    <a:cubicBezTo>
                      <a:pt x="54" y="14"/>
                      <a:pt x="54" y="15"/>
                      <a:pt x="58" y="18"/>
                    </a:cubicBezTo>
                    <a:cubicBezTo>
                      <a:pt x="61" y="20"/>
                      <a:pt x="66" y="19"/>
                      <a:pt x="66" y="19"/>
                    </a:cubicBezTo>
                    <a:cubicBezTo>
                      <a:pt x="65" y="22"/>
                      <a:pt x="63" y="24"/>
                      <a:pt x="57" y="26"/>
                    </a:cubicBezTo>
                    <a:cubicBezTo>
                      <a:pt x="52" y="28"/>
                      <a:pt x="53" y="31"/>
                      <a:pt x="53" y="33"/>
                    </a:cubicBezTo>
                    <a:cubicBezTo>
                      <a:pt x="53" y="34"/>
                      <a:pt x="55" y="35"/>
                      <a:pt x="57" y="36"/>
                    </a:cubicBezTo>
                    <a:cubicBezTo>
                      <a:pt x="60" y="37"/>
                      <a:pt x="63" y="34"/>
                      <a:pt x="63" y="34"/>
                    </a:cubicBezTo>
                    <a:cubicBezTo>
                      <a:pt x="63" y="34"/>
                      <a:pt x="66" y="43"/>
                      <a:pt x="59" y="42"/>
                    </a:cubicBezTo>
                    <a:cubicBezTo>
                      <a:pt x="51" y="41"/>
                      <a:pt x="53" y="38"/>
                      <a:pt x="44" y="33"/>
                    </a:cubicBezTo>
                    <a:cubicBezTo>
                      <a:pt x="32" y="25"/>
                      <a:pt x="25" y="32"/>
                      <a:pt x="24" y="34"/>
                    </a:cubicBezTo>
                    <a:cubicBezTo>
                      <a:pt x="22" y="35"/>
                      <a:pt x="20" y="36"/>
                      <a:pt x="20" y="36"/>
                    </a:cubicBezTo>
                    <a:cubicBezTo>
                      <a:pt x="3" y="30"/>
                      <a:pt x="3" y="48"/>
                      <a:pt x="3" y="51"/>
                    </a:cubicBezTo>
                    <a:cubicBezTo>
                      <a:pt x="4" y="54"/>
                      <a:pt x="0" y="57"/>
                      <a:pt x="0" y="57"/>
                    </a:cubicBezTo>
                    <a:cubicBezTo>
                      <a:pt x="3" y="56"/>
                      <a:pt x="4" y="53"/>
                      <a:pt x="4" y="53"/>
                    </a:cubicBezTo>
                    <a:cubicBezTo>
                      <a:pt x="5" y="56"/>
                      <a:pt x="1" y="59"/>
                      <a:pt x="1" y="59"/>
                    </a:cubicBezTo>
                    <a:cubicBezTo>
                      <a:pt x="5" y="59"/>
                      <a:pt x="6" y="56"/>
                      <a:pt x="6" y="56"/>
                    </a:cubicBezTo>
                    <a:cubicBezTo>
                      <a:pt x="7" y="58"/>
                      <a:pt x="4" y="61"/>
                      <a:pt x="4" y="61"/>
                    </a:cubicBezTo>
                    <a:cubicBezTo>
                      <a:pt x="9" y="60"/>
                      <a:pt x="8" y="57"/>
                      <a:pt x="8" y="57"/>
                    </a:cubicBezTo>
                    <a:cubicBezTo>
                      <a:pt x="9" y="58"/>
                      <a:pt x="8" y="61"/>
                      <a:pt x="8" y="61"/>
                    </a:cubicBezTo>
                    <a:cubicBezTo>
                      <a:pt x="15" y="55"/>
                      <a:pt x="9" y="50"/>
                      <a:pt x="11" y="44"/>
                    </a:cubicBezTo>
                    <a:cubicBezTo>
                      <a:pt x="14" y="38"/>
                      <a:pt x="18" y="41"/>
                      <a:pt x="18" y="41"/>
                    </a:cubicBezTo>
                    <a:cubicBezTo>
                      <a:pt x="12" y="49"/>
                      <a:pt x="18" y="55"/>
                      <a:pt x="18" y="59"/>
                    </a:cubicBezTo>
                    <a:cubicBezTo>
                      <a:pt x="19" y="63"/>
                      <a:pt x="14" y="67"/>
                      <a:pt x="12" y="71"/>
                    </a:cubicBezTo>
                    <a:cubicBezTo>
                      <a:pt x="9" y="76"/>
                      <a:pt x="12" y="81"/>
                      <a:pt x="13" y="84"/>
                    </a:cubicBezTo>
                    <a:cubicBezTo>
                      <a:pt x="14" y="87"/>
                      <a:pt x="12" y="89"/>
                      <a:pt x="12" y="89"/>
                    </a:cubicBezTo>
                    <a:cubicBezTo>
                      <a:pt x="15" y="88"/>
                      <a:pt x="15" y="88"/>
                      <a:pt x="15" y="88"/>
                    </a:cubicBezTo>
                    <a:cubicBezTo>
                      <a:pt x="15" y="88"/>
                      <a:pt x="15" y="95"/>
                      <a:pt x="18" y="93"/>
                    </a:cubicBezTo>
                    <a:cubicBezTo>
                      <a:pt x="20" y="91"/>
                      <a:pt x="19" y="87"/>
                      <a:pt x="18" y="86"/>
                    </a:cubicBezTo>
                    <a:cubicBezTo>
                      <a:pt x="17" y="85"/>
                      <a:pt x="17" y="82"/>
                      <a:pt x="18" y="79"/>
                    </a:cubicBezTo>
                    <a:cubicBezTo>
                      <a:pt x="19" y="77"/>
                      <a:pt x="21" y="77"/>
                      <a:pt x="25" y="75"/>
                    </a:cubicBezTo>
                    <a:cubicBezTo>
                      <a:pt x="29" y="72"/>
                      <a:pt x="29" y="66"/>
                      <a:pt x="29" y="66"/>
                    </a:cubicBezTo>
                    <a:cubicBezTo>
                      <a:pt x="31" y="69"/>
                      <a:pt x="29" y="73"/>
                      <a:pt x="30" y="77"/>
                    </a:cubicBezTo>
                    <a:cubicBezTo>
                      <a:pt x="31" y="82"/>
                      <a:pt x="34" y="79"/>
                      <a:pt x="36" y="80"/>
                    </a:cubicBezTo>
                    <a:cubicBezTo>
                      <a:pt x="38" y="80"/>
                      <a:pt x="39" y="83"/>
                      <a:pt x="40" y="85"/>
                    </a:cubicBezTo>
                    <a:cubicBezTo>
                      <a:pt x="40" y="87"/>
                      <a:pt x="43" y="89"/>
                      <a:pt x="43" y="89"/>
                    </a:cubicBezTo>
                    <a:cubicBezTo>
                      <a:pt x="43" y="87"/>
                      <a:pt x="43" y="87"/>
                      <a:pt x="43" y="87"/>
                    </a:cubicBezTo>
                    <a:cubicBezTo>
                      <a:pt x="44" y="89"/>
                      <a:pt x="46" y="90"/>
                      <a:pt x="47" y="90"/>
                    </a:cubicBezTo>
                    <a:cubicBezTo>
                      <a:pt x="49" y="90"/>
                      <a:pt x="49" y="88"/>
                      <a:pt x="47" y="86"/>
                    </a:cubicBezTo>
                    <a:cubicBezTo>
                      <a:pt x="46" y="83"/>
                      <a:pt x="43" y="83"/>
                      <a:pt x="41" y="80"/>
                    </a:cubicBezTo>
                    <a:cubicBezTo>
                      <a:pt x="39" y="78"/>
                      <a:pt x="41" y="73"/>
                      <a:pt x="42" y="72"/>
                    </a:cubicBezTo>
                    <a:cubicBezTo>
                      <a:pt x="43" y="71"/>
                      <a:pt x="44" y="69"/>
                      <a:pt x="44" y="69"/>
                    </a:cubicBezTo>
                    <a:cubicBezTo>
                      <a:pt x="47" y="71"/>
                      <a:pt x="46" y="75"/>
                      <a:pt x="46" y="75"/>
                    </a:cubicBezTo>
                    <a:cubicBezTo>
                      <a:pt x="48" y="74"/>
                      <a:pt x="48" y="71"/>
                      <a:pt x="48" y="71"/>
                    </a:cubicBezTo>
                    <a:cubicBezTo>
                      <a:pt x="49" y="72"/>
                      <a:pt x="50" y="76"/>
                      <a:pt x="50" y="76"/>
                    </a:cubicBezTo>
                    <a:cubicBezTo>
                      <a:pt x="51" y="75"/>
                      <a:pt x="50" y="72"/>
                      <a:pt x="50" y="72"/>
                    </a:cubicBezTo>
                    <a:cubicBezTo>
                      <a:pt x="52" y="73"/>
                      <a:pt x="53" y="76"/>
                      <a:pt x="53" y="76"/>
                    </a:cubicBezTo>
                    <a:cubicBezTo>
                      <a:pt x="54" y="75"/>
                      <a:pt x="54" y="73"/>
                      <a:pt x="54" y="73"/>
                    </a:cubicBezTo>
                    <a:cubicBezTo>
                      <a:pt x="55" y="74"/>
                      <a:pt x="56" y="76"/>
                      <a:pt x="56" y="76"/>
                    </a:cubicBezTo>
                    <a:cubicBezTo>
                      <a:pt x="56" y="74"/>
                      <a:pt x="58" y="74"/>
                      <a:pt x="58" y="74"/>
                    </a:cubicBezTo>
                    <a:cubicBezTo>
                      <a:pt x="58" y="76"/>
                      <a:pt x="60" y="77"/>
                      <a:pt x="60" y="77"/>
                    </a:cubicBezTo>
                    <a:cubicBezTo>
                      <a:pt x="60" y="76"/>
                      <a:pt x="61" y="74"/>
                      <a:pt x="61" y="74"/>
                    </a:cubicBezTo>
                    <a:cubicBezTo>
                      <a:pt x="62" y="78"/>
                      <a:pt x="65" y="78"/>
                      <a:pt x="65" y="78"/>
                    </a:cubicBezTo>
                    <a:cubicBezTo>
                      <a:pt x="63" y="77"/>
                      <a:pt x="63" y="73"/>
                      <a:pt x="63" y="73"/>
                    </a:cubicBezTo>
                    <a:cubicBezTo>
                      <a:pt x="68" y="75"/>
                      <a:pt x="69" y="81"/>
                      <a:pt x="70" y="82"/>
                    </a:cubicBezTo>
                    <a:cubicBezTo>
                      <a:pt x="70" y="84"/>
                      <a:pt x="70" y="87"/>
                      <a:pt x="70" y="87"/>
                    </a:cubicBezTo>
                    <a:cubicBezTo>
                      <a:pt x="71" y="86"/>
                      <a:pt x="71" y="86"/>
                      <a:pt x="71" y="86"/>
                    </a:cubicBezTo>
                    <a:cubicBezTo>
                      <a:pt x="71" y="86"/>
                      <a:pt x="71" y="88"/>
                      <a:pt x="72" y="90"/>
                    </a:cubicBezTo>
                    <a:cubicBezTo>
                      <a:pt x="73" y="92"/>
                      <a:pt x="75" y="93"/>
                      <a:pt x="75" y="93"/>
                    </a:cubicBezTo>
                    <a:cubicBezTo>
                      <a:pt x="78" y="89"/>
                      <a:pt x="74" y="83"/>
                      <a:pt x="73" y="81"/>
                    </a:cubicBezTo>
                    <a:cubicBezTo>
                      <a:pt x="72" y="79"/>
                      <a:pt x="73" y="75"/>
                      <a:pt x="73" y="75"/>
                    </a:cubicBezTo>
                    <a:cubicBezTo>
                      <a:pt x="73" y="75"/>
                      <a:pt x="74" y="76"/>
                      <a:pt x="74" y="77"/>
                    </a:cubicBezTo>
                    <a:cubicBezTo>
                      <a:pt x="75" y="78"/>
                      <a:pt x="76" y="79"/>
                      <a:pt x="76" y="79"/>
                    </a:cubicBezTo>
                    <a:cubicBezTo>
                      <a:pt x="75" y="76"/>
                      <a:pt x="76" y="75"/>
                      <a:pt x="76" y="75"/>
                    </a:cubicBezTo>
                    <a:cubicBezTo>
                      <a:pt x="77" y="77"/>
                      <a:pt x="78" y="78"/>
                      <a:pt x="78" y="78"/>
                    </a:cubicBezTo>
                    <a:cubicBezTo>
                      <a:pt x="77" y="76"/>
                      <a:pt x="79" y="73"/>
                      <a:pt x="79" y="73"/>
                    </a:cubicBezTo>
                    <a:cubicBezTo>
                      <a:pt x="79" y="76"/>
                      <a:pt x="82" y="77"/>
                      <a:pt x="82" y="77"/>
                    </a:cubicBezTo>
                    <a:cubicBezTo>
                      <a:pt x="81" y="76"/>
                      <a:pt x="82" y="73"/>
                      <a:pt x="82" y="73"/>
                    </a:cubicBezTo>
                    <a:cubicBezTo>
                      <a:pt x="82" y="75"/>
                      <a:pt x="85" y="76"/>
                      <a:pt x="85" y="76"/>
                    </a:cubicBezTo>
                    <a:cubicBezTo>
                      <a:pt x="84" y="75"/>
                      <a:pt x="84" y="72"/>
                      <a:pt x="84" y="72"/>
                    </a:cubicBezTo>
                    <a:cubicBezTo>
                      <a:pt x="86" y="76"/>
                      <a:pt x="89" y="75"/>
                      <a:pt x="89" y="75"/>
                    </a:cubicBezTo>
                    <a:cubicBezTo>
                      <a:pt x="85" y="72"/>
                      <a:pt x="85" y="70"/>
                      <a:pt x="85" y="70"/>
                    </a:cubicBezTo>
                    <a:cubicBezTo>
                      <a:pt x="91" y="71"/>
                      <a:pt x="93" y="79"/>
                      <a:pt x="93" y="81"/>
                    </a:cubicBezTo>
                    <a:cubicBezTo>
                      <a:pt x="93" y="82"/>
                      <a:pt x="94" y="85"/>
                      <a:pt x="94" y="85"/>
                    </a:cubicBezTo>
                    <a:cubicBezTo>
                      <a:pt x="95" y="82"/>
                      <a:pt x="95" y="82"/>
                      <a:pt x="95" y="82"/>
                    </a:cubicBezTo>
                    <a:cubicBezTo>
                      <a:pt x="95" y="82"/>
                      <a:pt x="97" y="84"/>
                      <a:pt x="97" y="86"/>
                    </a:cubicBezTo>
                    <a:cubicBezTo>
                      <a:pt x="98" y="88"/>
                      <a:pt x="101" y="89"/>
                      <a:pt x="101" y="89"/>
                    </a:cubicBezTo>
                    <a:cubicBezTo>
                      <a:pt x="102" y="86"/>
                      <a:pt x="99" y="78"/>
                      <a:pt x="97" y="77"/>
                    </a:cubicBezTo>
                    <a:close/>
                    <a:moveTo>
                      <a:pt x="57" y="32"/>
                    </a:moveTo>
                    <a:cubicBezTo>
                      <a:pt x="56" y="32"/>
                      <a:pt x="57" y="30"/>
                      <a:pt x="58" y="29"/>
                    </a:cubicBezTo>
                    <a:cubicBezTo>
                      <a:pt x="60" y="29"/>
                      <a:pt x="60" y="29"/>
                      <a:pt x="60" y="29"/>
                    </a:cubicBezTo>
                    <a:cubicBezTo>
                      <a:pt x="60" y="32"/>
                      <a:pt x="58" y="32"/>
                      <a:pt x="57" y="32"/>
                    </a:cubicBezTo>
                    <a:close/>
                    <a:moveTo>
                      <a:pt x="28" y="62"/>
                    </a:moveTo>
                    <a:cubicBezTo>
                      <a:pt x="28" y="62"/>
                      <a:pt x="25" y="64"/>
                      <a:pt x="23" y="61"/>
                    </a:cubicBezTo>
                    <a:cubicBezTo>
                      <a:pt x="21" y="57"/>
                      <a:pt x="24" y="55"/>
                      <a:pt x="24" y="55"/>
                    </a:cubicBezTo>
                    <a:cubicBezTo>
                      <a:pt x="24" y="55"/>
                      <a:pt x="23" y="54"/>
                      <a:pt x="23" y="52"/>
                    </a:cubicBezTo>
                    <a:cubicBezTo>
                      <a:pt x="22" y="51"/>
                      <a:pt x="21" y="50"/>
                      <a:pt x="22" y="46"/>
                    </a:cubicBezTo>
                    <a:cubicBezTo>
                      <a:pt x="22" y="46"/>
                      <a:pt x="18" y="46"/>
                      <a:pt x="20" y="42"/>
                    </a:cubicBezTo>
                    <a:cubicBezTo>
                      <a:pt x="21" y="37"/>
                      <a:pt x="25" y="38"/>
                      <a:pt x="25" y="38"/>
                    </a:cubicBezTo>
                    <a:cubicBezTo>
                      <a:pt x="25" y="38"/>
                      <a:pt x="26" y="35"/>
                      <a:pt x="29" y="35"/>
                    </a:cubicBezTo>
                    <a:cubicBezTo>
                      <a:pt x="33" y="35"/>
                      <a:pt x="35" y="37"/>
                      <a:pt x="35" y="39"/>
                    </a:cubicBezTo>
                    <a:cubicBezTo>
                      <a:pt x="33" y="37"/>
                      <a:pt x="33" y="37"/>
                      <a:pt x="33" y="37"/>
                    </a:cubicBezTo>
                    <a:cubicBezTo>
                      <a:pt x="34" y="39"/>
                      <a:pt x="34" y="39"/>
                      <a:pt x="34" y="39"/>
                    </a:cubicBezTo>
                    <a:cubicBezTo>
                      <a:pt x="34" y="39"/>
                      <a:pt x="30" y="37"/>
                      <a:pt x="31" y="37"/>
                    </a:cubicBezTo>
                    <a:cubicBezTo>
                      <a:pt x="31" y="38"/>
                      <a:pt x="33" y="40"/>
                      <a:pt x="33" y="40"/>
                    </a:cubicBezTo>
                    <a:cubicBezTo>
                      <a:pt x="29" y="39"/>
                      <a:pt x="29" y="39"/>
                      <a:pt x="29" y="39"/>
                    </a:cubicBezTo>
                    <a:cubicBezTo>
                      <a:pt x="32" y="41"/>
                      <a:pt x="32" y="41"/>
                      <a:pt x="32" y="41"/>
                    </a:cubicBezTo>
                    <a:cubicBezTo>
                      <a:pt x="27" y="40"/>
                      <a:pt x="27" y="40"/>
                      <a:pt x="27" y="40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6" y="42"/>
                      <a:pt x="30" y="43"/>
                      <a:pt x="30" y="43"/>
                    </a:cubicBezTo>
                    <a:cubicBezTo>
                      <a:pt x="30" y="43"/>
                      <a:pt x="25" y="44"/>
                      <a:pt x="25" y="44"/>
                    </a:cubicBezTo>
                    <a:cubicBezTo>
                      <a:pt x="30" y="45"/>
                      <a:pt x="30" y="45"/>
                      <a:pt x="30" y="45"/>
                    </a:cubicBezTo>
                    <a:cubicBezTo>
                      <a:pt x="25" y="45"/>
                      <a:pt x="25" y="45"/>
                      <a:pt x="25" y="45"/>
                    </a:cubicBezTo>
                    <a:cubicBezTo>
                      <a:pt x="30" y="46"/>
                      <a:pt x="30" y="46"/>
                      <a:pt x="30" y="46"/>
                    </a:cubicBezTo>
                    <a:cubicBezTo>
                      <a:pt x="25" y="47"/>
                      <a:pt x="25" y="47"/>
                      <a:pt x="25" y="47"/>
                    </a:cubicBezTo>
                    <a:cubicBezTo>
                      <a:pt x="30" y="48"/>
                      <a:pt x="30" y="48"/>
                      <a:pt x="30" y="48"/>
                    </a:cubicBezTo>
                    <a:cubicBezTo>
                      <a:pt x="28" y="48"/>
                      <a:pt x="28" y="48"/>
                      <a:pt x="28" y="48"/>
                    </a:cubicBezTo>
                    <a:cubicBezTo>
                      <a:pt x="29" y="48"/>
                      <a:pt x="30" y="48"/>
                      <a:pt x="30" y="49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30" y="49"/>
                      <a:pt x="30" y="49"/>
                      <a:pt x="30" y="49"/>
                    </a:cubicBezTo>
                    <a:cubicBezTo>
                      <a:pt x="29" y="49"/>
                      <a:pt x="29" y="49"/>
                      <a:pt x="29" y="49"/>
                    </a:cubicBezTo>
                    <a:cubicBezTo>
                      <a:pt x="30" y="50"/>
                      <a:pt x="30" y="50"/>
                      <a:pt x="30" y="50"/>
                    </a:cubicBezTo>
                    <a:cubicBezTo>
                      <a:pt x="30" y="50"/>
                      <a:pt x="28" y="50"/>
                      <a:pt x="27" y="51"/>
                    </a:cubicBezTo>
                    <a:cubicBezTo>
                      <a:pt x="31" y="50"/>
                      <a:pt x="31" y="50"/>
                      <a:pt x="31" y="50"/>
                    </a:cubicBezTo>
                    <a:cubicBezTo>
                      <a:pt x="31" y="50"/>
                      <a:pt x="30" y="51"/>
                      <a:pt x="29" y="51"/>
                    </a:cubicBezTo>
                    <a:cubicBezTo>
                      <a:pt x="30" y="51"/>
                      <a:pt x="30" y="51"/>
                      <a:pt x="30" y="51"/>
                    </a:cubicBezTo>
                    <a:cubicBezTo>
                      <a:pt x="26" y="53"/>
                      <a:pt x="26" y="53"/>
                      <a:pt x="26" y="53"/>
                    </a:cubicBezTo>
                    <a:cubicBezTo>
                      <a:pt x="30" y="52"/>
                      <a:pt x="30" y="52"/>
                      <a:pt x="30" y="52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30" y="54"/>
                      <a:pt x="30" y="54"/>
                      <a:pt x="30" y="54"/>
                    </a:cubicBezTo>
                    <a:cubicBezTo>
                      <a:pt x="27" y="57"/>
                      <a:pt x="27" y="57"/>
                      <a:pt x="27" y="57"/>
                    </a:cubicBezTo>
                    <a:cubicBezTo>
                      <a:pt x="27" y="57"/>
                      <a:pt x="30" y="55"/>
                      <a:pt x="30" y="55"/>
                    </a:cubicBezTo>
                    <a:cubicBezTo>
                      <a:pt x="30" y="55"/>
                      <a:pt x="28" y="58"/>
                      <a:pt x="28" y="58"/>
                    </a:cubicBezTo>
                    <a:cubicBezTo>
                      <a:pt x="31" y="56"/>
                      <a:pt x="31" y="56"/>
                      <a:pt x="31" y="56"/>
                    </a:cubicBezTo>
                    <a:cubicBezTo>
                      <a:pt x="29" y="59"/>
                      <a:pt x="29" y="59"/>
                      <a:pt x="29" y="59"/>
                    </a:cubicBezTo>
                    <a:cubicBezTo>
                      <a:pt x="32" y="56"/>
                      <a:pt x="32" y="56"/>
                      <a:pt x="32" y="56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3" y="57"/>
                      <a:pt x="33" y="57"/>
                      <a:pt x="33" y="57"/>
                    </a:cubicBezTo>
                    <a:cubicBezTo>
                      <a:pt x="31" y="61"/>
                      <a:pt x="31" y="61"/>
                      <a:pt x="31" y="61"/>
                    </a:cubicBezTo>
                    <a:cubicBezTo>
                      <a:pt x="34" y="58"/>
                      <a:pt x="34" y="58"/>
                      <a:pt x="34" y="58"/>
                    </a:cubicBezTo>
                    <a:cubicBezTo>
                      <a:pt x="33" y="61"/>
                      <a:pt x="33" y="61"/>
                      <a:pt x="33" y="61"/>
                    </a:cubicBezTo>
                    <a:cubicBezTo>
                      <a:pt x="35" y="58"/>
                      <a:pt x="35" y="58"/>
                      <a:pt x="35" y="58"/>
                    </a:cubicBezTo>
                    <a:cubicBezTo>
                      <a:pt x="35" y="58"/>
                      <a:pt x="32" y="69"/>
                      <a:pt x="28" y="62"/>
                    </a:cubicBezTo>
                    <a:close/>
                    <a:moveTo>
                      <a:pt x="47" y="64"/>
                    </a:moveTo>
                    <a:cubicBezTo>
                      <a:pt x="45" y="65"/>
                      <a:pt x="45" y="63"/>
                      <a:pt x="45" y="63"/>
                    </a:cubicBezTo>
                    <a:cubicBezTo>
                      <a:pt x="39" y="64"/>
                      <a:pt x="43" y="59"/>
                      <a:pt x="43" y="59"/>
                    </a:cubicBezTo>
                    <a:cubicBezTo>
                      <a:pt x="33" y="57"/>
                      <a:pt x="43" y="50"/>
                      <a:pt x="43" y="50"/>
                    </a:cubicBezTo>
                    <a:cubicBezTo>
                      <a:pt x="37" y="46"/>
                      <a:pt x="45" y="43"/>
                      <a:pt x="45" y="43"/>
                    </a:cubicBezTo>
                    <a:cubicBezTo>
                      <a:pt x="45" y="41"/>
                      <a:pt x="46" y="40"/>
                      <a:pt x="47" y="40"/>
                    </a:cubicBezTo>
                    <a:cubicBezTo>
                      <a:pt x="48" y="40"/>
                      <a:pt x="49" y="43"/>
                      <a:pt x="49" y="43"/>
                    </a:cubicBezTo>
                    <a:cubicBezTo>
                      <a:pt x="47" y="42"/>
                      <a:pt x="47" y="42"/>
                      <a:pt x="47" y="42"/>
                    </a:cubicBezTo>
                    <a:cubicBezTo>
                      <a:pt x="49" y="44"/>
                      <a:pt x="49" y="44"/>
                      <a:pt x="49" y="44"/>
                    </a:cubicBezTo>
                    <a:cubicBezTo>
                      <a:pt x="46" y="44"/>
                      <a:pt x="46" y="44"/>
                      <a:pt x="46" y="44"/>
                    </a:cubicBezTo>
                    <a:cubicBezTo>
                      <a:pt x="48" y="46"/>
                      <a:pt x="48" y="46"/>
                      <a:pt x="48" y="46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44" y="47"/>
                      <a:pt x="44" y="47"/>
                      <a:pt x="44" y="47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47" y="48"/>
                      <a:pt x="44" y="49"/>
                      <a:pt x="44" y="49"/>
                    </a:cubicBezTo>
                    <a:cubicBezTo>
                      <a:pt x="44" y="49"/>
                      <a:pt x="47" y="49"/>
                      <a:pt x="47" y="49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7" y="51"/>
                      <a:pt x="47" y="51"/>
                      <a:pt x="47" y="51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7" y="52"/>
                      <a:pt x="47" y="52"/>
                      <a:pt x="47" y="52"/>
                    </a:cubicBezTo>
                    <a:cubicBezTo>
                      <a:pt x="44" y="55"/>
                      <a:pt x="44" y="55"/>
                      <a:pt x="44" y="55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4" y="57"/>
                      <a:pt x="44" y="57"/>
                      <a:pt x="44" y="57"/>
                    </a:cubicBezTo>
                    <a:cubicBezTo>
                      <a:pt x="48" y="55"/>
                      <a:pt x="48" y="55"/>
                      <a:pt x="48" y="55"/>
                    </a:cubicBezTo>
                    <a:cubicBezTo>
                      <a:pt x="45" y="58"/>
                      <a:pt x="45" y="58"/>
                      <a:pt x="45" y="58"/>
                    </a:cubicBezTo>
                    <a:cubicBezTo>
                      <a:pt x="48" y="56"/>
                      <a:pt x="48" y="56"/>
                      <a:pt x="48" y="56"/>
                    </a:cubicBezTo>
                    <a:cubicBezTo>
                      <a:pt x="45" y="60"/>
                      <a:pt x="45" y="60"/>
                      <a:pt x="45" y="60"/>
                    </a:cubicBezTo>
                    <a:cubicBezTo>
                      <a:pt x="48" y="57"/>
                      <a:pt x="48" y="57"/>
                      <a:pt x="48" y="57"/>
                    </a:cubicBezTo>
                    <a:cubicBezTo>
                      <a:pt x="46" y="61"/>
                      <a:pt x="46" y="61"/>
                      <a:pt x="46" y="61"/>
                    </a:cubicBezTo>
                    <a:cubicBezTo>
                      <a:pt x="46" y="61"/>
                      <a:pt x="49" y="58"/>
                      <a:pt x="49" y="58"/>
                    </a:cubicBezTo>
                    <a:cubicBezTo>
                      <a:pt x="49" y="57"/>
                      <a:pt x="48" y="61"/>
                      <a:pt x="48" y="61"/>
                    </a:cubicBezTo>
                    <a:cubicBezTo>
                      <a:pt x="49" y="59"/>
                      <a:pt x="49" y="59"/>
                      <a:pt x="49" y="59"/>
                    </a:cubicBezTo>
                    <a:cubicBezTo>
                      <a:pt x="49" y="59"/>
                      <a:pt x="50" y="62"/>
                      <a:pt x="47" y="64"/>
                    </a:cubicBezTo>
                    <a:close/>
                    <a:moveTo>
                      <a:pt x="89" y="14"/>
                    </a:moveTo>
                    <a:cubicBezTo>
                      <a:pt x="89" y="14"/>
                      <a:pt x="86" y="19"/>
                      <a:pt x="81" y="17"/>
                    </a:cubicBezTo>
                    <a:cubicBezTo>
                      <a:pt x="81" y="17"/>
                      <a:pt x="82" y="13"/>
                      <a:pt x="89" y="14"/>
                    </a:cubicBezTo>
                    <a:close/>
                    <a:moveTo>
                      <a:pt x="82" y="29"/>
                    </a:moveTo>
                    <a:cubicBezTo>
                      <a:pt x="82" y="29"/>
                      <a:pt x="83" y="33"/>
                      <a:pt x="80" y="36"/>
                    </a:cubicBezTo>
                    <a:cubicBezTo>
                      <a:pt x="76" y="39"/>
                      <a:pt x="71" y="35"/>
                      <a:pt x="71" y="35"/>
                    </a:cubicBezTo>
                    <a:cubicBezTo>
                      <a:pt x="80" y="36"/>
                      <a:pt x="82" y="29"/>
                      <a:pt x="82" y="29"/>
                    </a:cubicBezTo>
                    <a:close/>
                    <a:moveTo>
                      <a:pt x="70" y="24"/>
                    </a:moveTo>
                    <a:cubicBezTo>
                      <a:pt x="70" y="24"/>
                      <a:pt x="70" y="27"/>
                      <a:pt x="72" y="26"/>
                    </a:cubicBezTo>
                    <a:cubicBezTo>
                      <a:pt x="74" y="25"/>
                      <a:pt x="73" y="23"/>
                      <a:pt x="73" y="23"/>
                    </a:cubicBezTo>
                    <a:cubicBezTo>
                      <a:pt x="74" y="22"/>
                      <a:pt x="77" y="22"/>
                      <a:pt x="77" y="22"/>
                    </a:cubicBezTo>
                    <a:cubicBezTo>
                      <a:pt x="77" y="22"/>
                      <a:pt x="77" y="25"/>
                      <a:pt x="73" y="27"/>
                    </a:cubicBezTo>
                    <a:cubicBezTo>
                      <a:pt x="69" y="29"/>
                      <a:pt x="67" y="27"/>
                      <a:pt x="67" y="27"/>
                    </a:cubicBezTo>
                    <a:cubicBezTo>
                      <a:pt x="68" y="25"/>
                      <a:pt x="70" y="24"/>
                      <a:pt x="70" y="24"/>
                    </a:cubicBezTo>
                    <a:close/>
                    <a:moveTo>
                      <a:pt x="65" y="17"/>
                    </a:moveTo>
                    <a:cubicBezTo>
                      <a:pt x="62" y="17"/>
                      <a:pt x="59" y="15"/>
                      <a:pt x="59" y="15"/>
                    </a:cubicBezTo>
                    <a:cubicBezTo>
                      <a:pt x="65" y="12"/>
                      <a:pt x="68" y="15"/>
                      <a:pt x="68" y="15"/>
                    </a:cubicBezTo>
                    <a:cubicBezTo>
                      <a:pt x="68" y="15"/>
                      <a:pt x="67" y="16"/>
                      <a:pt x="65" y="17"/>
                    </a:cubicBezTo>
                    <a:close/>
                    <a:moveTo>
                      <a:pt x="81" y="62"/>
                    </a:moveTo>
                    <a:cubicBezTo>
                      <a:pt x="81" y="67"/>
                      <a:pt x="76" y="64"/>
                      <a:pt x="76" y="64"/>
                    </a:cubicBezTo>
                    <a:cubicBezTo>
                      <a:pt x="75" y="72"/>
                      <a:pt x="67" y="64"/>
                      <a:pt x="67" y="64"/>
                    </a:cubicBezTo>
                    <a:cubicBezTo>
                      <a:pt x="66" y="67"/>
                      <a:pt x="64" y="66"/>
                      <a:pt x="63" y="65"/>
                    </a:cubicBezTo>
                    <a:cubicBezTo>
                      <a:pt x="60" y="67"/>
                      <a:pt x="60" y="64"/>
                      <a:pt x="60" y="63"/>
                    </a:cubicBezTo>
                    <a:cubicBezTo>
                      <a:pt x="59" y="63"/>
                      <a:pt x="58" y="62"/>
                      <a:pt x="58" y="62"/>
                    </a:cubicBezTo>
                    <a:cubicBezTo>
                      <a:pt x="53" y="61"/>
                      <a:pt x="57" y="53"/>
                      <a:pt x="57" y="53"/>
                    </a:cubicBezTo>
                    <a:cubicBezTo>
                      <a:pt x="52" y="52"/>
                      <a:pt x="56" y="47"/>
                      <a:pt x="56" y="47"/>
                    </a:cubicBezTo>
                    <a:cubicBezTo>
                      <a:pt x="56" y="45"/>
                      <a:pt x="56" y="44"/>
                      <a:pt x="57" y="43"/>
                    </a:cubicBezTo>
                    <a:cubicBezTo>
                      <a:pt x="58" y="43"/>
                      <a:pt x="59" y="45"/>
                      <a:pt x="59" y="45"/>
                    </a:cubicBezTo>
                    <a:cubicBezTo>
                      <a:pt x="58" y="45"/>
                      <a:pt x="58" y="45"/>
                      <a:pt x="58" y="45"/>
                    </a:cubicBezTo>
                    <a:cubicBezTo>
                      <a:pt x="60" y="47"/>
                      <a:pt x="60" y="47"/>
                      <a:pt x="60" y="47"/>
                    </a:cubicBezTo>
                    <a:cubicBezTo>
                      <a:pt x="58" y="47"/>
                      <a:pt x="58" y="47"/>
                      <a:pt x="58" y="47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57" y="49"/>
                      <a:pt x="57" y="49"/>
                      <a:pt x="57" y="49"/>
                    </a:cubicBezTo>
                    <a:cubicBezTo>
                      <a:pt x="60" y="49"/>
                      <a:pt x="60" y="49"/>
                      <a:pt x="60" y="49"/>
                    </a:cubicBezTo>
                    <a:cubicBezTo>
                      <a:pt x="57" y="51"/>
                      <a:pt x="57" y="51"/>
                      <a:pt x="57" y="51"/>
                    </a:cubicBezTo>
                    <a:cubicBezTo>
                      <a:pt x="60" y="51"/>
                      <a:pt x="60" y="51"/>
                      <a:pt x="60" y="51"/>
                    </a:cubicBezTo>
                    <a:cubicBezTo>
                      <a:pt x="60" y="51"/>
                      <a:pt x="58" y="52"/>
                      <a:pt x="58" y="52"/>
                    </a:cubicBezTo>
                    <a:cubicBezTo>
                      <a:pt x="58" y="52"/>
                      <a:pt x="60" y="52"/>
                      <a:pt x="60" y="52"/>
                    </a:cubicBezTo>
                    <a:cubicBezTo>
                      <a:pt x="58" y="54"/>
                      <a:pt x="58" y="54"/>
                      <a:pt x="58" y="54"/>
                    </a:cubicBezTo>
                    <a:cubicBezTo>
                      <a:pt x="61" y="54"/>
                      <a:pt x="61" y="54"/>
                      <a:pt x="61" y="54"/>
                    </a:cubicBezTo>
                    <a:cubicBezTo>
                      <a:pt x="59" y="56"/>
                      <a:pt x="59" y="56"/>
                      <a:pt x="59" y="56"/>
                    </a:cubicBezTo>
                    <a:cubicBezTo>
                      <a:pt x="61" y="55"/>
                      <a:pt x="61" y="55"/>
                      <a:pt x="61" y="55"/>
                    </a:cubicBezTo>
                    <a:cubicBezTo>
                      <a:pt x="60" y="58"/>
                      <a:pt x="60" y="58"/>
                      <a:pt x="60" y="58"/>
                    </a:cubicBezTo>
                    <a:cubicBezTo>
                      <a:pt x="62" y="56"/>
                      <a:pt x="62" y="56"/>
                      <a:pt x="62" y="56"/>
                    </a:cubicBezTo>
                    <a:cubicBezTo>
                      <a:pt x="60" y="60"/>
                      <a:pt x="60" y="60"/>
                      <a:pt x="60" y="60"/>
                    </a:cubicBezTo>
                    <a:cubicBezTo>
                      <a:pt x="63" y="57"/>
                      <a:pt x="63" y="57"/>
                      <a:pt x="63" y="57"/>
                    </a:cubicBezTo>
                    <a:cubicBezTo>
                      <a:pt x="62" y="60"/>
                      <a:pt x="62" y="60"/>
                      <a:pt x="62" y="60"/>
                    </a:cubicBezTo>
                    <a:cubicBezTo>
                      <a:pt x="62" y="60"/>
                      <a:pt x="62" y="60"/>
                      <a:pt x="62" y="60"/>
                    </a:cubicBezTo>
                    <a:cubicBezTo>
                      <a:pt x="62" y="61"/>
                      <a:pt x="62" y="61"/>
                      <a:pt x="62" y="61"/>
                    </a:cubicBezTo>
                    <a:cubicBezTo>
                      <a:pt x="63" y="58"/>
                      <a:pt x="63" y="58"/>
                      <a:pt x="63" y="58"/>
                    </a:cubicBezTo>
                    <a:cubicBezTo>
                      <a:pt x="63" y="61"/>
                      <a:pt x="63" y="61"/>
                      <a:pt x="63" y="61"/>
                    </a:cubicBezTo>
                    <a:cubicBezTo>
                      <a:pt x="63" y="60"/>
                      <a:pt x="63" y="60"/>
                      <a:pt x="63" y="60"/>
                    </a:cubicBezTo>
                    <a:cubicBezTo>
                      <a:pt x="63" y="61"/>
                      <a:pt x="63" y="61"/>
                      <a:pt x="63" y="61"/>
                    </a:cubicBezTo>
                    <a:cubicBezTo>
                      <a:pt x="64" y="58"/>
                      <a:pt x="64" y="58"/>
                      <a:pt x="64" y="58"/>
                    </a:cubicBezTo>
                    <a:cubicBezTo>
                      <a:pt x="64" y="61"/>
                      <a:pt x="64" y="61"/>
                      <a:pt x="64" y="61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5" y="60"/>
                      <a:pt x="65" y="59"/>
                      <a:pt x="65" y="59"/>
                    </a:cubicBezTo>
                    <a:cubicBezTo>
                      <a:pt x="65" y="59"/>
                      <a:pt x="65" y="62"/>
                      <a:pt x="65" y="63"/>
                    </a:cubicBezTo>
                    <a:cubicBezTo>
                      <a:pt x="65" y="62"/>
                      <a:pt x="65" y="62"/>
                      <a:pt x="65" y="62"/>
                    </a:cubicBezTo>
                    <a:cubicBezTo>
                      <a:pt x="65" y="60"/>
                      <a:pt x="65" y="60"/>
                      <a:pt x="65" y="60"/>
                    </a:cubicBezTo>
                    <a:cubicBezTo>
                      <a:pt x="65" y="60"/>
                      <a:pt x="66" y="61"/>
                      <a:pt x="66" y="61"/>
                    </a:cubicBezTo>
                    <a:cubicBezTo>
                      <a:pt x="66" y="61"/>
                      <a:pt x="66" y="61"/>
                      <a:pt x="66" y="61"/>
                    </a:cubicBezTo>
                    <a:cubicBezTo>
                      <a:pt x="66" y="61"/>
                      <a:pt x="67" y="63"/>
                      <a:pt x="67" y="63"/>
                    </a:cubicBezTo>
                    <a:cubicBezTo>
                      <a:pt x="67" y="64"/>
                      <a:pt x="67" y="61"/>
                      <a:pt x="67" y="61"/>
                    </a:cubicBezTo>
                    <a:cubicBezTo>
                      <a:pt x="69" y="64"/>
                      <a:pt x="69" y="64"/>
                      <a:pt x="69" y="64"/>
                    </a:cubicBezTo>
                    <a:cubicBezTo>
                      <a:pt x="69" y="61"/>
                      <a:pt x="69" y="61"/>
                      <a:pt x="69" y="61"/>
                    </a:cubicBezTo>
                    <a:cubicBezTo>
                      <a:pt x="71" y="63"/>
                      <a:pt x="71" y="63"/>
                      <a:pt x="71" y="63"/>
                    </a:cubicBezTo>
                    <a:cubicBezTo>
                      <a:pt x="70" y="61"/>
                      <a:pt x="70" y="61"/>
                      <a:pt x="70" y="61"/>
                    </a:cubicBezTo>
                    <a:cubicBezTo>
                      <a:pt x="72" y="63"/>
                      <a:pt x="72" y="63"/>
                      <a:pt x="72" y="63"/>
                    </a:cubicBezTo>
                    <a:cubicBezTo>
                      <a:pt x="71" y="60"/>
                      <a:pt x="71" y="60"/>
                      <a:pt x="71" y="60"/>
                    </a:cubicBezTo>
                    <a:cubicBezTo>
                      <a:pt x="74" y="63"/>
                      <a:pt x="74" y="63"/>
                      <a:pt x="74" y="63"/>
                    </a:cubicBezTo>
                    <a:cubicBezTo>
                      <a:pt x="72" y="60"/>
                      <a:pt x="72" y="60"/>
                      <a:pt x="72" y="60"/>
                    </a:cubicBezTo>
                    <a:cubicBezTo>
                      <a:pt x="76" y="62"/>
                      <a:pt x="76" y="62"/>
                      <a:pt x="76" y="62"/>
                    </a:cubicBezTo>
                    <a:cubicBezTo>
                      <a:pt x="73" y="60"/>
                      <a:pt x="73" y="60"/>
                      <a:pt x="73" y="60"/>
                    </a:cubicBezTo>
                    <a:cubicBezTo>
                      <a:pt x="77" y="62"/>
                      <a:pt x="77" y="62"/>
                      <a:pt x="77" y="62"/>
                    </a:cubicBezTo>
                    <a:cubicBezTo>
                      <a:pt x="74" y="59"/>
                      <a:pt x="74" y="59"/>
                      <a:pt x="74" y="59"/>
                    </a:cubicBezTo>
                    <a:cubicBezTo>
                      <a:pt x="78" y="61"/>
                      <a:pt x="78" y="61"/>
                      <a:pt x="78" y="61"/>
                    </a:cubicBezTo>
                    <a:cubicBezTo>
                      <a:pt x="78" y="61"/>
                      <a:pt x="75" y="59"/>
                      <a:pt x="75" y="59"/>
                    </a:cubicBezTo>
                    <a:cubicBezTo>
                      <a:pt x="75" y="59"/>
                      <a:pt x="79" y="60"/>
                      <a:pt x="79" y="60"/>
                    </a:cubicBezTo>
                    <a:cubicBezTo>
                      <a:pt x="77" y="58"/>
                      <a:pt x="77" y="58"/>
                      <a:pt x="77" y="58"/>
                    </a:cubicBezTo>
                    <a:cubicBezTo>
                      <a:pt x="77" y="58"/>
                      <a:pt x="80" y="58"/>
                      <a:pt x="81" y="60"/>
                    </a:cubicBezTo>
                    <a:cubicBezTo>
                      <a:pt x="83" y="61"/>
                      <a:pt x="81" y="62"/>
                      <a:pt x="81" y="62"/>
                    </a:cubicBezTo>
                    <a:close/>
                    <a:moveTo>
                      <a:pt x="83" y="51"/>
                    </a:moveTo>
                    <a:cubicBezTo>
                      <a:pt x="83" y="51"/>
                      <a:pt x="83" y="55"/>
                      <a:pt x="78" y="55"/>
                    </a:cubicBezTo>
                    <a:cubicBezTo>
                      <a:pt x="72" y="54"/>
                      <a:pt x="72" y="50"/>
                      <a:pt x="72" y="50"/>
                    </a:cubicBezTo>
                    <a:cubicBezTo>
                      <a:pt x="72" y="50"/>
                      <a:pt x="68" y="50"/>
                      <a:pt x="67" y="47"/>
                    </a:cubicBezTo>
                    <a:cubicBezTo>
                      <a:pt x="65" y="43"/>
                      <a:pt x="66" y="39"/>
                      <a:pt x="69" y="38"/>
                    </a:cubicBezTo>
                    <a:cubicBezTo>
                      <a:pt x="68" y="42"/>
                      <a:pt x="68" y="42"/>
                      <a:pt x="68" y="42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9"/>
                      <a:pt x="69" y="44"/>
                      <a:pt x="69" y="44"/>
                    </a:cubicBezTo>
                    <a:cubicBezTo>
                      <a:pt x="69" y="44"/>
                      <a:pt x="71" y="40"/>
                      <a:pt x="71" y="40"/>
                    </a:cubicBezTo>
                    <a:cubicBezTo>
                      <a:pt x="71" y="46"/>
                      <a:pt x="71" y="46"/>
                      <a:pt x="71" y="46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74" y="47"/>
                      <a:pt x="74" y="47"/>
                      <a:pt x="74" y="47"/>
                    </a:cubicBezTo>
                    <a:cubicBezTo>
                      <a:pt x="74" y="42"/>
                      <a:pt x="74" y="42"/>
                      <a:pt x="74" y="42"/>
                    </a:cubicBezTo>
                    <a:cubicBezTo>
                      <a:pt x="76" y="48"/>
                      <a:pt x="76" y="48"/>
                      <a:pt x="76" y="48"/>
                    </a:cubicBezTo>
                    <a:cubicBezTo>
                      <a:pt x="76" y="48"/>
                      <a:pt x="76" y="42"/>
                      <a:pt x="76" y="42"/>
                    </a:cubicBezTo>
                    <a:cubicBezTo>
                      <a:pt x="76" y="42"/>
                      <a:pt x="78" y="48"/>
                      <a:pt x="78" y="48"/>
                    </a:cubicBezTo>
                    <a:cubicBezTo>
                      <a:pt x="78" y="42"/>
                      <a:pt x="78" y="42"/>
                      <a:pt x="78" y="42"/>
                    </a:cubicBezTo>
                    <a:cubicBezTo>
                      <a:pt x="80" y="47"/>
                      <a:pt x="80" y="47"/>
                      <a:pt x="80" y="47"/>
                    </a:cubicBezTo>
                    <a:cubicBezTo>
                      <a:pt x="79" y="41"/>
                      <a:pt x="79" y="41"/>
                      <a:pt x="79" y="41"/>
                    </a:cubicBezTo>
                    <a:cubicBezTo>
                      <a:pt x="82" y="47"/>
                      <a:pt x="82" y="47"/>
                      <a:pt x="82" y="47"/>
                    </a:cubicBezTo>
                    <a:cubicBezTo>
                      <a:pt x="81" y="41"/>
                      <a:pt x="81" y="41"/>
                      <a:pt x="81" y="41"/>
                    </a:cubicBezTo>
                    <a:cubicBezTo>
                      <a:pt x="84" y="46"/>
                      <a:pt x="84" y="46"/>
                      <a:pt x="84" y="46"/>
                    </a:cubicBezTo>
                    <a:cubicBezTo>
                      <a:pt x="82" y="40"/>
                      <a:pt x="82" y="40"/>
                      <a:pt x="82" y="40"/>
                    </a:cubicBezTo>
                    <a:cubicBezTo>
                      <a:pt x="85" y="44"/>
                      <a:pt x="85" y="44"/>
                      <a:pt x="85" y="44"/>
                    </a:cubicBezTo>
                    <a:cubicBezTo>
                      <a:pt x="83" y="39"/>
                      <a:pt x="83" y="39"/>
                      <a:pt x="83" y="39"/>
                    </a:cubicBezTo>
                    <a:cubicBezTo>
                      <a:pt x="83" y="39"/>
                      <a:pt x="93" y="50"/>
                      <a:pt x="83" y="5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95" name="文本框 94"/>
            <p:cNvSpPr txBox="1"/>
            <p:nvPr/>
          </p:nvSpPr>
          <p:spPr>
            <a:xfrm>
              <a:off x="981440" y="4022072"/>
              <a:ext cx="10771978" cy="1015663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6000" b="1" dirty="0" smtClean="0">
                  <a:ln w="19050">
                    <a:noFill/>
                  </a:ln>
                  <a:solidFill>
                    <a:srgbClr val="C3161C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2015</a:t>
              </a:r>
              <a:r>
                <a:rPr lang="en-US" altLang="zh-CN" sz="6000" b="1" dirty="0" smtClean="0">
                  <a:ln w="19050">
                    <a:noFill/>
                  </a:ln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 </a:t>
              </a:r>
              <a:r>
                <a:rPr lang="zh-CN" altLang="en-US" sz="6000" b="1" dirty="0" smtClean="0">
                  <a:ln w="19050">
                    <a:noFill/>
                  </a:ln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年汇报总结</a:t>
              </a:r>
              <a:r>
                <a:rPr lang="zh-CN" altLang="en-US" sz="6000" b="1" dirty="0">
                  <a:ln w="19050">
                    <a:noFill/>
                  </a:ln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类</a:t>
              </a:r>
              <a:r>
                <a:rPr lang="zh-CN" altLang="en-US" sz="6000" b="1" dirty="0" smtClean="0">
                  <a:ln w="19050">
                    <a:noFill/>
                  </a:ln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模板</a:t>
              </a:r>
              <a:endParaRPr lang="zh-CN" altLang="en-US" sz="6000" b="1" dirty="0">
                <a:ln w="19050">
                  <a:noFill/>
                </a:ln>
                <a:solidFill>
                  <a:schemeClr val="bg1"/>
                </a:solidFill>
                <a:latin typeface="张海山锐谐体" panose="02000000000000000000" pitchFamily="2" charset="-122"/>
                <a:ea typeface="张海山锐谐体" panose="02000000000000000000" pitchFamily="2" charset="-122"/>
              </a:endParaRPr>
            </a:p>
          </p:txBody>
        </p:sp>
        <p:sp>
          <p:nvSpPr>
            <p:cNvPr id="93" name="TextBox 123"/>
            <p:cNvSpPr txBox="1">
              <a:spLocks noChangeArrowheads="1"/>
            </p:cNvSpPr>
            <p:nvPr/>
          </p:nvSpPr>
          <p:spPr bwMode="auto">
            <a:xfrm>
              <a:off x="4946396" y="5299174"/>
              <a:ext cx="2842066" cy="4001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  <a:scene3d>
                <a:camera prst="orthographicFront"/>
                <a:lightRig rig="flood" dir="t"/>
              </a:scene3d>
              <a:sp3d extrusionH="114300">
                <a:extrusionClr>
                  <a:srgbClr val="00B0F0"/>
                </a:extrusionClr>
                <a:contourClr>
                  <a:schemeClr val="bg1"/>
                </a:contourClr>
              </a:sp3d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charset="-122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2000" dirty="0" smtClean="0">
                  <a:solidFill>
                    <a:srgbClr val="000000"/>
                  </a:solidFill>
                  <a:latin typeface="Meiryo UI" pitchFamily="34" charset="-128"/>
                  <a:ea typeface="Meiryo UI" pitchFamily="34" charset="-128"/>
                  <a:cs typeface="Meiryo UI" pitchFamily="34" charset="-128"/>
                </a:rPr>
                <a:t>汇报 人</a:t>
              </a:r>
              <a:r>
                <a:rPr lang="zh-CN" altLang="en-US" sz="2000" dirty="0" smtClean="0">
                  <a:solidFill>
                    <a:srgbClr val="000000"/>
                  </a:solidFill>
                  <a:latin typeface="Meiryo UI" pitchFamily="34" charset="-128"/>
                  <a:ea typeface="Meiryo UI" pitchFamily="34" charset="-128"/>
                  <a:cs typeface="Meiryo UI" pitchFamily="34" charset="-128"/>
                </a:rPr>
                <a:t>：</a:t>
              </a:r>
              <a:r>
                <a:rPr lang="en-US" altLang="zh-CN" sz="2000" dirty="0" smtClean="0">
                  <a:solidFill>
                    <a:srgbClr val="000000"/>
                  </a:solidFill>
                  <a:latin typeface="Meiryo UI" pitchFamily="34" charset="-128"/>
                  <a:ea typeface="Meiryo UI" pitchFamily="34" charset="-128"/>
                  <a:cs typeface="Meiryo UI" pitchFamily="34" charset="-128"/>
                </a:rPr>
                <a:t>PPT</a:t>
              </a:r>
              <a:r>
                <a:rPr lang="zh-CN" altLang="en-US" sz="2000" dirty="0" smtClean="0">
                  <a:solidFill>
                    <a:srgbClr val="000000"/>
                  </a:solidFill>
                  <a:latin typeface="Meiryo UI" pitchFamily="34" charset="-128"/>
                  <a:ea typeface="Meiryo UI" pitchFamily="34" charset="-128"/>
                  <a:cs typeface="Meiryo UI" pitchFamily="34" charset="-128"/>
                </a:rPr>
                <a:t>宝藏网</a:t>
              </a:r>
              <a:endParaRPr lang="zh-CN" altLang="en-US" sz="2000" dirty="0">
                <a:solidFill>
                  <a:srgbClr val="000000"/>
                </a:solidFill>
                <a:latin typeface="Meiryo UI" pitchFamily="34" charset="-128"/>
                <a:ea typeface="Meiryo UI" pitchFamily="34" charset="-128"/>
                <a:cs typeface="Meiryo UI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9913868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400">
        <p14:ripple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" name="组合 82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84" name="组合 83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86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85" name="文本框 84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grpSp>
        <p:nvGrpSpPr>
          <p:cNvPr id="96" name="组合 95"/>
          <p:cNvGrpSpPr/>
          <p:nvPr/>
        </p:nvGrpSpPr>
        <p:grpSpPr>
          <a:xfrm>
            <a:off x="1099789" y="1858535"/>
            <a:ext cx="9992422" cy="3370665"/>
            <a:chOff x="1099789" y="1748039"/>
            <a:chExt cx="9992422" cy="3370665"/>
          </a:xfrm>
        </p:grpSpPr>
        <p:grpSp>
          <p:nvGrpSpPr>
            <p:cNvPr id="82" name="组合 81"/>
            <p:cNvGrpSpPr/>
            <p:nvPr/>
          </p:nvGrpSpPr>
          <p:grpSpPr>
            <a:xfrm>
              <a:off x="1099789" y="1748039"/>
              <a:ext cx="9992422" cy="1993261"/>
              <a:chOff x="716298" y="1681163"/>
              <a:chExt cx="7711405" cy="1538250"/>
            </a:xfrm>
          </p:grpSpPr>
          <p:sp>
            <p:nvSpPr>
              <p:cNvPr id="30" name="燕尾形 57"/>
              <p:cNvSpPr/>
              <p:nvPr/>
            </p:nvSpPr>
            <p:spPr>
              <a:xfrm>
                <a:off x="5301368" y="2700071"/>
                <a:ext cx="520229" cy="516275"/>
              </a:xfrm>
              <a:custGeom>
                <a:avLst/>
                <a:gdLst/>
                <a:ahLst/>
                <a:cxnLst/>
                <a:rect l="l" t="t" r="r" b="b"/>
                <a:pathLst>
                  <a:path w="520229" h="516275">
                    <a:moveTo>
                      <a:pt x="0" y="0"/>
                    </a:moveTo>
                    <a:lnTo>
                      <a:pt x="197696" y="0"/>
                    </a:lnTo>
                    <a:lnTo>
                      <a:pt x="520229" y="363344"/>
                    </a:lnTo>
                    <a:lnTo>
                      <a:pt x="384476" y="516275"/>
                    </a:lnTo>
                    <a:lnTo>
                      <a:pt x="210413" y="516275"/>
                    </a:lnTo>
                    <a:lnTo>
                      <a:pt x="363344" y="363344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燕尾形 30"/>
              <p:cNvSpPr/>
              <p:nvPr/>
            </p:nvSpPr>
            <p:spPr>
              <a:xfrm>
                <a:off x="4510522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燕尾形 31"/>
              <p:cNvSpPr/>
              <p:nvPr/>
            </p:nvSpPr>
            <p:spPr>
              <a:xfrm>
                <a:off x="8105035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燕尾形 32"/>
              <p:cNvSpPr/>
              <p:nvPr/>
            </p:nvSpPr>
            <p:spPr>
              <a:xfrm>
                <a:off x="915994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燕尾形 33"/>
              <p:cNvSpPr/>
              <p:nvPr/>
            </p:nvSpPr>
            <p:spPr>
              <a:xfrm>
                <a:off x="1115690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燕尾形 34"/>
              <p:cNvSpPr/>
              <p:nvPr/>
            </p:nvSpPr>
            <p:spPr>
              <a:xfrm>
                <a:off x="716298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燕尾形 35"/>
              <p:cNvSpPr/>
              <p:nvPr/>
            </p:nvSpPr>
            <p:spPr>
              <a:xfrm>
                <a:off x="1515082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燕尾形 36"/>
              <p:cNvSpPr/>
              <p:nvPr/>
            </p:nvSpPr>
            <p:spPr>
              <a:xfrm>
                <a:off x="1714778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燕尾形 37"/>
              <p:cNvSpPr/>
              <p:nvPr/>
            </p:nvSpPr>
            <p:spPr>
              <a:xfrm>
                <a:off x="3512042" y="2916618"/>
                <a:ext cx="322668" cy="299728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燕尾形 38"/>
              <p:cNvSpPr/>
              <p:nvPr/>
            </p:nvSpPr>
            <p:spPr>
              <a:xfrm>
                <a:off x="2513562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燕尾形 39"/>
              <p:cNvSpPr/>
              <p:nvPr/>
            </p:nvSpPr>
            <p:spPr>
              <a:xfrm>
                <a:off x="2912954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燕尾形 40"/>
              <p:cNvSpPr/>
              <p:nvPr/>
            </p:nvSpPr>
            <p:spPr>
              <a:xfrm>
                <a:off x="2114170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燕尾形 41"/>
              <p:cNvSpPr/>
              <p:nvPr/>
            </p:nvSpPr>
            <p:spPr>
              <a:xfrm>
                <a:off x="3711738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燕尾形 42"/>
              <p:cNvSpPr/>
              <p:nvPr/>
            </p:nvSpPr>
            <p:spPr>
              <a:xfrm>
                <a:off x="3911434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燕尾形 43"/>
              <p:cNvSpPr/>
              <p:nvPr/>
            </p:nvSpPr>
            <p:spPr>
              <a:xfrm>
                <a:off x="7106570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燕尾形 44"/>
              <p:cNvSpPr/>
              <p:nvPr/>
            </p:nvSpPr>
            <p:spPr>
              <a:xfrm>
                <a:off x="7505962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燕尾形 45"/>
              <p:cNvSpPr/>
              <p:nvPr/>
            </p:nvSpPr>
            <p:spPr>
              <a:xfrm>
                <a:off x="6906874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燕尾形 46"/>
              <p:cNvSpPr/>
              <p:nvPr/>
            </p:nvSpPr>
            <p:spPr>
              <a:xfrm>
                <a:off x="7705658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燕尾形 47"/>
              <p:cNvSpPr/>
              <p:nvPr/>
            </p:nvSpPr>
            <p:spPr>
              <a:xfrm>
                <a:off x="7905354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燕尾形 48"/>
              <p:cNvSpPr/>
              <p:nvPr/>
            </p:nvSpPr>
            <p:spPr>
              <a:xfrm>
                <a:off x="4909914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燕尾形 49"/>
              <p:cNvSpPr/>
              <p:nvPr/>
            </p:nvSpPr>
            <p:spPr>
              <a:xfrm>
                <a:off x="4710218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燕尾形 50"/>
              <p:cNvSpPr/>
              <p:nvPr/>
            </p:nvSpPr>
            <p:spPr>
              <a:xfrm>
                <a:off x="4310826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燕尾形 51"/>
              <p:cNvSpPr/>
              <p:nvPr/>
            </p:nvSpPr>
            <p:spPr>
              <a:xfrm>
                <a:off x="5109610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燕尾形 52"/>
              <p:cNvSpPr/>
              <p:nvPr/>
            </p:nvSpPr>
            <p:spPr>
              <a:xfrm>
                <a:off x="6307786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燕尾形 53"/>
              <p:cNvSpPr/>
              <p:nvPr/>
            </p:nvSpPr>
            <p:spPr>
              <a:xfrm>
                <a:off x="5908394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燕尾形 54"/>
              <p:cNvSpPr/>
              <p:nvPr/>
            </p:nvSpPr>
            <p:spPr>
              <a:xfrm>
                <a:off x="6108090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燕尾形 55"/>
              <p:cNvSpPr/>
              <p:nvPr/>
            </p:nvSpPr>
            <p:spPr>
              <a:xfrm>
                <a:off x="5708698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燕尾形 56"/>
              <p:cNvSpPr/>
              <p:nvPr/>
            </p:nvSpPr>
            <p:spPr>
              <a:xfrm>
                <a:off x="6507482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8" name="燕尾形 57"/>
              <p:cNvSpPr/>
              <p:nvPr/>
            </p:nvSpPr>
            <p:spPr>
              <a:xfrm>
                <a:off x="6707178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59" name="燕尾形 58"/>
              <p:cNvSpPr/>
              <p:nvPr/>
            </p:nvSpPr>
            <p:spPr>
              <a:xfrm>
                <a:off x="1914474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燕尾形 59"/>
              <p:cNvSpPr/>
              <p:nvPr/>
            </p:nvSpPr>
            <p:spPr>
              <a:xfrm>
                <a:off x="4111130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燕尾形 60"/>
              <p:cNvSpPr/>
              <p:nvPr/>
            </p:nvSpPr>
            <p:spPr>
              <a:xfrm>
                <a:off x="2713258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2" name="燕尾形 61"/>
              <p:cNvSpPr/>
              <p:nvPr/>
            </p:nvSpPr>
            <p:spPr>
              <a:xfrm>
                <a:off x="3112650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3" name="燕尾形 62"/>
              <p:cNvSpPr/>
              <p:nvPr/>
            </p:nvSpPr>
            <p:spPr>
              <a:xfrm>
                <a:off x="2313866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燕尾形 63"/>
              <p:cNvSpPr/>
              <p:nvPr/>
            </p:nvSpPr>
            <p:spPr>
              <a:xfrm>
                <a:off x="7306266" y="2913551"/>
                <a:ext cx="322668" cy="305862"/>
              </a:xfrm>
              <a:prstGeom prst="chevron">
                <a:avLst/>
              </a:prstGeom>
              <a:solidFill>
                <a:srgbClr val="C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燕尾形 64"/>
              <p:cNvSpPr/>
              <p:nvPr/>
            </p:nvSpPr>
            <p:spPr>
              <a:xfrm>
                <a:off x="1315386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燕尾形 65"/>
              <p:cNvSpPr/>
              <p:nvPr/>
            </p:nvSpPr>
            <p:spPr>
              <a:xfrm>
                <a:off x="3312346" y="2916618"/>
                <a:ext cx="322668" cy="299728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燕尾形 66"/>
              <p:cNvSpPr/>
              <p:nvPr/>
            </p:nvSpPr>
            <p:spPr>
              <a:xfrm>
                <a:off x="5309306" y="2913551"/>
                <a:ext cx="322668" cy="305862"/>
              </a:xfrm>
              <a:prstGeom prst="chevron">
                <a:avLst/>
              </a:prstGeom>
              <a:solidFill>
                <a:srgbClr val="BDBD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Freeform 5"/>
              <p:cNvSpPr>
                <a:spLocks noEditPoints="1"/>
              </p:cNvSpPr>
              <p:nvPr/>
            </p:nvSpPr>
            <p:spPr bwMode="auto">
              <a:xfrm flipH="1">
                <a:off x="843554" y="2563713"/>
                <a:ext cx="375288" cy="294388"/>
              </a:xfrm>
              <a:custGeom>
                <a:avLst/>
                <a:gdLst>
                  <a:gd name="T0" fmla="*/ 130 w 134"/>
                  <a:gd name="T1" fmla="*/ 71 h 104"/>
                  <a:gd name="T2" fmla="*/ 120 w 134"/>
                  <a:gd name="T3" fmla="*/ 75 h 104"/>
                  <a:gd name="T4" fmla="*/ 102 w 134"/>
                  <a:gd name="T5" fmla="*/ 78 h 104"/>
                  <a:gd name="T6" fmla="*/ 89 w 134"/>
                  <a:gd name="T7" fmla="*/ 83 h 104"/>
                  <a:gd name="T8" fmla="*/ 84 w 134"/>
                  <a:gd name="T9" fmla="*/ 62 h 104"/>
                  <a:gd name="T10" fmla="*/ 87 w 134"/>
                  <a:gd name="T11" fmla="*/ 45 h 104"/>
                  <a:gd name="T12" fmla="*/ 71 w 134"/>
                  <a:gd name="T13" fmla="*/ 27 h 104"/>
                  <a:gd name="T14" fmla="*/ 39 w 134"/>
                  <a:gd name="T15" fmla="*/ 16 h 104"/>
                  <a:gd name="T16" fmla="*/ 25 w 134"/>
                  <a:gd name="T17" fmla="*/ 17 h 104"/>
                  <a:gd name="T18" fmla="*/ 22 w 134"/>
                  <a:gd name="T19" fmla="*/ 8 h 104"/>
                  <a:gd name="T20" fmla="*/ 2 w 134"/>
                  <a:gd name="T21" fmla="*/ 9 h 104"/>
                  <a:gd name="T22" fmla="*/ 1 w 134"/>
                  <a:gd name="T23" fmla="*/ 20 h 104"/>
                  <a:gd name="T24" fmla="*/ 4 w 134"/>
                  <a:gd name="T25" fmla="*/ 23 h 104"/>
                  <a:gd name="T26" fmla="*/ 5 w 134"/>
                  <a:gd name="T27" fmla="*/ 28 h 104"/>
                  <a:gd name="T28" fmla="*/ 7 w 134"/>
                  <a:gd name="T29" fmla="*/ 29 h 104"/>
                  <a:gd name="T30" fmla="*/ 8 w 134"/>
                  <a:gd name="T31" fmla="*/ 30 h 104"/>
                  <a:gd name="T32" fmla="*/ 9 w 134"/>
                  <a:gd name="T33" fmla="*/ 31 h 104"/>
                  <a:gd name="T34" fmla="*/ 10 w 134"/>
                  <a:gd name="T35" fmla="*/ 32 h 104"/>
                  <a:gd name="T36" fmla="*/ 16 w 134"/>
                  <a:gd name="T37" fmla="*/ 32 h 104"/>
                  <a:gd name="T38" fmla="*/ 18 w 134"/>
                  <a:gd name="T39" fmla="*/ 45 h 104"/>
                  <a:gd name="T40" fmla="*/ 17 w 134"/>
                  <a:gd name="T41" fmla="*/ 66 h 104"/>
                  <a:gd name="T42" fmla="*/ 15 w 134"/>
                  <a:gd name="T43" fmla="*/ 91 h 104"/>
                  <a:gd name="T44" fmla="*/ 15 w 134"/>
                  <a:gd name="T45" fmla="*/ 98 h 104"/>
                  <a:gd name="T46" fmla="*/ 20 w 134"/>
                  <a:gd name="T47" fmla="*/ 95 h 104"/>
                  <a:gd name="T48" fmla="*/ 24 w 134"/>
                  <a:gd name="T49" fmla="*/ 97 h 104"/>
                  <a:gd name="T50" fmla="*/ 22 w 134"/>
                  <a:gd name="T51" fmla="*/ 91 h 104"/>
                  <a:gd name="T52" fmla="*/ 25 w 134"/>
                  <a:gd name="T53" fmla="*/ 79 h 104"/>
                  <a:gd name="T54" fmla="*/ 28 w 134"/>
                  <a:gd name="T55" fmla="*/ 56 h 104"/>
                  <a:gd name="T56" fmla="*/ 30 w 134"/>
                  <a:gd name="T57" fmla="*/ 47 h 104"/>
                  <a:gd name="T58" fmla="*/ 31 w 134"/>
                  <a:gd name="T59" fmla="*/ 47 h 104"/>
                  <a:gd name="T60" fmla="*/ 29 w 134"/>
                  <a:gd name="T61" fmla="*/ 56 h 104"/>
                  <a:gd name="T62" fmla="*/ 41 w 134"/>
                  <a:gd name="T63" fmla="*/ 70 h 104"/>
                  <a:gd name="T64" fmla="*/ 39 w 134"/>
                  <a:gd name="T65" fmla="*/ 95 h 104"/>
                  <a:gd name="T66" fmla="*/ 40 w 134"/>
                  <a:gd name="T67" fmla="*/ 102 h 104"/>
                  <a:gd name="T68" fmla="*/ 46 w 134"/>
                  <a:gd name="T69" fmla="*/ 101 h 104"/>
                  <a:gd name="T70" fmla="*/ 46 w 134"/>
                  <a:gd name="T71" fmla="*/ 97 h 104"/>
                  <a:gd name="T72" fmla="*/ 55 w 134"/>
                  <a:gd name="T73" fmla="*/ 97 h 104"/>
                  <a:gd name="T74" fmla="*/ 68 w 134"/>
                  <a:gd name="T75" fmla="*/ 97 h 104"/>
                  <a:gd name="T76" fmla="*/ 73 w 134"/>
                  <a:gd name="T77" fmla="*/ 93 h 104"/>
                  <a:gd name="T78" fmla="*/ 67 w 134"/>
                  <a:gd name="T79" fmla="*/ 84 h 104"/>
                  <a:gd name="T80" fmla="*/ 54 w 134"/>
                  <a:gd name="T81" fmla="*/ 65 h 104"/>
                  <a:gd name="T82" fmla="*/ 64 w 134"/>
                  <a:gd name="T83" fmla="*/ 67 h 104"/>
                  <a:gd name="T84" fmla="*/ 73 w 134"/>
                  <a:gd name="T85" fmla="*/ 84 h 104"/>
                  <a:gd name="T86" fmla="*/ 85 w 134"/>
                  <a:gd name="T87" fmla="*/ 95 h 104"/>
                  <a:gd name="T88" fmla="*/ 116 w 134"/>
                  <a:gd name="T89" fmla="*/ 84 h 104"/>
                  <a:gd name="T90" fmla="*/ 125 w 134"/>
                  <a:gd name="T91" fmla="*/ 90 h 104"/>
                  <a:gd name="T92" fmla="*/ 126 w 134"/>
                  <a:gd name="T93" fmla="*/ 96 h 104"/>
                  <a:gd name="T94" fmla="*/ 132 w 134"/>
                  <a:gd name="T95" fmla="*/ 87 h 104"/>
                  <a:gd name="T96" fmla="*/ 134 w 134"/>
                  <a:gd name="T97" fmla="*/ 75 h 104"/>
                  <a:gd name="T98" fmla="*/ 54 w 134"/>
                  <a:gd name="T99" fmla="*/ 90 h 104"/>
                  <a:gd name="T100" fmla="*/ 47 w 134"/>
                  <a:gd name="T101" fmla="*/ 93 h 104"/>
                  <a:gd name="T102" fmla="*/ 50 w 134"/>
                  <a:gd name="T103" fmla="*/ 79 h 104"/>
                  <a:gd name="T104" fmla="*/ 50 w 134"/>
                  <a:gd name="T105" fmla="*/ 77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4" h="104">
                    <a:moveTo>
                      <a:pt x="134" y="75"/>
                    </a:moveTo>
                    <a:cubicBezTo>
                      <a:pt x="134" y="72"/>
                      <a:pt x="131" y="71"/>
                      <a:pt x="130" y="71"/>
                    </a:cubicBezTo>
                    <a:cubicBezTo>
                      <a:pt x="129" y="71"/>
                      <a:pt x="125" y="72"/>
                      <a:pt x="125" y="73"/>
                    </a:cubicBezTo>
                    <a:cubicBezTo>
                      <a:pt x="124" y="73"/>
                      <a:pt x="121" y="75"/>
                      <a:pt x="120" y="75"/>
                    </a:cubicBezTo>
                    <a:cubicBezTo>
                      <a:pt x="120" y="75"/>
                      <a:pt x="112" y="76"/>
                      <a:pt x="112" y="76"/>
                    </a:cubicBezTo>
                    <a:cubicBezTo>
                      <a:pt x="112" y="76"/>
                      <a:pt x="103" y="78"/>
                      <a:pt x="102" y="78"/>
                    </a:cubicBezTo>
                    <a:cubicBezTo>
                      <a:pt x="101" y="78"/>
                      <a:pt x="96" y="79"/>
                      <a:pt x="94" y="81"/>
                    </a:cubicBezTo>
                    <a:cubicBezTo>
                      <a:pt x="92" y="82"/>
                      <a:pt x="89" y="83"/>
                      <a:pt x="89" y="83"/>
                    </a:cubicBezTo>
                    <a:cubicBezTo>
                      <a:pt x="88" y="82"/>
                      <a:pt x="87" y="77"/>
                      <a:pt x="86" y="74"/>
                    </a:cubicBezTo>
                    <a:cubicBezTo>
                      <a:pt x="86" y="72"/>
                      <a:pt x="84" y="62"/>
                      <a:pt x="84" y="62"/>
                    </a:cubicBezTo>
                    <a:cubicBezTo>
                      <a:pt x="84" y="62"/>
                      <a:pt x="85" y="60"/>
                      <a:pt x="87" y="55"/>
                    </a:cubicBezTo>
                    <a:cubicBezTo>
                      <a:pt x="89" y="51"/>
                      <a:pt x="88" y="47"/>
                      <a:pt x="87" y="45"/>
                    </a:cubicBezTo>
                    <a:cubicBezTo>
                      <a:pt x="87" y="44"/>
                      <a:pt x="85" y="39"/>
                      <a:pt x="84" y="37"/>
                    </a:cubicBezTo>
                    <a:cubicBezTo>
                      <a:pt x="83" y="35"/>
                      <a:pt x="76" y="30"/>
                      <a:pt x="71" y="27"/>
                    </a:cubicBezTo>
                    <a:cubicBezTo>
                      <a:pt x="67" y="24"/>
                      <a:pt x="58" y="20"/>
                      <a:pt x="52" y="18"/>
                    </a:cubicBezTo>
                    <a:cubicBezTo>
                      <a:pt x="45" y="15"/>
                      <a:pt x="40" y="16"/>
                      <a:pt x="39" y="16"/>
                    </a:cubicBezTo>
                    <a:cubicBezTo>
                      <a:pt x="37" y="17"/>
                      <a:pt x="31" y="18"/>
                      <a:pt x="30" y="18"/>
                    </a:cubicBezTo>
                    <a:cubicBezTo>
                      <a:pt x="29" y="18"/>
                      <a:pt x="25" y="17"/>
                      <a:pt x="25" y="17"/>
                    </a:cubicBezTo>
                    <a:cubicBezTo>
                      <a:pt x="25" y="17"/>
                      <a:pt x="24" y="14"/>
                      <a:pt x="23" y="13"/>
                    </a:cubicBezTo>
                    <a:cubicBezTo>
                      <a:pt x="23" y="12"/>
                      <a:pt x="22" y="9"/>
                      <a:pt x="22" y="8"/>
                    </a:cubicBezTo>
                    <a:cubicBezTo>
                      <a:pt x="21" y="6"/>
                      <a:pt x="15" y="0"/>
                      <a:pt x="9" y="3"/>
                    </a:cubicBezTo>
                    <a:cubicBezTo>
                      <a:pt x="6" y="4"/>
                      <a:pt x="3" y="7"/>
                      <a:pt x="2" y="9"/>
                    </a:cubicBezTo>
                    <a:cubicBezTo>
                      <a:pt x="0" y="11"/>
                      <a:pt x="0" y="15"/>
                      <a:pt x="0" y="15"/>
                    </a:cubicBezTo>
                    <a:cubicBezTo>
                      <a:pt x="0" y="16"/>
                      <a:pt x="1" y="18"/>
                      <a:pt x="1" y="20"/>
                    </a:cubicBezTo>
                    <a:cubicBezTo>
                      <a:pt x="1" y="21"/>
                      <a:pt x="2" y="22"/>
                      <a:pt x="3" y="22"/>
                    </a:cubicBezTo>
                    <a:cubicBezTo>
                      <a:pt x="3" y="22"/>
                      <a:pt x="4" y="23"/>
                      <a:pt x="4" y="23"/>
                    </a:cubicBezTo>
                    <a:cubicBezTo>
                      <a:pt x="4" y="23"/>
                      <a:pt x="4" y="26"/>
                      <a:pt x="4" y="27"/>
                    </a:cubicBezTo>
                    <a:cubicBezTo>
                      <a:pt x="4" y="28"/>
                      <a:pt x="4" y="28"/>
                      <a:pt x="5" y="28"/>
                    </a:cubicBezTo>
                    <a:cubicBezTo>
                      <a:pt x="5" y="28"/>
                      <a:pt x="6" y="28"/>
                      <a:pt x="6" y="28"/>
                    </a:cubicBezTo>
                    <a:cubicBezTo>
                      <a:pt x="6" y="28"/>
                      <a:pt x="7" y="29"/>
                      <a:pt x="7" y="29"/>
                    </a:cubicBezTo>
                    <a:cubicBezTo>
                      <a:pt x="7" y="30"/>
                      <a:pt x="7" y="30"/>
                      <a:pt x="8" y="3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9" y="31"/>
                      <a:pt x="9" y="31"/>
                    </a:cubicBezTo>
                    <a:cubicBezTo>
                      <a:pt x="9" y="31"/>
                      <a:pt x="10" y="32"/>
                      <a:pt x="10" y="32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1" y="33"/>
                      <a:pt x="12" y="33"/>
                      <a:pt x="13" y="34"/>
                    </a:cubicBezTo>
                    <a:cubicBezTo>
                      <a:pt x="14" y="34"/>
                      <a:pt x="16" y="32"/>
                      <a:pt x="16" y="32"/>
                    </a:cubicBezTo>
                    <a:cubicBezTo>
                      <a:pt x="16" y="32"/>
                      <a:pt x="16" y="32"/>
                      <a:pt x="15" y="34"/>
                    </a:cubicBezTo>
                    <a:cubicBezTo>
                      <a:pt x="15" y="36"/>
                      <a:pt x="17" y="43"/>
                      <a:pt x="18" y="45"/>
                    </a:cubicBezTo>
                    <a:cubicBezTo>
                      <a:pt x="18" y="47"/>
                      <a:pt x="19" y="54"/>
                      <a:pt x="19" y="56"/>
                    </a:cubicBezTo>
                    <a:cubicBezTo>
                      <a:pt x="19" y="59"/>
                      <a:pt x="17" y="64"/>
                      <a:pt x="17" y="66"/>
                    </a:cubicBezTo>
                    <a:cubicBezTo>
                      <a:pt x="17" y="68"/>
                      <a:pt x="16" y="85"/>
                      <a:pt x="16" y="86"/>
                    </a:cubicBezTo>
                    <a:cubicBezTo>
                      <a:pt x="16" y="87"/>
                      <a:pt x="16" y="89"/>
                      <a:pt x="15" y="91"/>
                    </a:cubicBezTo>
                    <a:cubicBezTo>
                      <a:pt x="14" y="92"/>
                      <a:pt x="11" y="96"/>
                      <a:pt x="12" y="96"/>
                    </a:cubicBezTo>
                    <a:cubicBezTo>
                      <a:pt x="12" y="98"/>
                      <a:pt x="14" y="97"/>
                      <a:pt x="15" y="98"/>
                    </a:cubicBezTo>
                    <a:cubicBezTo>
                      <a:pt x="16" y="98"/>
                      <a:pt x="20" y="98"/>
                      <a:pt x="22" y="96"/>
                    </a:cubicBezTo>
                    <a:cubicBezTo>
                      <a:pt x="22" y="96"/>
                      <a:pt x="20" y="95"/>
                      <a:pt x="20" y="95"/>
                    </a:cubicBezTo>
                    <a:cubicBezTo>
                      <a:pt x="20" y="94"/>
                      <a:pt x="21" y="94"/>
                      <a:pt x="21" y="95"/>
                    </a:cubicBezTo>
                    <a:cubicBezTo>
                      <a:pt x="22" y="96"/>
                      <a:pt x="24" y="97"/>
                      <a:pt x="24" y="97"/>
                    </a:cubicBezTo>
                    <a:cubicBezTo>
                      <a:pt x="25" y="96"/>
                      <a:pt x="24" y="95"/>
                      <a:pt x="23" y="94"/>
                    </a:cubicBezTo>
                    <a:cubicBezTo>
                      <a:pt x="23" y="93"/>
                      <a:pt x="22" y="92"/>
                      <a:pt x="22" y="91"/>
                    </a:cubicBezTo>
                    <a:cubicBezTo>
                      <a:pt x="21" y="90"/>
                      <a:pt x="22" y="89"/>
                      <a:pt x="22" y="88"/>
                    </a:cubicBezTo>
                    <a:cubicBezTo>
                      <a:pt x="22" y="88"/>
                      <a:pt x="24" y="80"/>
                      <a:pt x="25" y="79"/>
                    </a:cubicBezTo>
                    <a:cubicBezTo>
                      <a:pt x="25" y="77"/>
                      <a:pt x="27" y="69"/>
                      <a:pt x="28" y="66"/>
                    </a:cubicBezTo>
                    <a:cubicBezTo>
                      <a:pt x="28" y="64"/>
                      <a:pt x="28" y="56"/>
                      <a:pt x="28" y="56"/>
                    </a:cubicBezTo>
                    <a:cubicBezTo>
                      <a:pt x="28" y="55"/>
                      <a:pt x="29" y="47"/>
                      <a:pt x="29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30" y="45"/>
                      <a:pt x="30" y="45"/>
                      <a:pt x="30" y="45"/>
                    </a:cubicBezTo>
                    <a:cubicBezTo>
                      <a:pt x="30" y="45"/>
                      <a:pt x="32" y="47"/>
                      <a:pt x="31" y="47"/>
                    </a:cubicBezTo>
                    <a:cubicBezTo>
                      <a:pt x="31" y="48"/>
                      <a:pt x="29" y="49"/>
                      <a:pt x="29" y="51"/>
                    </a:cubicBezTo>
                    <a:cubicBezTo>
                      <a:pt x="29" y="52"/>
                      <a:pt x="29" y="51"/>
                      <a:pt x="29" y="56"/>
                    </a:cubicBezTo>
                    <a:cubicBezTo>
                      <a:pt x="29" y="61"/>
                      <a:pt x="35" y="65"/>
                      <a:pt x="37" y="66"/>
                    </a:cubicBezTo>
                    <a:cubicBezTo>
                      <a:pt x="39" y="68"/>
                      <a:pt x="41" y="69"/>
                      <a:pt x="41" y="70"/>
                    </a:cubicBezTo>
                    <a:cubicBezTo>
                      <a:pt x="41" y="71"/>
                      <a:pt x="41" y="85"/>
                      <a:pt x="41" y="85"/>
                    </a:cubicBezTo>
                    <a:cubicBezTo>
                      <a:pt x="41" y="85"/>
                      <a:pt x="40" y="93"/>
                      <a:pt x="39" y="95"/>
                    </a:cubicBezTo>
                    <a:cubicBezTo>
                      <a:pt x="38" y="96"/>
                      <a:pt x="37" y="96"/>
                      <a:pt x="36" y="98"/>
                    </a:cubicBezTo>
                    <a:cubicBezTo>
                      <a:pt x="35" y="99"/>
                      <a:pt x="37" y="101"/>
                      <a:pt x="40" y="102"/>
                    </a:cubicBezTo>
                    <a:cubicBezTo>
                      <a:pt x="42" y="104"/>
                      <a:pt x="46" y="102"/>
                      <a:pt x="46" y="102"/>
                    </a:cubicBezTo>
                    <a:cubicBezTo>
                      <a:pt x="46" y="101"/>
                      <a:pt x="46" y="101"/>
                      <a:pt x="46" y="101"/>
                    </a:cubicBezTo>
                    <a:cubicBezTo>
                      <a:pt x="45" y="100"/>
                      <a:pt x="45" y="100"/>
                      <a:pt x="45" y="100"/>
                    </a:cubicBezTo>
                    <a:cubicBezTo>
                      <a:pt x="46" y="99"/>
                      <a:pt x="46" y="97"/>
                      <a:pt x="46" y="97"/>
                    </a:cubicBezTo>
                    <a:cubicBezTo>
                      <a:pt x="46" y="97"/>
                      <a:pt x="50" y="97"/>
                      <a:pt x="50" y="97"/>
                    </a:cubicBezTo>
                    <a:cubicBezTo>
                      <a:pt x="51" y="97"/>
                      <a:pt x="54" y="97"/>
                      <a:pt x="55" y="97"/>
                    </a:cubicBezTo>
                    <a:cubicBezTo>
                      <a:pt x="57" y="97"/>
                      <a:pt x="60" y="96"/>
                      <a:pt x="62" y="96"/>
                    </a:cubicBezTo>
                    <a:cubicBezTo>
                      <a:pt x="64" y="96"/>
                      <a:pt x="67" y="97"/>
                      <a:pt x="68" y="97"/>
                    </a:cubicBezTo>
                    <a:cubicBezTo>
                      <a:pt x="70" y="97"/>
                      <a:pt x="72" y="96"/>
                      <a:pt x="73" y="95"/>
                    </a:cubicBezTo>
                    <a:cubicBezTo>
                      <a:pt x="73" y="94"/>
                      <a:pt x="73" y="94"/>
                      <a:pt x="73" y="93"/>
                    </a:cubicBezTo>
                    <a:cubicBezTo>
                      <a:pt x="73" y="92"/>
                      <a:pt x="72" y="90"/>
                      <a:pt x="71" y="88"/>
                    </a:cubicBezTo>
                    <a:cubicBezTo>
                      <a:pt x="70" y="87"/>
                      <a:pt x="67" y="84"/>
                      <a:pt x="67" y="84"/>
                    </a:cubicBezTo>
                    <a:cubicBezTo>
                      <a:pt x="66" y="83"/>
                      <a:pt x="58" y="72"/>
                      <a:pt x="57" y="71"/>
                    </a:cubicBezTo>
                    <a:cubicBezTo>
                      <a:pt x="56" y="69"/>
                      <a:pt x="54" y="65"/>
                      <a:pt x="54" y="65"/>
                    </a:cubicBezTo>
                    <a:cubicBezTo>
                      <a:pt x="54" y="65"/>
                      <a:pt x="55" y="65"/>
                      <a:pt x="56" y="65"/>
                    </a:cubicBezTo>
                    <a:cubicBezTo>
                      <a:pt x="58" y="65"/>
                      <a:pt x="63" y="66"/>
                      <a:pt x="64" y="67"/>
                    </a:cubicBezTo>
                    <a:cubicBezTo>
                      <a:pt x="64" y="67"/>
                      <a:pt x="70" y="83"/>
                      <a:pt x="71" y="84"/>
                    </a:cubicBezTo>
                    <a:cubicBezTo>
                      <a:pt x="72" y="84"/>
                      <a:pt x="73" y="84"/>
                      <a:pt x="73" y="84"/>
                    </a:cubicBezTo>
                    <a:cubicBezTo>
                      <a:pt x="73" y="84"/>
                      <a:pt x="73" y="84"/>
                      <a:pt x="74" y="88"/>
                    </a:cubicBezTo>
                    <a:cubicBezTo>
                      <a:pt x="75" y="92"/>
                      <a:pt x="81" y="94"/>
                      <a:pt x="85" y="95"/>
                    </a:cubicBezTo>
                    <a:cubicBezTo>
                      <a:pt x="89" y="95"/>
                      <a:pt x="96" y="91"/>
                      <a:pt x="97" y="91"/>
                    </a:cubicBezTo>
                    <a:cubicBezTo>
                      <a:pt x="99" y="90"/>
                      <a:pt x="113" y="85"/>
                      <a:pt x="116" y="84"/>
                    </a:cubicBezTo>
                    <a:cubicBezTo>
                      <a:pt x="118" y="83"/>
                      <a:pt x="121" y="84"/>
                      <a:pt x="122" y="85"/>
                    </a:cubicBezTo>
                    <a:cubicBezTo>
                      <a:pt x="123" y="86"/>
                      <a:pt x="125" y="89"/>
                      <a:pt x="125" y="90"/>
                    </a:cubicBezTo>
                    <a:cubicBezTo>
                      <a:pt x="125" y="92"/>
                      <a:pt x="123" y="94"/>
                      <a:pt x="123" y="95"/>
                    </a:cubicBezTo>
                    <a:cubicBezTo>
                      <a:pt x="123" y="96"/>
                      <a:pt x="125" y="96"/>
                      <a:pt x="126" y="96"/>
                    </a:cubicBezTo>
                    <a:cubicBezTo>
                      <a:pt x="127" y="95"/>
                      <a:pt x="131" y="94"/>
                      <a:pt x="132" y="92"/>
                    </a:cubicBezTo>
                    <a:cubicBezTo>
                      <a:pt x="133" y="90"/>
                      <a:pt x="132" y="88"/>
                      <a:pt x="132" y="87"/>
                    </a:cubicBezTo>
                    <a:cubicBezTo>
                      <a:pt x="132" y="87"/>
                      <a:pt x="132" y="84"/>
                      <a:pt x="133" y="83"/>
                    </a:cubicBezTo>
                    <a:cubicBezTo>
                      <a:pt x="133" y="81"/>
                      <a:pt x="134" y="78"/>
                      <a:pt x="134" y="75"/>
                    </a:cubicBezTo>
                    <a:close/>
                    <a:moveTo>
                      <a:pt x="57" y="85"/>
                    </a:moveTo>
                    <a:cubicBezTo>
                      <a:pt x="57" y="85"/>
                      <a:pt x="57" y="87"/>
                      <a:pt x="54" y="90"/>
                    </a:cubicBezTo>
                    <a:cubicBezTo>
                      <a:pt x="51" y="93"/>
                      <a:pt x="50" y="93"/>
                      <a:pt x="49" y="93"/>
                    </a:cubicBezTo>
                    <a:cubicBezTo>
                      <a:pt x="48" y="93"/>
                      <a:pt x="47" y="93"/>
                      <a:pt x="47" y="93"/>
                    </a:cubicBezTo>
                    <a:cubicBezTo>
                      <a:pt x="47" y="93"/>
                      <a:pt x="48" y="91"/>
                      <a:pt x="48" y="89"/>
                    </a:cubicBezTo>
                    <a:cubicBezTo>
                      <a:pt x="49" y="87"/>
                      <a:pt x="50" y="81"/>
                      <a:pt x="50" y="79"/>
                    </a:cubicBezTo>
                    <a:cubicBezTo>
                      <a:pt x="50" y="78"/>
                      <a:pt x="50" y="77"/>
                      <a:pt x="50" y="77"/>
                    </a:cubicBezTo>
                    <a:cubicBezTo>
                      <a:pt x="50" y="77"/>
                      <a:pt x="50" y="77"/>
                      <a:pt x="50" y="77"/>
                    </a:cubicBezTo>
                    <a:cubicBezTo>
                      <a:pt x="51" y="78"/>
                      <a:pt x="56" y="84"/>
                      <a:pt x="57" y="8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" name="Freeform 6"/>
              <p:cNvSpPr>
                <a:spLocks noEditPoints="1"/>
              </p:cNvSpPr>
              <p:nvPr/>
            </p:nvSpPr>
            <p:spPr bwMode="auto">
              <a:xfrm flipH="1">
                <a:off x="1462110" y="2575775"/>
                <a:ext cx="414002" cy="270264"/>
              </a:xfrm>
              <a:custGeom>
                <a:avLst/>
                <a:gdLst>
                  <a:gd name="T0" fmla="*/ 153 w 164"/>
                  <a:gd name="T1" fmla="*/ 76 h 106"/>
                  <a:gd name="T2" fmla="*/ 130 w 164"/>
                  <a:gd name="T3" fmla="*/ 72 h 106"/>
                  <a:gd name="T4" fmla="*/ 113 w 164"/>
                  <a:gd name="T5" fmla="*/ 70 h 106"/>
                  <a:gd name="T6" fmla="*/ 101 w 164"/>
                  <a:gd name="T7" fmla="*/ 47 h 106"/>
                  <a:gd name="T8" fmla="*/ 101 w 164"/>
                  <a:gd name="T9" fmla="*/ 25 h 106"/>
                  <a:gd name="T10" fmla="*/ 82 w 164"/>
                  <a:gd name="T11" fmla="*/ 10 h 106"/>
                  <a:gd name="T12" fmla="*/ 49 w 164"/>
                  <a:gd name="T13" fmla="*/ 5 h 106"/>
                  <a:gd name="T14" fmla="*/ 29 w 164"/>
                  <a:gd name="T15" fmla="*/ 11 h 106"/>
                  <a:gd name="T16" fmla="*/ 22 w 164"/>
                  <a:gd name="T17" fmla="*/ 4 h 106"/>
                  <a:gd name="T18" fmla="*/ 3 w 164"/>
                  <a:gd name="T19" fmla="*/ 9 h 106"/>
                  <a:gd name="T20" fmla="*/ 5 w 164"/>
                  <a:gd name="T21" fmla="*/ 23 h 106"/>
                  <a:gd name="T22" fmla="*/ 8 w 164"/>
                  <a:gd name="T23" fmla="*/ 28 h 106"/>
                  <a:gd name="T24" fmla="*/ 11 w 164"/>
                  <a:gd name="T25" fmla="*/ 30 h 106"/>
                  <a:gd name="T26" fmla="*/ 13 w 164"/>
                  <a:gd name="T27" fmla="*/ 32 h 106"/>
                  <a:gd name="T28" fmla="*/ 14 w 164"/>
                  <a:gd name="T29" fmla="*/ 32 h 106"/>
                  <a:gd name="T30" fmla="*/ 22 w 164"/>
                  <a:gd name="T31" fmla="*/ 34 h 106"/>
                  <a:gd name="T32" fmla="*/ 27 w 164"/>
                  <a:gd name="T33" fmla="*/ 49 h 106"/>
                  <a:gd name="T34" fmla="*/ 26 w 164"/>
                  <a:gd name="T35" fmla="*/ 72 h 106"/>
                  <a:gd name="T36" fmla="*/ 25 w 164"/>
                  <a:gd name="T37" fmla="*/ 92 h 106"/>
                  <a:gd name="T38" fmla="*/ 26 w 164"/>
                  <a:gd name="T39" fmla="*/ 100 h 106"/>
                  <a:gd name="T40" fmla="*/ 32 w 164"/>
                  <a:gd name="T41" fmla="*/ 96 h 106"/>
                  <a:gd name="T42" fmla="*/ 35 w 164"/>
                  <a:gd name="T43" fmla="*/ 98 h 106"/>
                  <a:gd name="T44" fmla="*/ 34 w 164"/>
                  <a:gd name="T45" fmla="*/ 86 h 106"/>
                  <a:gd name="T46" fmla="*/ 37 w 164"/>
                  <a:gd name="T47" fmla="*/ 59 h 106"/>
                  <a:gd name="T48" fmla="*/ 37 w 164"/>
                  <a:gd name="T49" fmla="*/ 39 h 106"/>
                  <a:gd name="T50" fmla="*/ 46 w 164"/>
                  <a:gd name="T51" fmla="*/ 43 h 106"/>
                  <a:gd name="T52" fmla="*/ 41 w 164"/>
                  <a:gd name="T53" fmla="*/ 51 h 106"/>
                  <a:gd name="T54" fmla="*/ 52 w 164"/>
                  <a:gd name="T55" fmla="*/ 66 h 106"/>
                  <a:gd name="T56" fmla="*/ 53 w 164"/>
                  <a:gd name="T57" fmla="*/ 83 h 106"/>
                  <a:gd name="T58" fmla="*/ 50 w 164"/>
                  <a:gd name="T59" fmla="*/ 98 h 106"/>
                  <a:gd name="T60" fmla="*/ 54 w 164"/>
                  <a:gd name="T61" fmla="*/ 106 h 106"/>
                  <a:gd name="T62" fmla="*/ 59 w 164"/>
                  <a:gd name="T63" fmla="*/ 101 h 106"/>
                  <a:gd name="T64" fmla="*/ 63 w 164"/>
                  <a:gd name="T65" fmla="*/ 100 h 106"/>
                  <a:gd name="T66" fmla="*/ 87 w 164"/>
                  <a:gd name="T67" fmla="*/ 96 h 106"/>
                  <a:gd name="T68" fmla="*/ 80 w 164"/>
                  <a:gd name="T69" fmla="*/ 83 h 106"/>
                  <a:gd name="T70" fmla="*/ 68 w 164"/>
                  <a:gd name="T71" fmla="*/ 63 h 106"/>
                  <a:gd name="T72" fmla="*/ 81 w 164"/>
                  <a:gd name="T73" fmla="*/ 56 h 106"/>
                  <a:gd name="T74" fmla="*/ 90 w 164"/>
                  <a:gd name="T75" fmla="*/ 72 h 106"/>
                  <a:gd name="T76" fmla="*/ 100 w 164"/>
                  <a:gd name="T77" fmla="*/ 80 h 106"/>
                  <a:gd name="T78" fmla="*/ 129 w 164"/>
                  <a:gd name="T79" fmla="*/ 84 h 106"/>
                  <a:gd name="T80" fmla="*/ 147 w 164"/>
                  <a:gd name="T81" fmla="*/ 88 h 106"/>
                  <a:gd name="T82" fmla="*/ 146 w 164"/>
                  <a:gd name="T83" fmla="*/ 97 h 106"/>
                  <a:gd name="T84" fmla="*/ 149 w 164"/>
                  <a:gd name="T85" fmla="*/ 100 h 106"/>
                  <a:gd name="T86" fmla="*/ 159 w 164"/>
                  <a:gd name="T87" fmla="*/ 91 h 106"/>
                  <a:gd name="T88" fmla="*/ 161 w 164"/>
                  <a:gd name="T89" fmla="*/ 77 h 106"/>
                  <a:gd name="T90" fmla="*/ 66 w 164"/>
                  <a:gd name="T91" fmla="*/ 92 h 106"/>
                  <a:gd name="T92" fmla="*/ 60 w 164"/>
                  <a:gd name="T93" fmla="*/ 94 h 106"/>
                  <a:gd name="T94" fmla="*/ 63 w 164"/>
                  <a:gd name="T95" fmla="*/ 78 h 106"/>
                  <a:gd name="T96" fmla="*/ 63 w 164"/>
                  <a:gd name="T97" fmla="*/ 77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64" h="106">
                    <a:moveTo>
                      <a:pt x="161" y="77"/>
                    </a:moveTo>
                    <a:cubicBezTo>
                      <a:pt x="159" y="75"/>
                      <a:pt x="154" y="76"/>
                      <a:pt x="153" y="76"/>
                    </a:cubicBezTo>
                    <a:cubicBezTo>
                      <a:pt x="152" y="76"/>
                      <a:pt x="149" y="76"/>
                      <a:pt x="147" y="76"/>
                    </a:cubicBezTo>
                    <a:cubicBezTo>
                      <a:pt x="145" y="75"/>
                      <a:pt x="134" y="73"/>
                      <a:pt x="130" y="72"/>
                    </a:cubicBezTo>
                    <a:cubicBezTo>
                      <a:pt x="126" y="71"/>
                      <a:pt x="122" y="70"/>
                      <a:pt x="120" y="70"/>
                    </a:cubicBezTo>
                    <a:cubicBezTo>
                      <a:pt x="118" y="70"/>
                      <a:pt x="114" y="71"/>
                      <a:pt x="113" y="70"/>
                    </a:cubicBezTo>
                    <a:cubicBezTo>
                      <a:pt x="112" y="70"/>
                      <a:pt x="110" y="67"/>
                      <a:pt x="110" y="66"/>
                    </a:cubicBezTo>
                    <a:cubicBezTo>
                      <a:pt x="109" y="65"/>
                      <a:pt x="103" y="51"/>
                      <a:pt x="101" y="47"/>
                    </a:cubicBezTo>
                    <a:cubicBezTo>
                      <a:pt x="99" y="44"/>
                      <a:pt x="103" y="39"/>
                      <a:pt x="103" y="36"/>
                    </a:cubicBezTo>
                    <a:cubicBezTo>
                      <a:pt x="104" y="33"/>
                      <a:pt x="102" y="28"/>
                      <a:pt x="101" y="25"/>
                    </a:cubicBezTo>
                    <a:cubicBezTo>
                      <a:pt x="99" y="23"/>
                      <a:pt x="97" y="20"/>
                      <a:pt x="94" y="17"/>
                    </a:cubicBezTo>
                    <a:cubicBezTo>
                      <a:pt x="91" y="14"/>
                      <a:pt x="84" y="11"/>
                      <a:pt x="82" y="10"/>
                    </a:cubicBezTo>
                    <a:cubicBezTo>
                      <a:pt x="79" y="9"/>
                      <a:pt x="67" y="6"/>
                      <a:pt x="64" y="6"/>
                    </a:cubicBezTo>
                    <a:cubicBezTo>
                      <a:pt x="61" y="5"/>
                      <a:pt x="52" y="5"/>
                      <a:pt x="49" y="5"/>
                    </a:cubicBezTo>
                    <a:cubicBezTo>
                      <a:pt x="47" y="5"/>
                      <a:pt x="34" y="10"/>
                      <a:pt x="34" y="10"/>
                    </a:cubicBezTo>
                    <a:cubicBezTo>
                      <a:pt x="34" y="10"/>
                      <a:pt x="30" y="11"/>
                      <a:pt x="29" y="11"/>
                    </a:cubicBezTo>
                    <a:cubicBezTo>
                      <a:pt x="28" y="11"/>
                      <a:pt x="27" y="9"/>
                      <a:pt x="26" y="9"/>
                    </a:cubicBezTo>
                    <a:cubicBezTo>
                      <a:pt x="26" y="8"/>
                      <a:pt x="24" y="5"/>
                      <a:pt x="22" y="4"/>
                    </a:cubicBezTo>
                    <a:cubicBezTo>
                      <a:pt x="21" y="2"/>
                      <a:pt x="18" y="0"/>
                      <a:pt x="14" y="0"/>
                    </a:cubicBezTo>
                    <a:cubicBezTo>
                      <a:pt x="10" y="0"/>
                      <a:pt x="5" y="5"/>
                      <a:pt x="3" y="9"/>
                    </a:cubicBezTo>
                    <a:cubicBezTo>
                      <a:pt x="0" y="13"/>
                      <a:pt x="1" y="16"/>
                      <a:pt x="2" y="17"/>
                    </a:cubicBezTo>
                    <a:cubicBezTo>
                      <a:pt x="3" y="19"/>
                      <a:pt x="4" y="22"/>
                      <a:pt x="5" y="23"/>
                    </a:cubicBezTo>
                    <a:cubicBezTo>
                      <a:pt x="6" y="25"/>
                      <a:pt x="7" y="25"/>
                      <a:pt x="7" y="25"/>
                    </a:cubicBezTo>
                    <a:cubicBezTo>
                      <a:pt x="7" y="25"/>
                      <a:pt x="7" y="25"/>
                      <a:pt x="8" y="28"/>
                    </a:cubicBezTo>
                    <a:cubicBezTo>
                      <a:pt x="8" y="30"/>
                      <a:pt x="9" y="30"/>
                      <a:pt x="9" y="30"/>
                    </a:cubicBezTo>
                    <a:cubicBezTo>
                      <a:pt x="10" y="30"/>
                      <a:pt x="11" y="30"/>
                      <a:pt x="11" y="30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1"/>
                      <a:pt x="12" y="32"/>
                      <a:pt x="13" y="32"/>
                    </a:cubicBezTo>
                    <a:cubicBezTo>
                      <a:pt x="13" y="31"/>
                      <a:pt x="14" y="31"/>
                      <a:pt x="14" y="31"/>
                    </a:cubicBezTo>
                    <a:cubicBezTo>
                      <a:pt x="14" y="31"/>
                      <a:pt x="14" y="31"/>
                      <a:pt x="14" y="32"/>
                    </a:cubicBezTo>
                    <a:cubicBezTo>
                      <a:pt x="15" y="33"/>
                      <a:pt x="17" y="34"/>
                      <a:pt x="19" y="35"/>
                    </a:cubicBezTo>
                    <a:cubicBezTo>
                      <a:pt x="20" y="35"/>
                      <a:pt x="22" y="34"/>
                      <a:pt x="22" y="34"/>
                    </a:cubicBezTo>
                    <a:cubicBezTo>
                      <a:pt x="22" y="34"/>
                      <a:pt x="24" y="38"/>
                      <a:pt x="24" y="40"/>
                    </a:cubicBezTo>
                    <a:cubicBezTo>
                      <a:pt x="25" y="42"/>
                      <a:pt x="27" y="48"/>
                      <a:pt x="27" y="49"/>
                    </a:cubicBezTo>
                    <a:cubicBezTo>
                      <a:pt x="27" y="49"/>
                      <a:pt x="27" y="56"/>
                      <a:pt x="26" y="59"/>
                    </a:cubicBezTo>
                    <a:cubicBezTo>
                      <a:pt x="25" y="63"/>
                      <a:pt x="26" y="72"/>
                      <a:pt x="26" y="72"/>
                    </a:cubicBezTo>
                    <a:cubicBezTo>
                      <a:pt x="26" y="72"/>
                      <a:pt x="26" y="82"/>
                      <a:pt x="26" y="85"/>
                    </a:cubicBezTo>
                    <a:cubicBezTo>
                      <a:pt x="26" y="88"/>
                      <a:pt x="26" y="90"/>
                      <a:pt x="25" y="92"/>
                    </a:cubicBezTo>
                    <a:cubicBezTo>
                      <a:pt x="24" y="94"/>
                      <a:pt x="22" y="94"/>
                      <a:pt x="22" y="96"/>
                    </a:cubicBezTo>
                    <a:cubicBezTo>
                      <a:pt x="22" y="97"/>
                      <a:pt x="24" y="100"/>
                      <a:pt x="26" y="100"/>
                    </a:cubicBezTo>
                    <a:cubicBezTo>
                      <a:pt x="29" y="101"/>
                      <a:pt x="33" y="101"/>
                      <a:pt x="32" y="99"/>
                    </a:cubicBezTo>
                    <a:cubicBezTo>
                      <a:pt x="30" y="96"/>
                      <a:pt x="32" y="96"/>
                      <a:pt x="32" y="96"/>
                    </a:cubicBezTo>
                    <a:cubicBezTo>
                      <a:pt x="32" y="96"/>
                      <a:pt x="33" y="98"/>
                      <a:pt x="33" y="99"/>
                    </a:cubicBezTo>
                    <a:cubicBezTo>
                      <a:pt x="34" y="99"/>
                      <a:pt x="35" y="99"/>
                      <a:pt x="35" y="98"/>
                    </a:cubicBezTo>
                    <a:cubicBezTo>
                      <a:pt x="35" y="97"/>
                      <a:pt x="34" y="95"/>
                      <a:pt x="33" y="94"/>
                    </a:cubicBezTo>
                    <a:cubicBezTo>
                      <a:pt x="33" y="92"/>
                      <a:pt x="34" y="88"/>
                      <a:pt x="34" y="86"/>
                    </a:cubicBezTo>
                    <a:cubicBezTo>
                      <a:pt x="34" y="85"/>
                      <a:pt x="36" y="75"/>
                      <a:pt x="36" y="72"/>
                    </a:cubicBezTo>
                    <a:cubicBezTo>
                      <a:pt x="37" y="70"/>
                      <a:pt x="38" y="61"/>
                      <a:pt x="37" y="59"/>
                    </a:cubicBezTo>
                    <a:cubicBezTo>
                      <a:pt x="37" y="57"/>
                      <a:pt x="37" y="48"/>
                      <a:pt x="37" y="47"/>
                    </a:cubicBezTo>
                    <a:cubicBezTo>
                      <a:pt x="37" y="46"/>
                      <a:pt x="37" y="39"/>
                      <a:pt x="37" y="39"/>
                    </a:cubicBezTo>
                    <a:cubicBezTo>
                      <a:pt x="37" y="39"/>
                      <a:pt x="39" y="40"/>
                      <a:pt x="40" y="41"/>
                    </a:cubicBezTo>
                    <a:cubicBezTo>
                      <a:pt x="41" y="42"/>
                      <a:pt x="46" y="43"/>
                      <a:pt x="46" y="43"/>
                    </a:cubicBezTo>
                    <a:cubicBezTo>
                      <a:pt x="46" y="43"/>
                      <a:pt x="46" y="43"/>
                      <a:pt x="45" y="44"/>
                    </a:cubicBezTo>
                    <a:cubicBezTo>
                      <a:pt x="43" y="45"/>
                      <a:pt x="41" y="48"/>
                      <a:pt x="41" y="51"/>
                    </a:cubicBezTo>
                    <a:cubicBezTo>
                      <a:pt x="41" y="54"/>
                      <a:pt x="44" y="58"/>
                      <a:pt x="45" y="60"/>
                    </a:cubicBezTo>
                    <a:cubicBezTo>
                      <a:pt x="47" y="62"/>
                      <a:pt x="52" y="66"/>
                      <a:pt x="52" y="66"/>
                    </a:cubicBezTo>
                    <a:cubicBezTo>
                      <a:pt x="52" y="66"/>
                      <a:pt x="52" y="66"/>
                      <a:pt x="52" y="67"/>
                    </a:cubicBezTo>
                    <a:cubicBezTo>
                      <a:pt x="52" y="67"/>
                      <a:pt x="53" y="82"/>
                      <a:pt x="53" y="83"/>
                    </a:cubicBezTo>
                    <a:cubicBezTo>
                      <a:pt x="53" y="85"/>
                      <a:pt x="53" y="94"/>
                      <a:pt x="53" y="95"/>
                    </a:cubicBezTo>
                    <a:cubicBezTo>
                      <a:pt x="53" y="96"/>
                      <a:pt x="52" y="97"/>
                      <a:pt x="50" y="98"/>
                    </a:cubicBezTo>
                    <a:cubicBezTo>
                      <a:pt x="49" y="99"/>
                      <a:pt x="48" y="102"/>
                      <a:pt x="48" y="104"/>
                    </a:cubicBezTo>
                    <a:cubicBezTo>
                      <a:pt x="49" y="105"/>
                      <a:pt x="51" y="105"/>
                      <a:pt x="54" y="106"/>
                    </a:cubicBezTo>
                    <a:cubicBezTo>
                      <a:pt x="56" y="106"/>
                      <a:pt x="59" y="105"/>
                      <a:pt x="60" y="104"/>
                    </a:cubicBezTo>
                    <a:cubicBezTo>
                      <a:pt x="60" y="103"/>
                      <a:pt x="59" y="102"/>
                      <a:pt x="59" y="101"/>
                    </a:cubicBezTo>
                    <a:cubicBezTo>
                      <a:pt x="58" y="100"/>
                      <a:pt x="59" y="100"/>
                      <a:pt x="59" y="100"/>
                    </a:cubicBezTo>
                    <a:cubicBezTo>
                      <a:pt x="59" y="100"/>
                      <a:pt x="60" y="100"/>
                      <a:pt x="63" y="100"/>
                    </a:cubicBezTo>
                    <a:cubicBezTo>
                      <a:pt x="67" y="100"/>
                      <a:pt x="78" y="100"/>
                      <a:pt x="81" y="100"/>
                    </a:cubicBezTo>
                    <a:cubicBezTo>
                      <a:pt x="85" y="99"/>
                      <a:pt x="86" y="98"/>
                      <a:pt x="87" y="96"/>
                    </a:cubicBezTo>
                    <a:cubicBezTo>
                      <a:pt x="88" y="94"/>
                      <a:pt x="86" y="91"/>
                      <a:pt x="86" y="90"/>
                    </a:cubicBezTo>
                    <a:cubicBezTo>
                      <a:pt x="85" y="89"/>
                      <a:pt x="80" y="84"/>
                      <a:pt x="80" y="83"/>
                    </a:cubicBezTo>
                    <a:cubicBezTo>
                      <a:pt x="79" y="82"/>
                      <a:pt x="74" y="74"/>
                      <a:pt x="73" y="72"/>
                    </a:cubicBezTo>
                    <a:cubicBezTo>
                      <a:pt x="72" y="71"/>
                      <a:pt x="68" y="63"/>
                      <a:pt x="68" y="63"/>
                    </a:cubicBezTo>
                    <a:cubicBezTo>
                      <a:pt x="68" y="63"/>
                      <a:pt x="70" y="60"/>
                      <a:pt x="71" y="60"/>
                    </a:cubicBezTo>
                    <a:cubicBezTo>
                      <a:pt x="71" y="59"/>
                      <a:pt x="81" y="56"/>
                      <a:pt x="81" y="56"/>
                    </a:cubicBezTo>
                    <a:cubicBezTo>
                      <a:pt x="81" y="56"/>
                      <a:pt x="86" y="65"/>
                      <a:pt x="87" y="66"/>
                    </a:cubicBezTo>
                    <a:cubicBezTo>
                      <a:pt x="88" y="69"/>
                      <a:pt x="87" y="73"/>
                      <a:pt x="90" y="72"/>
                    </a:cubicBezTo>
                    <a:cubicBezTo>
                      <a:pt x="91" y="71"/>
                      <a:pt x="94" y="73"/>
                      <a:pt x="94" y="73"/>
                    </a:cubicBezTo>
                    <a:cubicBezTo>
                      <a:pt x="94" y="73"/>
                      <a:pt x="97" y="76"/>
                      <a:pt x="100" y="80"/>
                    </a:cubicBezTo>
                    <a:cubicBezTo>
                      <a:pt x="103" y="84"/>
                      <a:pt x="107" y="83"/>
                      <a:pt x="110" y="83"/>
                    </a:cubicBezTo>
                    <a:cubicBezTo>
                      <a:pt x="113" y="83"/>
                      <a:pt x="122" y="84"/>
                      <a:pt x="129" y="84"/>
                    </a:cubicBezTo>
                    <a:cubicBezTo>
                      <a:pt x="137" y="83"/>
                      <a:pt x="142" y="85"/>
                      <a:pt x="144" y="85"/>
                    </a:cubicBezTo>
                    <a:cubicBezTo>
                      <a:pt x="146" y="86"/>
                      <a:pt x="147" y="87"/>
                      <a:pt x="147" y="88"/>
                    </a:cubicBezTo>
                    <a:cubicBezTo>
                      <a:pt x="148" y="89"/>
                      <a:pt x="149" y="95"/>
                      <a:pt x="149" y="96"/>
                    </a:cubicBezTo>
                    <a:cubicBezTo>
                      <a:pt x="149" y="97"/>
                      <a:pt x="147" y="96"/>
                      <a:pt x="146" y="97"/>
                    </a:cubicBezTo>
                    <a:cubicBezTo>
                      <a:pt x="145" y="97"/>
                      <a:pt x="145" y="99"/>
                      <a:pt x="145" y="99"/>
                    </a:cubicBezTo>
                    <a:cubicBezTo>
                      <a:pt x="145" y="99"/>
                      <a:pt x="147" y="100"/>
                      <a:pt x="149" y="100"/>
                    </a:cubicBezTo>
                    <a:cubicBezTo>
                      <a:pt x="151" y="101"/>
                      <a:pt x="154" y="100"/>
                      <a:pt x="156" y="97"/>
                    </a:cubicBezTo>
                    <a:cubicBezTo>
                      <a:pt x="158" y="95"/>
                      <a:pt x="158" y="92"/>
                      <a:pt x="159" y="91"/>
                    </a:cubicBezTo>
                    <a:cubicBezTo>
                      <a:pt x="159" y="90"/>
                      <a:pt x="162" y="85"/>
                      <a:pt x="163" y="83"/>
                    </a:cubicBezTo>
                    <a:cubicBezTo>
                      <a:pt x="164" y="81"/>
                      <a:pt x="163" y="79"/>
                      <a:pt x="161" y="77"/>
                    </a:cubicBezTo>
                    <a:close/>
                    <a:moveTo>
                      <a:pt x="71" y="86"/>
                    </a:moveTo>
                    <a:cubicBezTo>
                      <a:pt x="70" y="88"/>
                      <a:pt x="68" y="91"/>
                      <a:pt x="66" y="92"/>
                    </a:cubicBezTo>
                    <a:cubicBezTo>
                      <a:pt x="64" y="93"/>
                      <a:pt x="61" y="95"/>
                      <a:pt x="60" y="95"/>
                    </a:cubicBezTo>
                    <a:cubicBezTo>
                      <a:pt x="60" y="95"/>
                      <a:pt x="60" y="94"/>
                      <a:pt x="60" y="94"/>
                    </a:cubicBezTo>
                    <a:cubicBezTo>
                      <a:pt x="60" y="94"/>
                      <a:pt x="60" y="90"/>
                      <a:pt x="61" y="88"/>
                    </a:cubicBezTo>
                    <a:cubicBezTo>
                      <a:pt x="61" y="86"/>
                      <a:pt x="63" y="78"/>
                      <a:pt x="63" y="78"/>
                    </a:cubicBezTo>
                    <a:cubicBezTo>
                      <a:pt x="63" y="77"/>
                      <a:pt x="63" y="76"/>
                      <a:pt x="63" y="76"/>
                    </a:cubicBezTo>
                    <a:cubicBezTo>
                      <a:pt x="63" y="77"/>
                      <a:pt x="63" y="77"/>
                      <a:pt x="63" y="77"/>
                    </a:cubicBezTo>
                    <a:cubicBezTo>
                      <a:pt x="63" y="77"/>
                      <a:pt x="71" y="84"/>
                      <a:pt x="71" y="8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" name="Freeform 7"/>
              <p:cNvSpPr>
                <a:spLocks noEditPoints="1"/>
              </p:cNvSpPr>
              <p:nvPr/>
            </p:nvSpPr>
            <p:spPr bwMode="auto">
              <a:xfrm flipH="1">
                <a:off x="2288209" y="2510972"/>
                <a:ext cx="380166" cy="352074"/>
              </a:xfrm>
              <a:custGeom>
                <a:avLst/>
                <a:gdLst>
                  <a:gd name="T0" fmla="*/ 117 w 122"/>
                  <a:gd name="T1" fmla="*/ 100 h 112"/>
                  <a:gd name="T2" fmla="*/ 111 w 122"/>
                  <a:gd name="T3" fmla="*/ 91 h 112"/>
                  <a:gd name="T4" fmla="*/ 115 w 122"/>
                  <a:gd name="T5" fmla="*/ 74 h 112"/>
                  <a:gd name="T6" fmla="*/ 110 w 122"/>
                  <a:gd name="T7" fmla="*/ 66 h 112"/>
                  <a:gd name="T8" fmla="*/ 101 w 122"/>
                  <a:gd name="T9" fmla="*/ 68 h 112"/>
                  <a:gd name="T10" fmla="*/ 105 w 122"/>
                  <a:gd name="T11" fmla="*/ 41 h 112"/>
                  <a:gd name="T12" fmla="*/ 89 w 122"/>
                  <a:gd name="T13" fmla="*/ 6 h 112"/>
                  <a:gd name="T14" fmla="*/ 45 w 122"/>
                  <a:gd name="T15" fmla="*/ 4 h 112"/>
                  <a:gd name="T16" fmla="*/ 28 w 122"/>
                  <a:gd name="T17" fmla="*/ 13 h 112"/>
                  <a:gd name="T18" fmla="*/ 21 w 122"/>
                  <a:gd name="T19" fmla="*/ 6 h 112"/>
                  <a:gd name="T20" fmla="*/ 3 w 122"/>
                  <a:gd name="T21" fmla="*/ 10 h 112"/>
                  <a:gd name="T22" fmla="*/ 3 w 122"/>
                  <a:gd name="T23" fmla="*/ 24 h 112"/>
                  <a:gd name="T24" fmla="*/ 7 w 122"/>
                  <a:gd name="T25" fmla="*/ 28 h 112"/>
                  <a:gd name="T26" fmla="*/ 10 w 122"/>
                  <a:gd name="T27" fmla="*/ 32 h 112"/>
                  <a:gd name="T28" fmla="*/ 13 w 122"/>
                  <a:gd name="T29" fmla="*/ 33 h 112"/>
                  <a:gd name="T30" fmla="*/ 14 w 122"/>
                  <a:gd name="T31" fmla="*/ 33 h 112"/>
                  <a:gd name="T32" fmla="*/ 21 w 122"/>
                  <a:gd name="T33" fmla="*/ 35 h 112"/>
                  <a:gd name="T34" fmla="*/ 29 w 122"/>
                  <a:gd name="T35" fmla="*/ 31 h 112"/>
                  <a:gd name="T36" fmla="*/ 31 w 122"/>
                  <a:gd name="T37" fmla="*/ 35 h 112"/>
                  <a:gd name="T38" fmla="*/ 41 w 122"/>
                  <a:gd name="T39" fmla="*/ 43 h 112"/>
                  <a:gd name="T40" fmla="*/ 42 w 122"/>
                  <a:gd name="T41" fmla="*/ 44 h 112"/>
                  <a:gd name="T42" fmla="*/ 43 w 122"/>
                  <a:gd name="T43" fmla="*/ 50 h 112"/>
                  <a:gd name="T44" fmla="*/ 31 w 122"/>
                  <a:gd name="T45" fmla="*/ 54 h 112"/>
                  <a:gd name="T46" fmla="*/ 15 w 122"/>
                  <a:gd name="T47" fmla="*/ 55 h 112"/>
                  <a:gd name="T48" fmla="*/ 5 w 122"/>
                  <a:gd name="T49" fmla="*/ 53 h 112"/>
                  <a:gd name="T50" fmla="*/ 4 w 122"/>
                  <a:gd name="T51" fmla="*/ 55 h 112"/>
                  <a:gd name="T52" fmla="*/ 3 w 122"/>
                  <a:gd name="T53" fmla="*/ 57 h 112"/>
                  <a:gd name="T54" fmla="*/ 4 w 122"/>
                  <a:gd name="T55" fmla="*/ 59 h 112"/>
                  <a:gd name="T56" fmla="*/ 5 w 122"/>
                  <a:gd name="T57" fmla="*/ 61 h 112"/>
                  <a:gd name="T58" fmla="*/ 4 w 122"/>
                  <a:gd name="T59" fmla="*/ 63 h 112"/>
                  <a:gd name="T60" fmla="*/ 9 w 122"/>
                  <a:gd name="T61" fmla="*/ 63 h 112"/>
                  <a:gd name="T62" fmla="*/ 37 w 122"/>
                  <a:gd name="T63" fmla="*/ 63 h 112"/>
                  <a:gd name="T64" fmla="*/ 52 w 122"/>
                  <a:gd name="T65" fmla="*/ 56 h 112"/>
                  <a:gd name="T66" fmla="*/ 59 w 122"/>
                  <a:gd name="T67" fmla="*/ 56 h 112"/>
                  <a:gd name="T68" fmla="*/ 61 w 122"/>
                  <a:gd name="T69" fmla="*/ 72 h 112"/>
                  <a:gd name="T70" fmla="*/ 77 w 122"/>
                  <a:gd name="T71" fmla="*/ 75 h 112"/>
                  <a:gd name="T72" fmla="*/ 96 w 122"/>
                  <a:gd name="T73" fmla="*/ 91 h 112"/>
                  <a:gd name="T74" fmla="*/ 101 w 122"/>
                  <a:gd name="T75" fmla="*/ 95 h 112"/>
                  <a:gd name="T76" fmla="*/ 106 w 122"/>
                  <a:gd name="T77" fmla="*/ 98 h 112"/>
                  <a:gd name="T78" fmla="*/ 100 w 122"/>
                  <a:gd name="T79" fmla="*/ 107 h 112"/>
                  <a:gd name="T80" fmla="*/ 100 w 122"/>
                  <a:gd name="T81" fmla="*/ 112 h 112"/>
                  <a:gd name="T82" fmla="*/ 116 w 122"/>
                  <a:gd name="T83" fmla="*/ 112 h 112"/>
                  <a:gd name="T84" fmla="*/ 121 w 122"/>
                  <a:gd name="T85" fmla="*/ 106 h 112"/>
                  <a:gd name="T86" fmla="*/ 63 w 122"/>
                  <a:gd name="T87" fmla="*/ 39 h 112"/>
                  <a:gd name="T88" fmla="*/ 61 w 122"/>
                  <a:gd name="T89" fmla="*/ 43 h 112"/>
                  <a:gd name="T90" fmla="*/ 59 w 122"/>
                  <a:gd name="T91" fmla="*/ 40 h 112"/>
                  <a:gd name="T92" fmla="*/ 61 w 122"/>
                  <a:gd name="T93" fmla="*/ 37 h 112"/>
                  <a:gd name="T94" fmla="*/ 64 w 122"/>
                  <a:gd name="T95" fmla="*/ 3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22" h="112">
                    <a:moveTo>
                      <a:pt x="121" y="106"/>
                    </a:moveTo>
                    <a:cubicBezTo>
                      <a:pt x="121" y="105"/>
                      <a:pt x="118" y="101"/>
                      <a:pt x="117" y="100"/>
                    </a:cubicBezTo>
                    <a:cubicBezTo>
                      <a:pt x="117" y="100"/>
                      <a:pt x="115" y="97"/>
                      <a:pt x="114" y="96"/>
                    </a:cubicBezTo>
                    <a:cubicBezTo>
                      <a:pt x="113" y="95"/>
                      <a:pt x="111" y="92"/>
                      <a:pt x="111" y="91"/>
                    </a:cubicBezTo>
                    <a:cubicBezTo>
                      <a:pt x="111" y="91"/>
                      <a:pt x="112" y="84"/>
                      <a:pt x="112" y="82"/>
                    </a:cubicBezTo>
                    <a:cubicBezTo>
                      <a:pt x="113" y="80"/>
                      <a:pt x="115" y="75"/>
                      <a:pt x="115" y="74"/>
                    </a:cubicBezTo>
                    <a:cubicBezTo>
                      <a:pt x="116" y="72"/>
                      <a:pt x="115" y="69"/>
                      <a:pt x="115" y="67"/>
                    </a:cubicBezTo>
                    <a:cubicBezTo>
                      <a:pt x="114" y="66"/>
                      <a:pt x="111" y="66"/>
                      <a:pt x="110" y="66"/>
                    </a:cubicBezTo>
                    <a:cubicBezTo>
                      <a:pt x="108" y="66"/>
                      <a:pt x="106" y="68"/>
                      <a:pt x="105" y="68"/>
                    </a:cubicBezTo>
                    <a:cubicBezTo>
                      <a:pt x="105" y="68"/>
                      <a:pt x="101" y="68"/>
                      <a:pt x="101" y="68"/>
                    </a:cubicBezTo>
                    <a:cubicBezTo>
                      <a:pt x="101" y="68"/>
                      <a:pt x="101" y="68"/>
                      <a:pt x="101" y="67"/>
                    </a:cubicBezTo>
                    <a:cubicBezTo>
                      <a:pt x="101" y="65"/>
                      <a:pt x="105" y="45"/>
                      <a:pt x="105" y="41"/>
                    </a:cubicBezTo>
                    <a:cubicBezTo>
                      <a:pt x="105" y="37"/>
                      <a:pt x="105" y="21"/>
                      <a:pt x="102" y="18"/>
                    </a:cubicBezTo>
                    <a:cubicBezTo>
                      <a:pt x="100" y="14"/>
                      <a:pt x="97" y="11"/>
                      <a:pt x="89" y="6"/>
                    </a:cubicBezTo>
                    <a:cubicBezTo>
                      <a:pt x="81" y="0"/>
                      <a:pt x="71" y="0"/>
                      <a:pt x="63" y="1"/>
                    </a:cubicBezTo>
                    <a:cubicBezTo>
                      <a:pt x="54" y="1"/>
                      <a:pt x="47" y="3"/>
                      <a:pt x="45" y="4"/>
                    </a:cubicBezTo>
                    <a:cubicBezTo>
                      <a:pt x="43" y="5"/>
                      <a:pt x="35" y="10"/>
                      <a:pt x="33" y="11"/>
                    </a:cubicBezTo>
                    <a:cubicBezTo>
                      <a:pt x="31" y="13"/>
                      <a:pt x="28" y="13"/>
                      <a:pt x="28" y="13"/>
                    </a:cubicBezTo>
                    <a:cubicBezTo>
                      <a:pt x="28" y="13"/>
                      <a:pt x="25" y="12"/>
                      <a:pt x="25" y="11"/>
                    </a:cubicBezTo>
                    <a:cubicBezTo>
                      <a:pt x="24" y="10"/>
                      <a:pt x="22" y="7"/>
                      <a:pt x="21" y="6"/>
                    </a:cubicBezTo>
                    <a:cubicBezTo>
                      <a:pt x="20" y="5"/>
                      <a:pt x="16" y="3"/>
                      <a:pt x="12" y="3"/>
                    </a:cubicBezTo>
                    <a:cubicBezTo>
                      <a:pt x="9" y="2"/>
                      <a:pt x="5" y="6"/>
                      <a:pt x="3" y="10"/>
                    </a:cubicBezTo>
                    <a:cubicBezTo>
                      <a:pt x="0" y="14"/>
                      <a:pt x="0" y="17"/>
                      <a:pt x="1" y="19"/>
                    </a:cubicBezTo>
                    <a:cubicBezTo>
                      <a:pt x="1" y="21"/>
                      <a:pt x="3" y="23"/>
                      <a:pt x="3" y="24"/>
                    </a:cubicBezTo>
                    <a:cubicBezTo>
                      <a:pt x="4" y="26"/>
                      <a:pt x="6" y="26"/>
                      <a:pt x="6" y="27"/>
                    </a:cubicBezTo>
                    <a:cubicBezTo>
                      <a:pt x="7" y="27"/>
                      <a:pt x="7" y="28"/>
                      <a:pt x="7" y="28"/>
                    </a:cubicBezTo>
                    <a:cubicBezTo>
                      <a:pt x="8" y="29"/>
                      <a:pt x="8" y="31"/>
                      <a:pt x="9" y="32"/>
                    </a:cubicBezTo>
                    <a:cubicBezTo>
                      <a:pt x="9" y="32"/>
                      <a:pt x="10" y="32"/>
                      <a:pt x="10" y="32"/>
                    </a:cubicBezTo>
                    <a:cubicBezTo>
                      <a:pt x="11" y="31"/>
                      <a:pt x="11" y="32"/>
                      <a:pt x="11" y="32"/>
                    </a:cubicBezTo>
                    <a:cubicBezTo>
                      <a:pt x="11" y="32"/>
                      <a:pt x="12" y="33"/>
                      <a:pt x="13" y="33"/>
                    </a:cubicBezTo>
                    <a:cubicBezTo>
                      <a:pt x="13" y="33"/>
                      <a:pt x="14" y="33"/>
                      <a:pt x="14" y="32"/>
                    </a:cubicBezTo>
                    <a:cubicBezTo>
                      <a:pt x="14" y="32"/>
                      <a:pt x="14" y="32"/>
                      <a:pt x="14" y="33"/>
                    </a:cubicBezTo>
                    <a:cubicBezTo>
                      <a:pt x="15" y="33"/>
                      <a:pt x="15" y="33"/>
                      <a:pt x="16" y="34"/>
                    </a:cubicBezTo>
                    <a:cubicBezTo>
                      <a:pt x="18" y="35"/>
                      <a:pt x="21" y="35"/>
                      <a:pt x="21" y="35"/>
                    </a:cubicBezTo>
                    <a:cubicBezTo>
                      <a:pt x="22" y="35"/>
                      <a:pt x="24" y="31"/>
                      <a:pt x="25" y="31"/>
                    </a:cubicBezTo>
                    <a:cubicBezTo>
                      <a:pt x="25" y="31"/>
                      <a:pt x="29" y="31"/>
                      <a:pt x="29" y="31"/>
                    </a:cubicBezTo>
                    <a:cubicBezTo>
                      <a:pt x="29" y="31"/>
                      <a:pt x="28" y="32"/>
                      <a:pt x="29" y="32"/>
                    </a:cubicBezTo>
                    <a:cubicBezTo>
                      <a:pt x="29" y="33"/>
                      <a:pt x="30" y="34"/>
                      <a:pt x="31" y="35"/>
                    </a:cubicBezTo>
                    <a:cubicBezTo>
                      <a:pt x="32" y="37"/>
                      <a:pt x="38" y="41"/>
                      <a:pt x="39" y="42"/>
                    </a:cubicBezTo>
                    <a:cubicBezTo>
                      <a:pt x="41" y="42"/>
                      <a:pt x="41" y="43"/>
                      <a:pt x="41" y="43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1" y="44"/>
                      <a:pt x="42" y="43"/>
                      <a:pt x="42" y="44"/>
                    </a:cubicBezTo>
                    <a:cubicBezTo>
                      <a:pt x="42" y="44"/>
                      <a:pt x="42" y="48"/>
                      <a:pt x="42" y="49"/>
                    </a:cubicBezTo>
                    <a:cubicBezTo>
                      <a:pt x="43" y="50"/>
                      <a:pt x="43" y="50"/>
                      <a:pt x="43" y="50"/>
                    </a:cubicBezTo>
                    <a:cubicBezTo>
                      <a:pt x="43" y="50"/>
                      <a:pt x="42" y="51"/>
                      <a:pt x="41" y="51"/>
                    </a:cubicBezTo>
                    <a:cubicBezTo>
                      <a:pt x="39" y="51"/>
                      <a:pt x="33" y="53"/>
                      <a:pt x="31" y="54"/>
                    </a:cubicBezTo>
                    <a:cubicBezTo>
                      <a:pt x="28" y="54"/>
                      <a:pt x="23" y="54"/>
                      <a:pt x="22" y="54"/>
                    </a:cubicBezTo>
                    <a:cubicBezTo>
                      <a:pt x="21" y="55"/>
                      <a:pt x="16" y="55"/>
                      <a:pt x="15" y="55"/>
                    </a:cubicBezTo>
                    <a:cubicBezTo>
                      <a:pt x="14" y="54"/>
                      <a:pt x="11" y="53"/>
                      <a:pt x="9" y="53"/>
                    </a:cubicBezTo>
                    <a:cubicBezTo>
                      <a:pt x="7" y="53"/>
                      <a:pt x="5" y="53"/>
                      <a:pt x="5" y="53"/>
                    </a:cubicBezTo>
                    <a:cubicBezTo>
                      <a:pt x="4" y="53"/>
                      <a:pt x="4" y="54"/>
                      <a:pt x="4" y="55"/>
                    </a:cubicBezTo>
                    <a:cubicBezTo>
                      <a:pt x="4" y="56"/>
                      <a:pt x="4" y="55"/>
                      <a:pt x="4" y="55"/>
                    </a:cubicBezTo>
                    <a:cubicBezTo>
                      <a:pt x="4" y="55"/>
                      <a:pt x="4" y="55"/>
                      <a:pt x="4" y="56"/>
                    </a:cubicBezTo>
                    <a:cubicBezTo>
                      <a:pt x="4" y="56"/>
                      <a:pt x="3" y="56"/>
                      <a:pt x="3" y="57"/>
                    </a:cubicBezTo>
                    <a:cubicBezTo>
                      <a:pt x="3" y="58"/>
                      <a:pt x="4" y="58"/>
                      <a:pt x="4" y="58"/>
                    </a:cubicBezTo>
                    <a:cubicBezTo>
                      <a:pt x="4" y="58"/>
                      <a:pt x="4" y="58"/>
                      <a:pt x="4" y="59"/>
                    </a:cubicBezTo>
                    <a:cubicBezTo>
                      <a:pt x="3" y="59"/>
                      <a:pt x="4" y="60"/>
                      <a:pt x="4" y="60"/>
                    </a:cubicBezTo>
                    <a:cubicBezTo>
                      <a:pt x="4" y="61"/>
                      <a:pt x="5" y="61"/>
                      <a:pt x="5" y="61"/>
                    </a:cubicBezTo>
                    <a:cubicBezTo>
                      <a:pt x="5" y="61"/>
                      <a:pt x="5" y="61"/>
                      <a:pt x="4" y="61"/>
                    </a:cubicBezTo>
                    <a:cubicBezTo>
                      <a:pt x="4" y="61"/>
                      <a:pt x="4" y="62"/>
                      <a:pt x="4" y="63"/>
                    </a:cubicBezTo>
                    <a:cubicBezTo>
                      <a:pt x="4" y="63"/>
                      <a:pt x="5" y="63"/>
                      <a:pt x="6" y="63"/>
                    </a:cubicBezTo>
                    <a:cubicBezTo>
                      <a:pt x="6" y="62"/>
                      <a:pt x="7" y="63"/>
                      <a:pt x="9" y="63"/>
                    </a:cubicBezTo>
                    <a:cubicBezTo>
                      <a:pt x="12" y="63"/>
                      <a:pt x="16" y="62"/>
                      <a:pt x="19" y="62"/>
                    </a:cubicBezTo>
                    <a:cubicBezTo>
                      <a:pt x="22" y="62"/>
                      <a:pt x="33" y="63"/>
                      <a:pt x="37" y="63"/>
                    </a:cubicBezTo>
                    <a:cubicBezTo>
                      <a:pt x="40" y="63"/>
                      <a:pt x="46" y="62"/>
                      <a:pt x="49" y="61"/>
                    </a:cubicBezTo>
                    <a:cubicBezTo>
                      <a:pt x="52" y="61"/>
                      <a:pt x="51" y="59"/>
                      <a:pt x="52" y="56"/>
                    </a:cubicBezTo>
                    <a:cubicBezTo>
                      <a:pt x="53" y="54"/>
                      <a:pt x="54" y="50"/>
                      <a:pt x="54" y="50"/>
                    </a:cubicBezTo>
                    <a:cubicBezTo>
                      <a:pt x="59" y="56"/>
                      <a:pt x="59" y="56"/>
                      <a:pt x="59" y="56"/>
                    </a:cubicBezTo>
                    <a:cubicBezTo>
                      <a:pt x="59" y="56"/>
                      <a:pt x="57" y="59"/>
                      <a:pt x="57" y="62"/>
                    </a:cubicBezTo>
                    <a:cubicBezTo>
                      <a:pt x="56" y="65"/>
                      <a:pt x="57" y="69"/>
                      <a:pt x="61" y="72"/>
                    </a:cubicBezTo>
                    <a:cubicBezTo>
                      <a:pt x="64" y="75"/>
                      <a:pt x="73" y="75"/>
                      <a:pt x="74" y="75"/>
                    </a:cubicBezTo>
                    <a:cubicBezTo>
                      <a:pt x="76" y="75"/>
                      <a:pt x="76" y="74"/>
                      <a:pt x="77" y="75"/>
                    </a:cubicBezTo>
                    <a:cubicBezTo>
                      <a:pt x="77" y="76"/>
                      <a:pt x="80" y="78"/>
                      <a:pt x="83" y="81"/>
                    </a:cubicBezTo>
                    <a:cubicBezTo>
                      <a:pt x="86" y="83"/>
                      <a:pt x="93" y="89"/>
                      <a:pt x="96" y="91"/>
                    </a:cubicBezTo>
                    <a:cubicBezTo>
                      <a:pt x="99" y="93"/>
                      <a:pt x="101" y="94"/>
                      <a:pt x="101" y="94"/>
                    </a:cubicBezTo>
                    <a:cubicBezTo>
                      <a:pt x="101" y="94"/>
                      <a:pt x="101" y="94"/>
                      <a:pt x="101" y="95"/>
                    </a:cubicBezTo>
                    <a:cubicBezTo>
                      <a:pt x="101" y="96"/>
                      <a:pt x="102" y="98"/>
                      <a:pt x="103" y="98"/>
                    </a:cubicBezTo>
                    <a:cubicBezTo>
                      <a:pt x="105" y="98"/>
                      <a:pt x="105" y="98"/>
                      <a:pt x="106" y="98"/>
                    </a:cubicBezTo>
                    <a:cubicBezTo>
                      <a:pt x="106" y="99"/>
                      <a:pt x="106" y="102"/>
                      <a:pt x="105" y="104"/>
                    </a:cubicBezTo>
                    <a:cubicBezTo>
                      <a:pt x="104" y="105"/>
                      <a:pt x="103" y="106"/>
                      <a:pt x="100" y="107"/>
                    </a:cubicBezTo>
                    <a:cubicBezTo>
                      <a:pt x="97" y="108"/>
                      <a:pt x="97" y="109"/>
                      <a:pt x="97" y="110"/>
                    </a:cubicBezTo>
                    <a:cubicBezTo>
                      <a:pt x="97" y="112"/>
                      <a:pt x="98" y="111"/>
                      <a:pt x="100" y="112"/>
                    </a:cubicBezTo>
                    <a:cubicBezTo>
                      <a:pt x="101" y="112"/>
                      <a:pt x="107" y="112"/>
                      <a:pt x="109" y="111"/>
                    </a:cubicBezTo>
                    <a:cubicBezTo>
                      <a:pt x="111" y="111"/>
                      <a:pt x="113" y="112"/>
                      <a:pt x="116" y="112"/>
                    </a:cubicBezTo>
                    <a:cubicBezTo>
                      <a:pt x="118" y="112"/>
                      <a:pt x="121" y="112"/>
                      <a:pt x="122" y="110"/>
                    </a:cubicBezTo>
                    <a:cubicBezTo>
                      <a:pt x="122" y="109"/>
                      <a:pt x="121" y="107"/>
                      <a:pt x="121" y="106"/>
                    </a:cubicBezTo>
                    <a:close/>
                    <a:moveTo>
                      <a:pt x="64" y="37"/>
                    </a:moveTo>
                    <a:cubicBezTo>
                      <a:pt x="64" y="37"/>
                      <a:pt x="63" y="38"/>
                      <a:pt x="63" y="39"/>
                    </a:cubicBezTo>
                    <a:cubicBezTo>
                      <a:pt x="63" y="40"/>
                      <a:pt x="63" y="40"/>
                      <a:pt x="63" y="41"/>
                    </a:cubicBezTo>
                    <a:cubicBezTo>
                      <a:pt x="62" y="41"/>
                      <a:pt x="61" y="43"/>
                      <a:pt x="61" y="43"/>
                    </a:cubicBezTo>
                    <a:cubicBezTo>
                      <a:pt x="61" y="43"/>
                      <a:pt x="61" y="43"/>
                      <a:pt x="61" y="42"/>
                    </a:cubicBezTo>
                    <a:cubicBezTo>
                      <a:pt x="60" y="41"/>
                      <a:pt x="59" y="40"/>
                      <a:pt x="59" y="40"/>
                    </a:cubicBezTo>
                    <a:cubicBezTo>
                      <a:pt x="59" y="40"/>
                      <a:pt x="59" y="40"/>
                      <a:pt x="59" y="39"/>
                    </a:cubicBezTo>
                    <a:cubicBezTo>
                      <a:pt x="59" y="39"/>
                      <a:pt x="60" y="37"/>
                      <a:pt x="61" y="37"/>
                    </a:cubicBezTo>
                    <a:cubicBezTo>
                      <a:pt x="62" y="36"/>
                      <a:pt x="64" y="36"/>
                      <a:pt x="65" y="36"/>
                    </a:cubicBezTo>
                    <a:cubicBezTo>
                      <a:pt x="65" y="36"/>
                      <a:pt x="65" y="36"/>
                      <a:pt x="64" y="3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" name="Freeform 8"/>
              <p:cNvSpPr>
                <a:spLocks/>
              </p:cNvSpPr>
              <p:nvPr/>
            </p:nvSpPr>
            <p:spPr bwMode="auto">
              <a:xfrm flipH="1">
                <a:off x="3196803" y="2203261"/>
                <a:ext cx="582881" cy="658908"/>
              </a:xfrm>
              <a:custGeom>
                <a:avLst/>
                <a:gdLst>
                  <a:gd name="T0" fmla="*/ 141 w 143"/>
                  <a:gd name="T1" fmla="*/ 109 h 160"/>
                  <a:gd name="T2" fmla="*/ 130 w 143"/>
                  <a:gd name="T3" fmla="*/ 108 h 160"/>
                  <a:gd name="T4" fmla="*/ 113 w 143"/>
                  <a:gd name="T5" fmla="*/ 108 h 160"/>
                  <a:gd name="T6" fmla="*/ 93 w 143"/>
                  <a:gd name="T7" fmla="*/ 108 h 160"/>
                  <a:gd name="T8" fmla="*/ 96 w 143"/>
                  <a:gd name="T9" fmla="*/ 86 h 160"/>
                  <a:gd name="T10" fmla="*/ 101 w 143"/>
                  <a:gd name="T11" fmla="*/ 70 h 160"/>
                  <a:gd name="T12" fmla="*/ 104 w 143"/>
                  <a:gd name="T13" fmla="*/ 68 h 160"/>
                  <a:gd name="T14" fmla="*/ 105 w 143"/>
                  <a:gd name="T15" fmla="*/ 65 h 160"/>
                  <a:gd name="T16" fmla="*/ 100 w 143"/>
                  <a:gd name="T17" fmla="*/ 56 h 160"/>
                  <a:gd name="T18" fmla="*/ 86 w 143"/>
                  <a:gd name="T19" fmla="*/ 29 h 160"/>
                  <a:gd name="T20" fmla="*/ 71 w 143"/>
                  <a:gd name="T21" fmla="*/ 24 h 160"/>
                  <a:gd name="T22" fmla="*/ 48 w 143"/>
                  <a:gd name="T23" fmla="*/ 16 h 160"/>
                  <a:gd name="T24" fmla="*/ 30 w 143"/>
                  <a:gd name="T25" fmla="*/ 17 h 160"/>
                  <a:gd name="T26" fmla="*/ 17 w 143"/>
                  <a:gd name="T27" fmla="*/ 2 h 160"/>
                  <a:gd name="T28" fmla="*/ 2 w 143"/>
                  <a:gd name="T29" fmla="*/ 12 h 160"/>
                  <a:gd name="T30" fmla="*/ 4 w 143"/>
                  <a:gd name="T31" fmla="*/ 21 h 160"/>
                  <a:gd name="T32" fmla="*/ 7 w 143"/>
                  <a:gd name="T33" fmla="*/ 24 h 160"/>
                  <a:gd name="T34" fmla="*/ 9 w 143"/>
                  <a:gd name="T35" fmla="*/ 30 h 160"/>
                  <a:gd name="T36" fmla="*/ 12 w 143"/>
                  <a:gd name="T37" fmla="*/ 31 h 160"/>
                  <a:gd name="T38" fmla="*/ 14 w 143"/>
                  <a:gd name="T39" fmla="*/ 31 h 160"/>
                  <a:gd name="T40" fmla="*/ 22 w 143"/>
                  <a:gd name="T41" fmla="*/ 33 h 160"/>
                  <a:gd name="T42" fmla="*/ 28 w 143"/>
                  <a:gd name="T43" fmla="*/ 33 h 160"/>
                  <a:gd name="T44" fmla="*/ 33 w 143"/>
                  <a:gd name="T45" fmla="*/ 42 h 160"/>
                  <a:gd name="T46" fmla="*/ 44 w 143"/>
                  <a:gd name="T47" fmla="*/ 53 h 160"/>
                  <a:gd name="T48" fmla="*/ 38 w 143"/>
                  <a:gd name="T49" fmla="*/ 66 h 160"/>
                  <a:gd name="T50" fmla="*/ 29 w 143"/>
                  <a:gd name="T51" fmla="*/ 73 h 160"/>
                  <a:gd name="T52" fmla="*/ 26 w 143"/>
                  <a:gd name="T53" fmla="*/ 77 h 160"/>
                  <a:gd name="T54" fmla="*/ 26 w 143"/>
                  <a:gd name="T55" fmla="*/ 80 h 160"/>
                  <a:gd name="T56" fmla="*/ 27 w 143"/>
                  <a:gd name="T57" fmla="*/ 83 h 160"/>
                  <a:gd name="T58" fmla="*/ 29 w 143"/>
                  <a:gd name="T59" fmla="*/ 84 h 160"/>
                  <a:gd name="T60" fmla="*/ 31 w 143"/>
                  <a:gd name="T61" fmla="*/ 86 h 160"/>
                  <a:gd name="T62" fmla="*/ 37 w 143"/>
                  <a:gd name="T63" fmla="*/ 79 h 160"/>
                  <a:gd name="T64" fmla="*/ 48 w 143"/>
                  <a:gd name="T65" fmla="*/ 69 h 160"/>
                  <a:gd name="T66" fmla="*/ 56 w 143"/>
                  <a:gd name="T67" fmla="*/ 57 h 160"/>
                  <a:gd name="T68" fmla="*/ 63 w 143"/>
                  <a:gd name="T69" fmla="*/ 66 h 160"/>
                  <a:gd name="T70" fmla="*/ 64 w 143"/>
                  <a:gd name="T71" fmla="*/ 87 h 160"/>
                  <a:gd name="T72" fmla="*/ 64 w 143"/>
                  <a:gd name="T73" fmla="*/ 105 h 160"/>
                  <a:gd name="T74" fmla="*/ 69 w 143"/>
                  <a:gd name="T75" fmla="*/ 108 h 160"/>
                  <a:gd name="T76" fmla="*/ 72 w 143"/>
                  <a:gd name="T77" fmla="*/ 114 h 160"/>
                  <a:gd name="T78" fmla="*/ 90 w 143"/>
                  <a:gd name="T79" fmla="*/ 138 h 160"/>
                  <a:gd name="T80" fmla="*/ 95 w 143"/>
                  <a:gd name="T81" fmla="*/ 149 h 160"/>
                  <a:gd name="T82" fmla="*/ 85 w 143"/>
                  <a:gd name="T83" fmla="*/ 155 h 160"/>
                  <a:gd name="T84" fmla="*/ 90 w 143"/>
                  <a:gd name="T85" fmla="*/ 160 h 160"/>
                  <a:gd name="T86" fmla="*/ 111 w 143"/>
                  <a:gd name="T87" fmla="*/ 159 h 160"/>
                  <a:gd name="T88" fmla="*/ 106 w 143"/>
                  <a:gd name="T89" fmla="*/ 146 h 160"/>
                  <a:gd name="T90" fmla="*/ 92 w 143"/>
                  <a:gd name="T91" fmla="*/ 120 h 160"/>
                  <a:gd name="T92" fmla="*/ 112 w 143"/>
                  <a:gd name="T93" fmla="*/ 119 h 160"/>
                  <a:gd name="T94" fmla="*/ 126 w 143"/>
                  <a:gd name="T95" fmla="*/ 119 h 160"/>
                  <a:gd name="T96" fmla="*/ 134 w 143"/>
                  <a:gd name="T97" fmla="*/ 130 h 160"/>
                  <a:gd name="T98" fmla="*/ 135 w 143"/>
                  <a:gd name="T99" fmla="*/ 139 h 160"/>
                  <a:gd name="T100" fmla="*/ 141 w 143"/>
                  <a:gd name="T101" fmla="*/ 137 h 160"/>
                  <a:gd name="T102" fmla="*/ 142 w 143"/>
                  <a:gd name="T103" fmla="*/ 116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3" h="160">
                    <a:moveTo>
                      <a:pt x="142" y="116"/>
                    </a:moveTo>
                    <a:cubicBezTo>
                      <a:pt x="142" y="113"/>
                      <a:pt x="141" y="110"/>
                      <a:pt x="141" y="109"/>
                    </a:cubicBezTo>
                    <a:cubicBezTo>
                      <a:pt x="140" y="107"/>
                      <a:pt x="138" y="106"/>
                      <a:pt x="137" y="106"/>
                    </a:cubicBezTo>
                    <a:cubicBezTo>
                      <a:pt x="135" y="106"/>
                      <a:pt x="131" y="107"/>
                      <a:pt x="130" y="108"/>
                    </a:cubicBezTo>
                    <a:cubicBezTo>
                      <a:pt x="129" y="109"/>
                      <a:pt x="127" y="109"/>
                      <a:pt x="127" y="109"/>
                    </a:cubicBezTo>
                    <a:cubicBezTo>
                      <a:pt x="127" y="109"/>
                      <a:pt x="119" y="109"/>
                      <a:pt x="113" y="108"/>
                    </a:cubicBezTo>
                    <a:cubicBezTo>
                      <a:pt x="108" y="107"/>
                      <a:pt x="102" y="107"/>
                      <a:pt x="100" y="107"/>
                    </a:cubicBezTo>
                    <a:cubicBezTo>
                      <a:pt x="99" y="107"/>
                      <a:pt x="93" y="108"/>
                      <a:pt x="93" y="108"/>
                    </a:cubicBezTo>
                    <a:cubicBezTo>
                      <a:pt x="93" y="108"/>
                      <a:pt x="93" y="107"/>
                      <a:pt x="93" y="104"/>
                    </a:cubicBezTo>
                    <a:cubicBezTo>
                      <a:pt x="93" y="102"/>
                      <a:pt x="96" y="88"/>
                      <a:pt x="96" y="86"/>
                    </a:cubicBezTo>
                    <a:cubicBezTo>
                      <a:pt x="97" y="84"/>
                      <a:pt x="99" y="78"/>
                      <a:pt x="100" y="76"/>
                    </a:cubicBezTo>
                    <a:cubicBezTo>
                      <a:pt x="100" y="75"/>
                      <a:pt x="101" y="70"/>
                      <a:pt x="101" y="70"/>
                    </a:cubicBezTo>
                    <a:cubicBezTo>
                      <a:pt x="102" y="70"/>
                      <a:pt x="103" y="69"/>
                      <a:pt x="103" y="69"/>
                    </a:cubicBezTo>
                    <a:cubicBezTo>
                      <a:pt x="104" y="68"/>
                      <a:pt x="104" y="68"/>
                      <a:pt x="104" y="68"/>
                    </a:cubicBezTo>
                    <a:cubicBezTo>
                      <a:pt x="104" y="68"/>
                      <a:pt x="104" y="68"/>
                      <a:pt x="105" y="68"/>
                    </a:cubicBezTo>
                    <a:cubicBezTo>
                      <a:pt x="105" y="68"/>
                      <a:pt x="106" y="66"/>
                      <a:pt x="105" y="65"/>
                    </a:cubicBezTo>
                    <a:cubicBezTo>
                      <a:pt x="105" y="63"/>
                      <a:pt x="105" y="63"/>
                      <a:pt x="104" y="62"/>
                    </a:cubicBezTo>
                    <a:cubicBezTo>
                      <a:pt x="104" y="61"/>
                      <a:pt x="102" y="58"/>
                      <a:pt x="100" y="56"/>
                    </a:cubicBezTo>
                    <a:cubicBezTo>
                      <a:pt x="98" y="53"/>
                      <a:pt x="97" y="47"/>
                      <a:pt x="96" y="45"/>
                    </a:cubicBezTo>
                    <a:cubicBezTo>
                      <a:pt x="95" y="43"/>
                      <a:pt x="86" y="31"/>
                      <a:pt x="86" y="29"/>
                    </a:cubicBezTo>
                    <a:cubicBezTo>
                      <a:pt x="85" y="28"/>
                      <a:pt x="84" y="27"/>
                      <a:pt x="83" y="27"/>
                    </a:cubicBezTo>
                    <a:cubicBezTo>
                      <a:pt x="83" y="27"/>
                      <a:pt x="71" y="24"/>
                      <a:pt x="71" y="24"/>
                    </a:cubicBezTo>
                    <a:cubicBezTo>
                      <a:pt x="71" y="24"/>
                      <a:pt x="65" y="23"/>
                      <a:pt x="62" y="21"/>
                    </a:cubicBezTo>
                    <a:cubicBezTo>
                      <a:pt x="59" y="19"/>
                      <a:pt x="55" y="17"/>
                      <a:pt x="48" y="16"/>
                    </a:cubicBezTo>
                    <a:cubicBezTo>
                      <a:pt x="41" y="16"/>
                      <a:pt x="32" y="17"/>
                      <a:pt x="32" y="17"/>
                    </a:cubicBezTo>
                    <a:cubicBezTo>
                      <a:pt x="32" y="17"/>
                      <a:pt x="30" y="17"/>
                      <a:pt x="30" y="17"/>
                    </a:cubicBezTo>
                    <a:cubicBezTo>
                      <a:pt x="29" y="16"/>
                      <a:pt x="27" y="12"/>
                      <a:pt x="24" y="8"/>
                    </a:cubicBezTo>
                    <a:cubicBezTo>
                      <a:pt x="22" y="4"/>
                      <a:pt x="20" y="3"/>
                      <a:pt x="17" y="2"/>
                    </a:cubicBezTo>
                    <a:cubicBezTo>
                      <a:pt x="13" y="0"/>
                      <a:pt x="10" y="2"/>
                      <a:pt x="8" y="3"/>
                    </a:cubicBezTo>
                    <a:cubicBezTo>
                      <a:pt x="6" y="4"/>
                      <a:pt x="3" y="9"/>
                      <a:pt x="2" y="12"/>
                    </a:cubicBezTo>
                    <a:cubicBezTo>
                      <a:pt x="0" y="15"/>
                      <a:pt x="2" y="17"/>
                      <a:pt x="2" y="18"/>
                    </a:cubicBezTo>
                    <a:cubicBezTo>
                      <a:pt x="3" y="18"/>
                      <a:pt x="3" y="20"/>
                      <a:pt x="4" y="21"/>
                    </a:cubicBezTo>
                    <a:cubicBezTo>
                      <a:pt x="4" y="22"/>
                      <a:pt x="4" y="23"/>
                      <a:pt x="5" y="24"/>
                    </a:cubicBezTo>
                    <a:cubicBezTo>
                      <a:pt x="6" y="25"/>
                      <a:pt x="6" y="24"/>
                      <a:pt x="7" y="24"/>
                    </a:cubicBezTo>
                    <a:cubicBezTo>
                      <a:pt x="7" y="25"/>
                      <a:pt x="7" y="26"/>
                      <a:pt x="8" y="28"/>
                    </a:cubicBezTo>
                    <a:cubicBezTo>
                      <a:pt x="8" y="29"/>
                      <a:pt x="8" y="30"/>
                      <a:pt x="9" y="30"/>
                    </a:cubicBezTo>
                    <a:cubicBezTo>
                      <a:pt x="9" y="30"/>
                      <a:pt x="11" y="29"/>
                      <a:pt x="11" y="30"/>
                    </a:cubicBezTo>
                    <a:cubicBezTo>
                      <a:pt x="11" y="30"/>
                      <a:pt x="12" y="31"/>
                      <a:pt x="12" y="31"/>
                    </a:cubicBezTo>
                    <a:cubicBezTo>
                      <a:pt x="13" y="31"/>
                      <a:pt x="14" y="31"/>
                      <a:pt x="14" y="31"/>
                    </a:cubicBezTo>
                    <a:cubicBezTo>
                      <a:pt x="14" y="31"/>
                      <a:pt x="14" y="31"/>
                      <a:pt x="14" y="31"/>
                    </a:cubicBezTo>
                    <a:cubicBezTo>
                      <a:pt x="14" y="32"/>
                      <a:pt x="16" y="33"/>
                      <a:pt x="18" y="34"/>
                    </a:cubicBezTo>
                    <a:cubicBezTo>
                      <a:pt x="20" y="35"/>
                      <a:pt x="21" y="34"/>
                      <a:pt x="22" y="33"/>
                    </a:cubicBezTo>
                    <a:cubicBezTo>
                      <a:pt x="23" y="32"/>
                      <a:pt x="23" y="32"/>
                      <a:pt x="24" y="32"/>
                    </a:cubicBezTo>
                    <a:cubicBezTo>
                      <a:pt x="25" y="32"/>
                      <a:pt x="28" y="33"/>
                      <a:pt x="28" y="33"/>
                    </a:cubicBezTo>
                    <a:cubicBezTo>
                      <a:pt x="28" y="33"/>
                      <a:pt x="29" y="34"/>
                      <a:pt x="29" y="35"/>
                    </a:cubicBezTo>
                    <a:cubicBezTo>
                      <a:pt x="29" y="36"/>
                      <a:pt x="31" y="40"/>
                      <a:pt x="33" y="42"/>
                    </a:cubicBezTo>
                    <a:cubicBezTo>
                      <a:pt x="34" y="44"/>
                      <a:pt x="39" y="47"/>
                      <a:pt x="40" y="49"/>
                    </a:cubicBezTo>
                    <a:cubicBezTo>
                      <a:pt x="42" y="52"/>
                      <a:pt x="43" y="53"/>
                      <a:pt x="44" y="53"/>
                    </a:cubicBezTo>
                    <a:cubicBezTo>
                      <a:pt x="45" y="54"/>
                      <a:pt x="44" y="55"/>
                      <a:pt x="43" y="57"/>
                    </a:cubicBezTo>
                    <a:cubicBezTo>
                      <a:pt x="42" y="58"/>
                      <a:pt x="38" y="66"/>
                      <a:pt x="38" y="66"/>
                    </a:cubicBezTo>
                    <a:cubicBezTo>
                      <a:pt x="38" y="66"/>
                      <a:pt x="34" y="70"/>
                      <a:pt x="33" y="72"/>
                    </a:cubicBezTo>
                    <a:cubicBezTo>
                      <a:pt x="32" y="74"/>
                      <a:pt x="31" y="73"/>
                      <a:pt x="29" y="73"/>
                    </a:cubicBezTo>
                    <a:cubicBezTo>
                      <a:pt x="27" y="73"/>
                      <a:pt x="26" y="76"/>
                      <a:pt x="26" y="76"/>
                    </a:cubicBezTo>
                    <a:cubicBezTo>
                      <a:pt x="26" y="76"/>
                      <a:pt x="26" y="77"/>
                      <a:pt x="26" y="77"/>
                    </a:cubicBezTo>
                    <a:cubicBezTo>
                      <a:pt x="25" y="78"/>
                      <a:pt x="25" y="79"/>
                      <a:pt x="25" y="79"/>
                    </a:cubicBezTo>
                    <a:cubicBezTo>
                      <a:pt x="25" y="80"/>
                      <a:pt x="26" y="80"/>
                      <a:pt x="26" y="80"/>
                    </a:cubicBezTo>
                    <a:cubicBezTo>
                      <a:pt x="26" y="80"/>
                      <a:pt x="26" y="81"/>
                      <a:pt x="26" y="81"/>
                    </a:cubicBezTo>
                    <a:cubicBezTo>
                      <a:pt x="26" y="82"/>
                      <a:pt x="26" y="82"/>
                      <a:pt x="27" y="83"/>
                    </a:cubicBezTo>
                    <a:cubicBezTo>
                      <a:pt x="28" y="83"/>
                      <a:pt x="29" y="83"/>
                      <a:pt x="29" y="83"/>
                    </a:cubicBezTo>
                    <a:cubicBezTo>
                      <a:pt x="29" y="83"/>
                      <a:pt x="29" y="84"/>
                      <a:pt x="29" y="84"/>
                    </a:cubicBezTo>
                    <a:cubicBezTo>
                      <a:pt x="29" y="85"/>
                      <a:pt x="30" y="85"/>
                      <a:pt x="30" y="85"/>
                    </a:cubicBezTo>
                    <a:cubicBezTo>
                      <a:pt x="30" y="86"/>
                      <a:pt x="30" y="86"/>
                      <a:pt x="31" y="86"/>
                    </a:cubicBezTo>
                    <a:cubicBezTo>
                      <a:pt x="32" y="86"/>
                      <a:pt x="33" y="84"/>
                      <a:pt x="34" y="83"/>
                    </a:cubicBezTo>
                    <a:cubicBezTo>
                      <a:pt x="35" y="82"/>
                      <a:pt x="36" y="80"/>
                      <a:pt x="37" y="79"/>
                    </a:cubicBezTo>
                    <a:cubicBezTo>
                      <a:pt x="37" y="79"/>
                      <a:pt x="38" y="77"/>
                      <a:pt x="39" y="76"/>
                    </a:cubicBezTo>
                    <a:cubicBezTo>
                      <a:pt x="40" y="75"/>
                      <a:pt x="46" y="70"/>
                      <a:pt x="48" y="69"/>
                    </a:cubicBezTo>
                    <a:cubicBezTo>
                      <a:pt x="50" y="67"/>
                      <a:pt x="53" y="61"/>
                      <a:pt x="53" y="61"/>
                    </a:cubicBezTo>
                    <a:cubicBezTo>
                      <a:pt x="54" y="60"/>
                      <a:pt x="56" y="57"/>
                      <a:pt x="56" y="57"/>
                    </a:cubicBezTo>
                    <a:cubicBezTo>
                      <a:pt x="56" y="57"/>
                      <a:pt x="56" y="57"/>
                      <a:pt x="56" y="57"/>
                    </a:cubicBezTo>
                    <a:cubicBezTo>
                      <a:pt x="57" y="58"/>
                      <a:pt x="63" y="63"/>
                      <a:pt x="63" y="66"/>
                    </a:cubicBezTo>
                    <a:cubicBezTo>
                      <a:pt x="64" y="68"/>
                      <a:pt x="64" y="72"/>
                      <a:pt x="64" y="73"/>
                    </a:cubicBezTo>
                    <a:cubicBezTo>
                      <a:pt x="64" y="74"/>
                      <a:pt x="64" y="86"/>
                      <a:pt x="64" y="87"/>
                    </a:cubicBezTo>
                    <a:cubicBezTo>
                      <a:pt x="64" y="87"/>
                      <a:pt x="63" y="95"/>
                      <a:pt x="63" y="95"/>
                    </a:cubicBezTo>
                    <a:cubicBezTo>
                      <a:pt x="63" y="96"/>
                      <a:pt x="64" y="103"/>
                      <a:pt x="64" y="105"/>
                    </a:cubicBezTo>
                    <a:cubicBezTo>
                      <a:pt x="63" y="106"/>
                      <a:pt x="64" y="107"/>
                      <a:pt x="64" y="107"/>
                    </a:cubicBezTo>
                    <a:cubicBezTo>
                      <a:pt x="65" y="108"/>
                      <a:pt x="69" y="108"/>
                      <a:pt x="69" y="108"/>
                    </a:cubicBezTo>
                    <a:cubicBezTo>
                      <a:pt x="69" y="108"/>
                      <a:pt x="70" y="107"/>
                      <a:pt x="70" y="109"/>
                    </a:cubicBezTo>
                    <a:cubicBezTo>
                      <a:pt x="70" y="110"/>
                      <a:pt x="71" y="113"/>
                      <a:pt x="72" y="114"/>
                    </a:cubicBezTo>
                    <a:cubicBezTo>
                      <a:pt x="73" y="116"/>
                      <a:pt x="80" y="125"/>
                      <a:pt x="81" y="126"/>
                    </a:cubicBezTo>
                    <a:cubicBezTo>
                      <a:pt x="82" y="128"/>
                      <a:pt x="88" y="135"/>
                      <a:pt x="90" y="138"/>
                    </a:cubicBezTo>
                    <a:cubicBezTo>
                      <a:pt x="92" y="140"/>
                      <a:pt x="96" y="146"/>
                      <a:pt x="96" y="146"/>
                    </a:cubicBezTo>
                    <a:cubicBezTo>
                      <a:pt x="96" y="146"/>
                      <a:pt x="96" y="148"/>
                      <a:pt x="95" y="149"/>
                    </a:cubicBezTo>
                    <a:cubicBezTo>
                      <a:pt x="95" y="150"/>
                      <a:pt x="92" y="151"/>
                      <a:pt x="91" y="152"/>
                    </a:cubicBezTo>
                    <a:cubicBezTo>
                      <a:pt x="90" y="153"/>
                      <a:pt x="87" y="154"/>
                      <a:pt x="85" y="155"/>
                    </a:cubicBezTo>
                    <a:cubicBezTo>
                      <a:pt x="83" y="155"/>
                      <a:pt x="82" y="157"/>
                      <a:pt x="81" y="158"/>
                    </a:cubicBezTo>
                    <a:cubicBezTo>
                      <a:pt x="81" y="160"/>
                      <a:pt x="88" y="160"/>
                      <a:pt x="90" y="160"/>
                    </a:cubicBezTo>
                    <a:cubicBezTo>
                      <a:pt x="93" y="160"/>
                      <a:pt x="95" y="160"/>
                      <a:pt x="98" y="160"/>
                    </a:cubicBezTo>
                    <a:cubicBezTo>
                      <a:pt x="100" y="159"/>
                      <a:pt x="108" y="160"/>
                      <a:pt x="111" y="159"/>
                    </a:cubicBezTo>
                    <a:cubicBezTo>
                      <a:pt x="113" y="158"/>
                      <a:pt x="112" y="156"/>
                      <a:pt x="112" y="154"/>
                    </a:cubicBezTo>
                    <a:cubicBezTo>
                      <a:pt x="111" y="153"/>
                      <a:pt x="107" y="147"/>
                      <a:pt x="106" y="146"/>
                    </a:cubicBezTo>
                    <a:cubicBezTo>
                      <a:pt x="105" y="144"/>
                      <a:pt x="97" y="130"/>
                      <a:pt x="96" y="127"/>
                    </a:cubicBezTo>
                    <a:cubicBezTo>
                      <a:pt x="95" y="124"/>
                      <a:pt x="92" y="120"/>
                      <a:pt x="92" y="120"/>
                    </a:cubicBezTo>
                    <a:cubicBezTo>
                      <a:pt x="92" y="120"/>
                      <a:pt x="92" y="120"/>
                      <a:pt x="94" y="120"/>
                    </a:cubicBezTo>
                    <a:cubicBezTo>
                      <a:pt x="96" y="120"/>
                      <a:pt x="109" y="119"/>
                      <a:pt x="112" y="119"/>
                    </a:cubicBezTo>
                    <a:cubicBezTo>
                      <a:pt x="114" y="118"/>
                      <a:pt x="117" y="118"/>
                      <a:pt x="121" y="118"/>
                    </a:cubicBezTo>
                    <a:cubicBezTo>
                      <a:pt x="124" y="118"/>
                      <a:pt x="124" y="118"/>
                      <a:pt x="126" y="119"/>
                    </a:cubicBezTo>
                    <a:cubicBezTo>
                      <a:pt x="128" y="120"/>
                      <a:pt x="128" y="121"/>
                      <a:pt x="129" y="122"/>
                    </a:cubicBezTo>
                    <a:cubicBezTo>
                      <a:pt x="130" y="123"/>
                      <a:pt x="133" y="128"/>
                      <a:pt x="134" y="130"/>
                    </a:cubicBezTo>
                    <a:cubicBezTo>
                      <a:pt x="134" y="131"/>
                      <a:pt x="135" y="134"/>
                      <a:pt x="135" y="135"/>
                    </a:cubicBezTo>
                    <a:cubicBezTo>
                      <a:pt x="135" y="136"/>
                      <a:pt x="134" y="138"/>
                      <a:pt x="135" y="139"/>
                    </a:cubicBezTo>
                    <a:cubicBezTo>
                      <a:pt x="135" y="140"/>
                      <a:pt x="136" y="140"/>
                      <a:pt x="138" y="140"/>
                    </a:cubicBezTo>
                    <a:cubicBezTo>
                      <a:pt x="139" y="140"/>
                      <a:pt x="140" y="139"/>
                      <a:pt x="141" y="137"/>
                    </a:cubicBezTo>
                    <a:cubicBezTo>
                      <a:pt x="142" y="136"/>
                      <a:pt x="143" y="130"/>
                      <a:pt x="143" y="128"/>
                    </a:cubicBezTo>
                    <a:cubicBezTo>
                      <a:pt x="143" y="126"/>
                      <a:pt x="142" y="118"/>
                      <a:pt x="142" y="1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" name="Freeform 9"/>
              <p:cNvSpPr>
                <a:spLocks noEditPoints="1"/>
              </p:cNvSpPr>
              <p:nvPr/>
            </p:nvSpPr>
            <p:spPr bwMode="auto">
              <a:xfrm flipH="1">
                <a:off x="4197046" y="1910274"/>
                <a:ext cx="525656" cy="828132"/>
              </a:xfrm>
              <a:custGeom>
                <a:avLst/>
                <a:gdLst>
                  <a:gd name="T0" fmla="*/ 117 w 129"/>
                  <a:gd name="T1" fmla="*/ 165 h 201"/>
                  <a:gd name="T2" fmla="*/ 104 w 129"/>
                  <a:gd name="T3" fmla="*/ 139 h 201"/>
                  <a:gd name="T4" fmla="*/ 94 w 129"/>
                  <a:gd name="T5" fmla="*/ 129 h 201"/>
                  <a:gd name="T6" fmla="*/ 98 w 129"/>
                  <a:gd name="T7" fmla="*/ 126 h 201"/>
                  <a:gd name="T8" fmla="*/ 82 w 129"/>
                  <a:gd name="T9" fmla="*/ 99 h 201"/>
                  <a:gd name="T10" fmla="*/ 71 w 129"/>
                  <a:gd name="T11" fmla="*/ 75 h 201"/>
                  <a:gd name="T12" fmla="*/ 66 w 129"/>
                  <a:gd name="T13" fmla="*/ 62 h 201"/>
                  <a:gd name="T14" fmla="*/ 70 w 129"/>
                  <a:gd name="T15" fmla="*/ 47 h 201"/>
                  <a:gd name="T16" fmla="*/ 72 w 129"/>
                  <a:gd name="T17" fmla="*/ 33 h 201"/>
                  <a:gd name="T18" fmla="*/ 69 w 129"/>
                  <a:gd name="T19" fmla="*/ 27 h 201"/>
                  <a:gd name="T20" fmla="*/ 48 w 129"/>
                  <a:gd name="T21" fmla="*/ 24 h 201"/>
                  <a:gd name="T22" fmla="*/ 35 w 129"/>
                  <a:gd name="T23" fmla="*/ 23 h 201"/>
                  <a:gd name="T24" fmla="*/ 34 w 129"/>
                  <a:gd name="T25" fmla="*/ 7 h 201"/>
                  <a:gd name="T26" fmla="*/ 18 w 129"/>
                  <a:gd name="T27" fmla="*/ 2 h 201"/>
                  <a:gd name="T28" fmla="*/ 11 w 129"/>
                  <a:gd name="T29" fmla="*/ 12 h 201"/>
                  <a:gd name="T30" fmla="*/ 11 w 129"/>
                  <a:gd name="T31" fmla="*/ 19 h 201"/>
                  <a:gd name="T32" fmla="*/ 12 w 129"/>
                  <a:gd name="T33" fmla="*/ 22 h 201"/>
                  <a:gd name="T34" fmla="*/ 14 w 129"/>
                  <a:gd name="T35" fmla="*/ 24 h 201"/>
                  <a:gd name="T36" fmla="*/ 14 w 129"/>
                  <a:gd name="T37" fmla="*/ 26 h 201"/>
                  <a:gd name="T38" fmla="*/ 16 w 129"/>
                  <a:gd name="T39" fmla="*/ 30 h 201"/>
                  <a:gd name="T40" fmla="*/ 22 w 129"/>
                  <a:gd name="T41" fmla="*/ 31 h 201"/>
                  <a:gd name="T42" fmla="*/ 25 w 129"/>
                  <a:gd name="T43" fmla="*/ 34 h 201"/>
                  <a:gd name="T44" fmla="*/ 25 w 129"/>
                  <a:gd name="T45" fmla="*/ 50 h 201"/>
                  <a:gd name="T46" fmla="*/ 31 w 129"/>
                  <a:gd name="T47" fmla="*/ 64 h 201"/>
                  <a:gd name="T48" fmla="*/ 20 w 129"/>
                  <a:gd name="T49" fmla="*/ 65 h 201"/>
                  <a:gd name="T50" fmla="*/ 10 w 129"/>
                  <a:gd name="T51" fmla="*/ 59 h 201"/>
                  <a:gd name="T52" fmla="*/ 6 w 129"/>
                  <a:gd name="T53" fmla="*/ 57 h 201"/>
                  <a:gd name="T54" fmla="*/ 4 w 129"/>
                  <a:gd name="T55" fmla="*/ 59 h 201"/>
                  <a:gd name="T56" fmla="*/ 2 w 129"/>
                  <a:gd name="T57" fmla="*/ 60 h 201"/>
                  <a:gd name="T58" fmla="*/ 1 w 129"/>
                  <a:gd name="T59" fmla="*/ 62 h 201"/>
                  <a:gd name="T60" fmla="*/ 1 w 129"/>
                  <a:gd name="T61" fmla="*/ 64 h 201"/>
                  <a:gd name="T62" fmla="*/ 0 w 129"/>
                  <a:gd name="T63" fmla="*/ 65 h 201"/>
                  <a:gd name="T64" fmla="*/ 0 w 129"/>
                  <a:gd name="T65" fmla="*/ 67 h 201"/>
                  <a:gd name="T66" fmla="*/ 5 w 129"/>
                  <a:gd name="T67" fmla="*/ 70 h 201"/>
                  <a:gd name="T68" fmla="*/ 15 w 129"/>
                  <a:gd name="T69" fmla="*/ 71 h 201"/>
                  <a:gd name="T70" fmla="*/ 37 w 129"/>
                  <a:gd name="T71" fmla="*/ 75 h 201"/>
                  <a:gd name="T72" fmla="*/ 44 w 129"/>
                  <a:gd name="T73" fmla="*/ 90 h 201"/>
                  <a:gd name="T74" fmla="*/ 33 w 129"/>
                  <a:gd name="T75" fmla="*/ 113 h 201"/>
                  <a:gd name="T76" fmla="*/ 28 w 129"/>
                  <a:gd name="T77" fmla="*/ 134 h 201"/>
                  <a:gd name="T78" fmla="*/ 48 w 129"/>
                  <a:gd name="T79" fmla="*/ 142 h 201"/>
                  <a:gd name="T80" fmla="*/ 71 w 129"/>
                  <a:gd name="T81" fmla="*/ 144 h 201"/>
                  <a:gd name="T82" fmla="*/ 81 w 129"/>
                  <a:gd name="T83" fmla="*/ 149 h 201"/>
                  <a:gd name="T84" fmla="*/ 87 w 129"/>
                  <a:gd name="T85" fmla="*/ 161 h 201"/>
                  <a:gd name="T86" fmla="*/ 88 w 129"/>
                  <a:gd name="T87" fmla="*/ 170 h 201"/>
                  <a:gd name="T88" fmla="*/ 93 w 129"/>
                  <a:gd name="T89" fmla="*/ 162 h 201"/>
                  <a:gd name="T90" fmla="*/ 94 w 129"/>
                  <a:gd name="T91" fmla="*/ 148 h 201"/>
                  <a:gd name="T92" fmla="*/ 109 w 129"/>
                  <a:gd name="T93" fmla="*/ 171 h 201"/>
                  <a:gd name="T94" fmla="*/ 110 w 129"/>
                  <a:gd name="T95" fmla="*/ 183 h 201"/>
                  <a:gd name="T96" fmla="*/ 106 w 129"/>
                  <a:gd name="T97" fmla="*/ 199 h 201"/>
                  <a:gd name="T98" fmla="*/ 114 w 129"/>
                  <a:gd name="T99" fmla="*/ 196 h 201"/>
                  <a:gd name="T100" fmla="*/ 126 w 129"/>
                  <a:gd name="T101" fmla="*/ 180 h 201"/>
                  <a:gd name="T102" fmla="*/ 125 w 129"/>
                  <a:gd name="T103" fmla="*/ 171 h 201"/>
                  <a:gd name="T104" fmla="*/ 60 w 129"/>
                  <a:gd name="T105" fmla="*/ 36 h 201"/>
                  <a:gd name="T106" fmla="*/ 59 w 129"/>
                  <a:gd name="T107" fmla="*/ 46 h 201"/>
                  <a:gd name="T108" fmla="*/ 56 w 129"/>
                  <a:gd name="T109" fmla="*/ 37 h 201"/>
                  <a:gd name="T110" fmla="*/ 56 w 129"/>
                  <a:gd name="T111" fmla="*/ 128 h 201"/>
                  <a:gd name="T112" fmla="*/ 77 w 129"/>
                  <a:gd name="T113" fmla="*/ 133 h 201"/>
                  <a:gd name="T114" fmla="*/ 72 w 129"/>
                  <a:gd name="T115" fmla="*/ 134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9" h="201">
                    <a:moveTo>
                      <a:pt x="125" y="171"/>
                    </a:moveTo>
                    <a:cubicBezTo>
                      <a:pt x="124" y="170"/>
                      <a:pt x="118" y="167"/>
                      <a:pt x="117" y="165"/>
                    </a:cubicBezTo>
                    <a:cubicBezTo>
                      <a:pt x="116" y="164"/>
                      <a:pt x="111" y="154"/>
                      <a:pt x="110" y="152"/>
                    </a:cubicBezTo>
                    <a:cubicBezTo>
                      <a:pt x="110" y="149"/>
                      <a:pt x="105" y="141"/>
                      <a:pt x="104" y="139"/>
                    </a:cubicBezTo>
                    <a:cubicBezTo>
                      <a:pt x="103" y="137"/>
                      <a:pt x="98" y="133"/>
                      <a:pt x="97" y="132"/>
                    </a:cubicBezTo>
                    <a:cubicBezTo>
                      <a:pt x="96" y="131"/>
                      <a:pt x="94" y="129"/>
                      <a:pt x="94" y="129"/>
                    </a:cubicBezTo>
                    <a:cubicBezTo>
                      <a:pt x="94" y="129"/>
                      <a:pt x="95" y="128"/>
                      <a:pt x="95" y="128"/>
                    </a:cubicBezTo>
                    <a:cubicBezTo>
                      <a:pt x="96" y="128"/>
                      <a:pt x="98" y="127"/>
                      <a:pt x="98" y="126"/>
                    </a:cubicBezTo>
                    <a:cubicBezTo>
                      <a:pt x="98" y="125"/>
                      <a:pt x="97" y="121"/>
                      <a:pt x="96" y="119"/>
                    </a:cubicBezTo>
                    <a:cubicBezTo>
                      <a:pt x="95" y="117"/>
                      <a:pt x="82" y="99"/>
                      <a:pt x="82" y="99"/>
                    </a:cubicBezTo>
                    <a:cubicBezTo>
                      <a:pt x="82" y="99"/>
                      <a:pt x="82" y="95"/>
                      <a:pt x="82" y="90"/>
                    </a:cubicBezTo>
                    <a:cubicBezTo>
                      <a:pt x="81" y="86"/>
                      <a:pt x="72" y="77"/>
                      <a:pt x="71" y="75"/>
                    </a:cubicBezTo>
                    <a:cubicBezTo>
                      <a:pt x="70" y="74"/>
                      <a:pt x="67" y="68"/>
                      <a:pt x="66" y="66"/>
                    </a:cubicBezTo>
                    <a:cubicBezTo>
                      <a:pt x="66" y="63"/>
                      <a:pt x="66" y="62"/>
                      <a:pt x="66" y="62"/>
                    </a:cubicBezTo>
                    <a:cubicBezTo>
                      <a:pt x="66" y="62"/>
                      <a:pt x="67" y="56"/>
                      <a:pt x="67" y="56"/>
                    </a:cubicBezTo>
                    <a:cubicBezTo>
                      <a:pt x="67" y="56"/>
                      <a:pt x="70" y="48"/>
                      <a:pt x="70" y="47"/>
                    </a:cubicBezTo>
                    <a:cubicBezTo>
                      <a:pt x="71" y="46"/>
                      <a:pt x="72" y="40"/>
                      <a:pt x="72" y="39"/>
                    </a:cubicBezTo>
                    <a:cubicBezTo>
                      <a:pt x="72" y="38"/>
                      <a:pt x="72" y="33"/>
                      <a:pt x="72" y="33"/>
                    </a:cubicBezTo>
                    <a:cubicBezTo>
                      <a:pt x="72" y="32"/>
                      <a:pt x="72" y="31"/>
                      <a:pt x="72" y="29"/>
                    </a:cubicBezTo>
                    <a:cubicBezTo>
                      <a:pt x="73" y="28"/>
                      <a:pt x="71" y="28"/>
                      <a:pt x="69" y="27"/>
                    </a:cubicBezTo>
                    <a:cubicBezTo>
                      <a:pt x="68" y="26"/>
                      <a:pt x="60" y="24"/>
                      <a:pt x="58" y="25"/>
                    </a:cubicBezTo>
                    <a:cubicBezTo>
                      <a:pt x="57" y="25"/>
                      <a:pt x="49" y="24"/>
                      <a:pt x="48" y="24"/>
                    </a:cubicBezTo>
                    <a:cubicBezTo>
                      <a:pt x="47" y="24"/>
                      <a:pt x="44" y="22"/>
                      <a:pt x="41" y="22"/>
                    </a:cubicBezTo>
                    <a:cubicBezTo>
                      <a:pt x="38" y="22"/>
                      <a:pt x="35" y="23"/>
                      <a:pt x="35" y="23"/>
                    </a:cubicBezTo>
                    <a:cubicBezTo>
                      <a:pt x="35" y="23"/>
                      <a:pt x="34" y="17"/>
                      <a:pt x="35" y="15"/>
                    </a:cubicBezTo>
                    <a:cubicBezTo>
                      <a:pt x="35" y="13"/>
                      <a:pt x="35" y="10"/>
                      <a:pt x="34" y="7"/>
                    </a:cubicBezTo>
                    <a:cubicBezTo>
                      <a:pt x="32" y="4"/>
                      <a:pt x="29" y="2"/>
                      <a:pt x="27" y="1"/>
                    </a:cubicBezTo>
                    <a:cubicBezTo>
                      <a:pt x="25" y="0"/>
                      <a:pt x="20" y="1"/>
                      <a:pt x="18" y="2"/>
                    </a:cubicBezTo>
                    <a:cubicBezTo>
                      <a:pt x="17" y="3"/>
                      <a:pt x="13" y="6"/>
                      <a:pt x="12" y="7"/>
                    </a:cubicBezTo>
                    <a:cubicBezTo>
                      <a:pt x="11" y="9"/>
                      <a:pt x="12" y="11"/>
                      <a:pt x="11" y="12"/>
                    </a:cubicBezTo>
                    <a:cubicBezTo>
                      <a:pt x="11" y="13"/>
                      <a:pt x="11" y="16"/>
                      <a:pt x="11" y="16"/>
                    </a:cubicBezTo>
                    <a:cubicBezTo>
                      <a:pt x="11" y="16"/>
                      <a:pt x="11" y="17"/>
                      <a:pt x="11" y="19"/>
                    </a:cubicBezTo>
                    <a:cubicBezTo>
                      <a:pt x="11" y="20"/>
                      <a:pt x="10" y="21"/>
                      <a:pt x="11" y="22"/>
                    </a:cubicBezTo>
                    <a:cubicBezTo>
                      <a:pt x="11" y="22"/>
                      <a:pt x="12" y="22"/>
                      <a:pt x="12" y="22"/>
                    </a:cubicBezTo>
                    <a:cubicBezTo>
                      <a:pt x="12" y="22"/>
                      <a:pt x="13" y="23"/>
                      <a:pt x="13" y="24"/>
                    </a:cubicBezTo>
                    <a:cubicBezTo>
                      <a:pt x="13" y="24"/>
                      <a:pt x="13" y="24"/>
                      <a:pt x="14" y="24"/>
                    </a:cubicBezTo>
                    <a:cubicBezTo>
                      <a:pt x="14" y="24"/>
                      <a:pt x="14" y="25"/>
                      <a:pt x="14" y="2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5" y="27"/>
                      <a:pt x="15" y="28"/>
                      <a:pt x="15" y="28"/>
                    </a:cubicBezTo>
                    <a:cubicBezTo>
                      <a:pt x="15" y="28"/>
                      <a:pt x="16" y="29"/>
                      <a:pt x="16" y="30"/>
                    </a:cubicBezTo>
                    <a:cubicBezTo>
                      <a:pt x="16" y="31"/>
                      <a:pt x="17" y="31"/>
                      <a:pt x="18" y="31"/>
                    </a:cubicBezTo>
                    <a:cubicBezTo>
                      <a:pt x="19" y="31"/>
                      <a:pt x="21" y="31"/>
                      <a:pt x="22" y="31"/>
                    </a:cubicBezTo>
                    <a:cubicBezTo>
                      <a:pt x="22" y="32"/>
                      <a:pt x="25" y="34"/>
                      <a:pt x="25" y="34"/>
                    </a:cubicBezTo>
                    <a:cubicBezTo>
                      <a:pt x="25" y="34"/>
                      <a:pt x="25" y="34"/>
                      <a:pt x="25" y="34"/>
                    </a:cubicBezTo>
                    <a:cubicBezTo>
                      <a:pt x="25" y="34"/>
                      <a:pt x="25" y="37"/>
                      <a:pt x="25" y="39"/>
                    </a:cubicBezTo>
                    <a:cubicBezTo>
                      <a:pt x="24" y="41"/>
                      <a:pt x="25" y="48"/>
                      <a:pt x="25" y="50"/>
                    </a:cubicBezTo>
                    <a:cubicBezTo>
                      <a:pt x="25" y="53"/>
                      <a:pt x="27" y="59"/>
                      <a:pt x="28" y="59"/>
                    </a:cubicBezTo>
                    <a:cubicBezTo>
                      <a:pt x="28" y="60"/>
                      <a:pt x="31" y="64"/>
                      <a:pt x="31" y="64"/>
                    </a:cubicBezTo>
                    <a:cubicBezTo>
                      <a:pt x="31" y="64"/>
                      <a:pt x="31" y="64"/>
                      <a:pt x="30" y="65"/>
                    </a:cubicBezTo>
                    <a:cubicBezTo>
                      <a:pt x="29" y="65"/>
                      <a:pt x="22" y="65"/>
                      <a:pt x="20" y="65"/>
                    </a:cubicBezTo>
                    <a:cubicBezTo>
                      <a:pt x="18" y="65"/>
                      <a:pt x="12" y="64"/>
                      <a:pt x="11" y="64"/>
                    </a:cubicBezTo>
                    <a:cubicBezTo>
                      <a:pt x="11" y="63"/>
                      <a:pt x="11" y="61"/>
                      <a:pt x="10" y="59"/>
                    </a:cubicBezTo>
                    <a:cubicBezTo>
                      <a:pt x="10" y="58"/>
                      <a:pt x="8" y="58"/>
                      <a:pt x="8" y="58"/>
                    </a:cubicBezTo>
                    <a:cubicBezTo>
                      <a:pt x="8" y="58"/>
                      <a:pt x="7" y="57"/>
                      <a:pt x="6" y="57"/>
                    </a:cubicBezTo>
                    <a:cubicBezTo>
                      <a:pt x="5" y="57"/>
                      <a:pt x="5" y="58"/>
                      <a:pt x="4" y="58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4" y="59"/>
                      <a:pt x="3" y="59"/>
                      <a:pt x="3" y="59"/>
                    </a:cubicBezTo>
                    <a:cubicBezTo>
                      <a:pt x="2" y="59"/>
                      <a:pt x="2" y="59"/>
                      <a:pt x="2" y="60"/>
                    </a:cubicBezTo>
                    <a:cubicBezTo>
                      <a:pt x="2" y="60"/>
                      <a:pt x="2" y="61"/>
                      <a:pt x="2" y="61"/>
                    </a:cubicBezTo>
                    <a:cubicBezTo>
                      <a:pt x="2" y="61"/>
                      <a:pt x="1" y="61"/>
                      <a:pt x="1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3"/>
                      <a:pt x="1" y="64"/>
                      <a:pt x="1" y="64"/>
                    </a:cubicBezTo>
                    <a:cubicBezTo>
                      <a:pt x="1" y="64"/>
                      <a:pt x="1" y="64"/>
                      <a:pt x="0" y="64"/>
                    </a:cubicBezTo>
                    <a:cubicBezTo>
                      <a:pt x="0" y="64"/>
                      <a:pt x="0" y="65"/>
                      <a:pt x="0" y="65"/>
                    </a:cubicBezTo>
                    <a:cubicBezTo>
                      <a:pt x="0" y="66"/>
                      <a:pt x="1" y="66"/>
                      <a:pt x="1" y="66"/>
                    </a:cubicBezTo>
                    <a:cubicBezTo>
                      <a:pt x="1" y="66"/>
                      <a:pt x="0" y="66"/>
                      <a:pt x="0" y="67"/>
                    </a:cubicBezTo>
                    <a:cubicBezTo>
                      <a:pt x="0" y="68"/>
                      <a:pt x="0" y="68"/>
                      <a:pt x="2" y="69"/>
                    </a:cubicBezTo>
                    <a:cubicBezTo>
                      <a:pt x="4" y="69"/>
                      <a:pt x="4" y="70"/>
                      <a:pt x="5" y="70"/>
                    </a:cubicBezTo>
                    <a:cubicBezTo>
                      <a:pt x="7" y="70"/>
                      <a:pt x="8" y="70"/>
                      <a:pt x="9" y="70"/>
                    </a:cubicBezTo>
                    <a:cubicBezTo>
                      <a:pt x="10" y="70"/>
                      <a:pt x="10" y="69"/>
                      <a:pt x="15" y="71"/>
                    </a:cubicBezTo>
                    <a:cubicBezTo>
                      <a:pt x="20" y="73"/>
                      <a:pt x="27" y="75"/>
                      <a:pt x="29" y="75"/>
                    </a:cubicBezTo>
                    <a:cubicBezTo>
                      <a:pt x="31" y="76"/>
                      <a:pt x="37" y="75"/>
                      <a:pt x="37" y="75"/>
                    </a:cubicBezTo>
                    <a:cubicBezTo>
                      <a:pt x="37" y="75"/>
                      <a:pt x="39" y="79"/>
                      <a:pt x="40" y="82"/>
                    </a:cubicBezTo>
                    <a:cubicBezTo>
                      <a:pt x="42" y="84"/>
                      <a:pt x="44" y="88"/>
                      <a:pt x="44" y="90"/>
                    </a:cubicBezTo>
                    <a:cubicBezTo>
                      <a:pt x="44" y="92"/>
                      <a:pt x="44" y="96"/>
                      <a:pt x="42" y="97"/>
                    </a:cubicBezTo>
                    <a:cubicBezTo>
                      <a:pt x="41" y="99"/>
                      <a:pt x="33" y="113"/>
                      <a:pt x="33" y="113"/>
                    </a:cubicBezTo>
                    <a:cubicBezTo>
                      <a:pt x="33" y="113"/>
                      <a:pt x="28" y="127"/>
                      <a:pt x="28" y="128"/>
                    </a:cubicBezTo>
                    <a:cubicBezTo>
                      <a:pt x="27" y="130"/>
                      <a:pt x="27" y="132"/>
                      <a:pt x="28" y="134"/>
                    </a:cubicBezTo>
                    <a:cubicBezTo>
                      <a:pt x="29" y="136"/>
                      <a:pt x="31" y="138"/>
                      <a:pt x="34" y="140"/>
                    </a:cubicBezTo>
                    <a:cubicBezTo>
                      <a:pt x="38" y="142"/>
                      <a:pt x="46" y="142"/>
                      <a:pt x="48" y="142"/>
                    </a:cubicBezTo>
                    <a:cubicBezTo>
                      <a:pt x="50" y="142"/>
                      <a:pt x="58" y="143"/>
                      <a:pt x="62" y="143"/>
                    </a:cubicBezTo>
                    <a:cubicBezTo>
                      <a:pt x="65" y="143"/>
                      <a:pt x="69" y="144"/>
                      <a:pt x="71" y="144"/>
                    </a:cubicBezTo>
                    <a:cubicBezTo>
                      <a:pt x="72" y="144"/>
                      <a:pt x="75" y="145"/>
                      <a:pt x="77" y="146"/>
                    </a:cubicBezTo>
                    <a:cubicBezTo>
                      <a:pt x="78" y="147"/>
                      <a:pt x="80" y="148"/>
                      <a:pt x="81" y="149"/>
                    </a:cubicBezTo>
                    <a:cubicBezTo>
                      <a:pt x="81" y="149"/>
                      <a:pt x="81" y="152"/>
                      <a:pt x="82" y="154"/>
                    </a:cubicBezTo>
                    <a:cubicBezTo>
                      <a:pt x="83" y="156"/>
                      <a:pt x="86" y="160"/>
                      <a:pt x="87" y="161"/>
                    </a:cubicBezTo>
                    <a:cubicBezTo>
                      <a:pt x="87" y="162"/>
                      <a:pt x="87" y="166"/>
                      <a:pt x="86" y="168"/>
                    </a:cubicBezTo>
                    <a:cubicBezTo>
                      <a:pt x="86" y="169"/>
                      <a:pt x="87" y="170"/>
                      <a:pt x="88" y="170"/>
                    </a:cubicBezTo>
                    <a:cubicBezTo>
                      <a:pt x="88" y="171"/>
                      <a:pt x="90" y="170"/>
                      <a:pt x="90" y="169"/>
                    </a:cubicBezTo>
                    <a:cubicBezTo>
                      <a:pt x="90" y="168"/>
                      <a:pt x="92" y="165"/>
                      <a:pt x="93" y="162"/>
                    </a:cubicBezTo>
                    <a:cubicBezTo>
                      <a:pt x="94" y="160"/>
                      <a:pt x="94" y="153"/>
                      <a:pt x="94" y="153"/>
                    </a:cubicBezTo>
                    <a:cubicBezTo>
                      <a:pt x="94" y="153"/>
                      <a:pt x="94" y="148"/>
                      <a:pt x="94" y="148"/>
                    </a:cubicBezTo>
                    <a:cubicBezTo>
                      <a:pt x="95" y="149"/>
                      <a:pt x="102" y="157"/>
                      <a:pt x="104" y="159"/>
                    </a:cubicBezTo>
                    <a:cubicBezTo>
                      <a:pt x="106" y="162"/>
                      <a:pt x="109" y="169"/>
                      <a:pt x="109" y="171"/>
                    </a:cubicBezTo>
                    <a:cubicBezTo>
                      <a:pt x="110" y="173"/>
                      <a:pt x="110" y="174"/>
                      <a:pt x="110" y="176"/>
                    </a:cubicBezTo>
                    <a:cubicBezTo>
                      <a:pt x="110" y="178"/>
                      <a:pt x="110" y="180"/>
                      <a:pt x="110" y="183"/>
                    </a:cubicBezTo>
                    <a:cubicBezTo>
                      <a:pt x="110" y="186"/>
                      <a:pt x="109" y="191"/>
                      <a:pt x="108" y="194"/>
                    </a:cubicBezTo>
                    <a:cubicBezTo>
                      <a:pt x="106" y="196"/>
                      <a:pt x="106" y="197"/>
                      <a:pt x="106" y="199"/>
                    </a:cubicBezTo>
                    <a:cubicBezTo>
                      <a:pt x="106" y="201"/>
                      <a:pt x="110" y="200"/>
                      <a:pt x="111" y="199"/>
                    </a:cubicBezTo>
                    <a:cubicBezTo>
                      <a:pt x="111" y="199"/>
                      <a:pt x="114" y="196"/>
                      <a:pt x="114" y="196"/>
                    </a:cubicBezTo>
                    <a:cubicBezTo>
                      <a:pt x="114" y="196"/>
                      <a:pt x="118" y="191"/>
                      <a:pt x="119" y="190"/>
                    </a:cubicBezTo>
                    <a:cubicBezTo>
                      <a:pt x="120" y="188"/>
                      <a:pt x="125" y="182"/>
                      <a:pt x="126" y="180"/>
                    </a:cubicBezTo>
                    <a:cubicBezTo>
                      <a:pt x="127" y="179"/>
                      <a:pt x="129" y="176"/>
                      <a:pt x="129" y="174"/>
                    </a:cubicBezTo>
                    <a:cubicBezTo>
                      <a:pt x="129" y="172"/>
                      <a:pt x="127" y="171"/>
                      <a:pt x="125" y="171"/>
                    </a:cubicBezTo>
                    <a:close/>
                    <a:moveTo>
                      <a:pt x="56" y="37"/>
                    </a:moveTo>
                    <a:cubicBezTo>
                      <a:pt x="56" y="37"/>
                      <a:pt x="60" y="36"/>
                      <a:pt x="60" y="36"/>
                    </a:cubicBezTo>
                    <a:cubicBezTo>
                      <a:pt x="60" y="36"/>
                      <a:pt x="61" y="49"/>
                      <a:pt x="61" y="50"/>
                    </a:cubicBezTo>
                    <a:cubicBezTo>
                      <a:pt x="61" y="51"/>
                      <a:pt x="60" y="48"/>
                      <a:pt x="59" y="46"/>
                    </a:cubicBezTo>
                    <a:cubicBezTo>
                      <a:pt x="58" y="44"/>
                      <a:pt x="55" y="37"/>
                      <a:pt x="55" y="37"/>
                    </a:cubicBezTo>
                    <a:lnTo>
                      <a:pt x="56" y="37"/>
                    </a:lnTo>
                    <a:close/>
                    <a:moveTo>
                      <a:pt x="72" y="134"/>
                    </a:moveTo>
                    <a:cubicBezTo>
                      <a:pt x="68" y="133"/>
                      <a:pt x="56" y="128"/>
                      <a:pt x="56" y="128"/>
                    </a:cubicBezTo>
                    <a:cubicBezTo>
                      <a:pt x="62" y="119"/>
                      <a:pt x="62" y="119"/>
                      <a:pt x="62" y="119"/>
                    </a:cubicBezTo>
                    <a:cubicBezTo>
                      <a:pt x="62" y="119"/>
                      <a:pt x="75" y="132"/>
                      <a:pt x="77" y="133"/>
                    </a:cubicBezTo>
                    <a:cubicBezTo>
                      <a:pt x="78" y="135"/>
                      <a:pt x="82" y="137"/>
                      <a:pt x="82" y="137"/>
                    </a:cubicBezTo>
                    <a:cubicBezTo>
                      <a:pt x="82" y="137"/>
                      <a:pt x="75" y="136"/>
                      <a:pt x="72" y="13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" name="Freeform 12"/>
              <p:cNvSpPr>
                <a:spLocks/>
              </p:cNvSpPr>
              <p:nvPr/>
            </p:nvSpPr>
            <p:spPr bwMode="auto">
              <a:xfrm rot="620880" flipH="1">
                <a:off x="7370735" y="2106662"/>
                <a:ext cx="533831" cy="745564"/>
              </a:xfrm>
              <a:custGeom>
                <a:avLst/>
                <a:gdLst>
                  <a:gd name="T0" fmla="*/ 123 w 131"/>
                  <a:gd name="T1" fmla="*/ 132 h 181"/>
                  <a:gd name="T2" fmla="*/ 111 w 131"/>
                  <a:gd name="T3" fmla="*/ 134 h 181"/>
                  <a:gd name="T4" fmla="*/ 87 w 131"/>
                  <a:gd name="T5" fmla="*/ 127 h 181"/>
                  <a:gd name="T6" fmla="*/ 69 w 131"/>
                  <a:gd name="T7" fmla="*/ 124 h 181"/>
                  <a:gd name="T8" fmla="*/ 66 w 131"/>
                  <a:gd name="T9" fmla="*/ 93 h 181"/>
                  <a:gd name="T10" fmla="*/ 63 w 131"/>
                  <a:gd name="T11" fmla="*/ 74 h 181"/>
                  <a:gd name="T12" fmla="*/ 67 w 131"/>
                  <a:gd name="T13" fmla="*/ 76 h 181"/>
                  <a:gd name="T14" fmla="*/ 75 w 131"/>
                  <a:gd name="T15" fmla="*/ 80 h 181"/>
                  <a:gd name="T16" fmla="*/ 76 w 131"/>
                  <a:gd name="T17" fmla="*/ 78 h 181"/>
                  <a:gd name="T18" fmla="*/ 77 w 131"/>
                  <a:gd name="T19" fmla="*/ 76 h 181"/>
                  <a:gd name="T20" fmla="*/ 75 w 131"/>
                  <a:gd name="T21" fmla="*/ 73 h 181"/>
                  <a:gd name="T22" fmla="*/ 72 w 131"/>
                  <a:gd name="T23" fmla="*/ 71 h 181"/>
                  <a:gd name="T24" fmla="*/ 64 w 131"/>
                  <a:gd name="T25" fmla="*/ 60 h 181"/>
                  <a:gd name="T26" fmla="*/ 61 w 131"/>
                  <a:gd name="T27" fmla="*/ 43 h 181"/>
                  <a:gd name="T28" fmla="*/ 46 w 131"/>
                  <a:gd name="T29" fmla="*/ 25 h 181"/>
                  <a:gd name="T30" fmla="*/ 44 w 131"/>
                  <a:gd name="T31" fmla="*/ 12 h 181"/>
                  <a:gd name="T32" fmla="*/ 33 w 131"/>
                  <a:gd name="T33" fmla="*/ 1 h 181"/>
                  <a:gd name="T34" fmla="*/ 21 w 131"/>
                  <a:gd name="T35" fmla="*/ 11 h 181"/>
                  <a:gd name="T36" fmla="*/ 21 w 131"/>
                  <a:gd name="T37" fmla="*/ 16 h 181"/>
                  <a:gd name="T38" fmla="*/ 22 w 131"/>
                  <a:gd name="T39" fmla="*/ 21 h 181"/>
                  <a:gd name="T40" fmla="*/ 22 w 131"/>
                  <a:gd name="T41" fmla="*/ 23 h 181"/>
                  <a:gd name="T42" fmla="*/ 23 w 131"/>
                  <a:gd name="T43" fmla="*/ 26 h 181"/>
                  <a:gd name="T44" fmla="*/ 27 w 131"/>
                  <a:gd name="T45" fmla="*/ 29 h 181"/>
                  <a:gd name="T46" fmla="*/ 25 w 131"/>
                  <a:gd name="T47" fmla="*/ 35 h 181"/>
                  <a:gd name="T48" fmla="*/ 25 w 131"/>
                  <a:gd name="T49" fmla="*/ 51 h 181"/>
                  <a:gd name="T50" fmla="*/ 20 w 131"/>
                  <a:gd name="T51" fmla="*/ 54 h 181"/>
                  <a:gd name="T52" fmla="*/ 11 w 131"/>
                  <a:gd name="T53" fmla="*/ 48 h 181"/>
                  <a:gd name="T54" fmla="*/ 9 w 131"/>
                  <a:gd name="T55" fmla="*/ 43 h 181"/>
                  <a:gd name="T56" fmla="*/ 6 w 131"/>
                  <a:gd name="T57" fmla="*/ 43 h 181"/>
                  <a:gd name="T58" fmla="*/ 4 w 131"/>
                  <a:gd name="T59" fmla="*/ 44 h 181"/>
                  <a:gd name="T60" fmla="*/ 3 w 131"/>
                  <a:gd name="T61" fmla="*/ 45 h 181"/>
                  <a:gd name="T62" fmla="*/ 2 w 131"/>
                  <a:gd name="T63" fmla="*/ 47 h 181"/>
                  <a:gd name="T64" fmla="*/ 1 w 131"/>
                  <a:gd name="T65" fmla="*/ 48 h 181"/>
                  <a:gd name="T66" fmla="*/ 0 w 131"/>
                  <a:gd name="T67" fmla="*/ 49 h 181"/>
                  <a:gd name="T68" fmla="*/ 0 w 131"/>
                  <a:gd name="T69" fmla="*/ 51 h 181"/>
                  <a:gd name="T70" fmla="*/ 17 w 131"/>
                  <a:gd name="T71" fmla="*/ 61 h 181"/>
                  <a:gd name="T72" fmla="*/ 30 w 131"/>
                  <a:gd name="T73" fmla="*/ 68 h 181"/>
                  <a:gd name="T74" fmla="*/ 34 w 131"/>
                  <a:gd name="T75" fmla="*/ 100 h 181"/>
                  <a:gd name="T76" fmla="*/ 18 w 131"/>
                  <a:gd name="T77" fmla="*/ 127 h 181"/>
                  <a:gd name="T78" fmla="*/ 24 w 131"/>
                  <a:gd name="T79" fmla="*/ 154 h 181"/>
                  <a:gd name="T80" fmla="*/ 17 w 131"/>
                  <a:gd name="T81" fmla="*/ 175 h 181"/>
                  <a:gd name="T82" fmla="*/ 11 w 131"/>
                  <a:gd name="T83" fmla="*/ 179 h 181"/>
                  <a:gd name="T84" fmla="*/ 34 w 131"/>
                  <a:gd name="T85" fmla="*/ 181 h 181"/>
                  <a:gd name="T86" fmla="*/ 33 w 131"/>
                  <a:gd name="T87" fmla="*/ 170 h 181"/>
                  <a:gd name="T88" fmla="*/ 34 w 131"/>
                  <a:gd name="T89" fmla="*/ 140 h 181"/>
                  <a:gd name="T90" fmla="*/ 33 w 131"/>
                  <a:gd name="T91" fmla="*/ 127 h 181"/>
                  <a:gd name="T92" fmla="*/ 48 w 131"/>
                  <a:gd name="T93" fmla="*/ 126 h 181"/>
                  <a:gd name="T94" fmla="*/ 60 w 131"/>
                  <a:gd name="T95" fmla="*/ 139 h 181"/>
                  <a:gd name="T96" fmla="*/ 112 w 131"/>
                  <a:gd name="T97" fmla="*/ 147 h 181"/>
                  <a:gd name="T98" fmla="*/ 125 w 131"/>
                  <a:gd name="T99" fmla="*/ 166 h 181"/>
                  <a:gd name="T100" fmla="*/ 127 w 131"/>
                  <a:gd name="T101" fmla="*/ 149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31" h="181">
                    <a:moveTo>
                      <a:pt x="127" y="149"/>
                    </a:moveTo>
                    <a:cubicBezTo>
                      <a:pt x="126" y="146"/>
                      <a:pt x="124" y="135"/>
                      <a:pt x="123" y="132"/>
                    </a:cubicBezTo>
                    <a:cubicBezTo>
                      <a:pt x="122" y="130"/>
                      <a:pt x="121" y="130"/>
                      <a:pt x="119" y="130"/>
                    </a:cubicBezTo>
                    <a:cubicBezTo>
                      <a:pt x="117" y="130"/>
                      <a:pt x="112" y="133"/>
                      <a:pt x="111" y="134"/>
                    </a:cubicBezTo>
                    <a:cubicBezTo>
                      <a:pt x="110" y="135"/>
                      <a:pt x="108" y="134"/>
                      <a:pt x="108" y="134"/>
                    </a:cubicBezTo>
                    <a:cubicBezTo>
                      <a:pt x="108" y="134"/>
                      <a:pt x="93" y="129"/>
                      <a:pt x="87" y="127"/>
                    </a:cubicBezTo>
                    <a:cubicBezTo>
                      <a:pt x="81" y="125"/>
                      <a:pt x="77" y="125"/>
                      <a:pt x="74" y="126"/>
                    </a:cubicBezTo>
                    <a:cubicBezTo>
                      <a:pt x="71" y="126"/>
                      <a:pt x="70" y="126"/>
                      <a:pt x="69" y="124"/>
                    </a:cubicBezTo>
                    <a:cubicBezTo>
                      <a:pt x="67" y="122"/>
                      <a:pt x="62" y="105"/>
                      <a:pt x="62" y="103"/>
                    </a:cubicBezTo>
                    <a:cubicBezTo>
                      <a:pt x="62" y="101"/>
                      <a:pt x="66" y="96"/>
                      <a:pt x="66" y="93"/>
                    </a:cubicBezTo>
                    <a:cubicBezTo>
                      <a:pt x="67" y="91"/>
                      <a:pt x="65" y="85"/>
                      <a:pt x="63" y="82"/>
                    </a:cubicBezTo>
                    <a:cubicBezTo>
                      <a:pt x="62" y="79"/>
                      <a:pt x="64" y="76"/>
                      <a:pt x="63" y="74"/>
                    </a:cubicBezTo>
                    <a:cubicBezTo>
                      <a:pt x="63" y="71"/>
                      <a:pt x="62" y="68"/>
                      <a:pt x="64" y="70"/>
                    </a:cubicBezTo>
                    <a:cubicBezTo>
                      <a:pt x="65" y="71"/>
                      <a:pt x="66" y="74"/>
                      <a:pt x="67" y="76"/>
                    </a:cubicBezTo>
                    <a:cubicBezTo>
                      <a:pt x="68" y="77"/>
                      <a:pt x="68" y="79"/>
                      <a:pt x="69" y="80"/>
                    </a:cubicBezTo>
                    <a:cubicBezTo>
                      <a:pt x="70" y="81"/>
                      <a:pt x="73" y="80"/>
                      <a:pt x="75" y="80"/>
                    </a:cubicBezTo>
                    <a:cubicBezTo>
                      <a:pt x="76" y="80"/>
                      <a:pt x="76" y="79"/>
                      <a:pt x="76" y="79"/>
                    </a:cubicBezTo>
                    <a:cubicBezTo>
                      <a:pt x="76" y="79"/>
                      <a:pt x="76" y="78"/>
                      <a:pt x="76" y="78"/>
                    </a:cubicBezTo>
                    <a:cubicBezTo>
                      <a:pt x="76" y="78"/>
                      <a:pt x="77" y="77"/>
                      <a:pt x="77" y="77"/>
                    </a:cubicBezTo>
                    <a:cubicBezTo>
                      <a:pt x="77" y="76"/>
                      <a:pt x="77" y="76"/>
                      <a:pt x="77" y="76"/>
                    </a:cubicBezTo>
                    <a:cubicBezTo>
                      <a:pt x="77" y="76"/>
                      <a:pt x="76" y="76"/>
                      <a:pt x="76" y="74"/>
                    </a:cubicBezTo>
                    <a:cubicBezTo>
                      <a:pt x="76" y="73"/>
                      <a:pt x="75" y="73"/>
                      <a:pt x="75" y="73"/>
                    </a:cubicBezTo>
                    <a:cubicBezTo>
                      <a:pt x="74" y="73"/>
                      <a:pt x="73" y="73"/>
                      <a:pt x="73" y="73"/>
                    </a:cubicBezTo>
                    <a:cubicBezTo>
                      <a:pt x="73" y="73"/>
                      <a:pt x="72" y="73"/>
                      <a:pt x="72" y="71"/>
                    </a:cubicBezTo>
                    <a:cubicBezTo>
                      <a:pt x="72" y="70"/>
                      <a:pt x="70" y="67"/>
                      <a:pt x="69" y="67"/>
                    </a:cubicBezTo>
                    <a:cubicBezTo>
                      <a:pt x="68" y="66"/>
                      <a:pt x="65" y="62"/>
                      <a:pt x="64" y="60"/>
                    </a:cubicBezTo>
                    <a:cubicBezTo>
                      <a:pt x="63" y="58"/>
                      <a:pt x="59" y="50"/>
                      <a:pt x="59" y="50"/>
                    </a:cubicBezTo>
                    <a:cubicBezTo>
                      <a:pt x="59" y="50"/>
                      <a:pt x="61" y="45"/>
                      <a:pt x="61" y="43"/>
                    </a:cubicBezTo>
                    <a:cubicBezTo>
                      <a:pt x="61" y="41"/>
                      <a:pt x="58" y="36"/>
                      <a:pt x="57" y="34"/>
                    </a:cubicBezTo>
                    <a:cubicBezTo>
                      <a:pt x="56" y="32"/>
                      <a:pt x="49" y="27"/>
                      <a:pt x="46" y="25"/>
                    </a:cubicBezTo>
                    <a:cubicBezTo>
                      <a:pt x="43" y="24"/>
                      <a:pt x="42" y="24"/>
                      <a:pt x="42" y="23"/>
                    </a:cubicBezTo>
                    <a:cubicBezTo>
                      <a:pt x="41" y="21"/>
                      <a:pt x="43" y="16"/>
                      <a:pt x="44" y="12"/>
                    </a:cubicBezTo>
                    <a:cubicBezTo>
                      <a:pt x="44" y="9"/>
                      <a:pt x="43" y="8"/>
                      <a:pt x="41" y="4"/>
                    </a:cubicBezTo>
                    <a:cubicBezTo>
                      <a:pt x="40" y="1"/>
                      <a:pt x="36" y="0"/>
                      <a:pt x="33" y="1"/>
                    </a:cubicBezTo>
                    <a:cubicBezTo>
                      <a:pt x="31" y="1"/>
                      <a:pt x="27" y="2"/>
                      <a:pt x="24" y="4"/>
                    </a:cubicBezTo>
                    <a:cubicBezTo>
                      <a:pt x="21" y="6"/>
                      <a:pt x="21" y="9"/>
                      <a:pt x="21" y="11"/>
                    </a:cubicBezTo>
                    <a:cubicBezTo>
                      <a:pt x="21" y="12"/>
                      <a:pt x="20" y="14"/>
                      <a:pt x="21" y="14"/>
                    </a:cubicBezTo>
                    <a:cubicBezTo>
                      <a:pt x="21" y="15"/>
                      <a:pt x="21" y="16"/>
                      <a:pt x="21" y="16"/>
                    </a:cubicBezTo>
                    <a:cubicBezTo>
                      <a:pt x="21" y="16"/>
                      <a:pt x="20" y="19"/>
                      <a:pt x="20" y="20"/>
                    </a:cubicBezTo>
                    <a:cubicBezTo>
                      <a:pt x="20" y="21"/>
                      <a:pt x="22" y="21"/>
                      <a:pt x="22" y="21"/>
                    </a:cubicBezTo>
                    <a:cubicBezTo>
                      <a:pt x="22" y="21"/>
                      <a:pt x="22" y="22"/>
                      <a:pt x="22" y="23"/>
                    </a:cubicBezTo>
                    <a:cubicBezTo>
                      <a:pt x="22" y="23"/>
                      <a:pt x="22" y="23"/>
                      <a:pt x="22" y="23"/>
                    </a:cubicBezTo>
                    <a:cubicBezTo>
                      <a:pt x="22" y="23"/>
                      <a:pt x="22" y="24"/>
                      <a:pt x="22" y="24"/>
                    </a:cubicBezTo>
                    <a:cubicBezTo>
                      <a:pt x="22" y="25"/>
                      <a:pt x="23" y="26"/>
                      <a:pt x="23" y="26"/>
                    </a:cubicBezTo>
                    <a:cubicBezTo>
                      <a:pt x="23" y="27"/>
                      <a:pt x="24" y="28"/>
                      <a:pt x="24" y="29"/>
                    </a:cubicBezTo>
                    <a:cubicBezTo>
                      <a:pt x="25" y="30"/>
                      <a:pt x="27" y="29"/>
                      <a:pt x="27" y="29"/>
                    </a:cubicBezTo>
                    <a:cubicBezTo>
                      <a:pt x="27" y="29"/>
                      <a:pt x="27" y="29"/>
                      <a:pt x="26" y="30"/>
                    </a:cubicBezTo>
                    <a:cubicBezTo>
                      <a:pt x="25" y="31"/>
                      <a:pt x="25" y="34"/>
                      <a:pt x="25" y="35"/>
                    </a:cubicBezTo>
                    <a:cubicBezTo>
                      <a:pt x="25" y="36"/>
                      <a:pt x="26" y="37"/>
                      <a:pt x="25" y="39"/>
                    </a:cubicBezTo>
                    <a:cubicBezTo>
                      <a:pt x="25" y="41"/>
                      <a:pt x="25" y="50"/>
                      <a:pt x="25" y="51"/>
                    </a:cubicBezTo>
                    <a:cubicBezTo>
                      <a:pt x="26" y="53"/>
                      <a:pt x="27" y="55"/>
                      <a:pt x="27" y="56"/>
                    </a:cubicBezTo>
                    <a:cubicBezTo>
                      <a:pt x="26" y="56"/>
                      <a:pt x="22" y="54"/>
                      <a:pt x="20" y="54"/>
                    </a:cubicBezTo>
                    <a:cubicBezTo>
                      <a:pt x="18" y="53"/>
                      <a:pt x="11" y="50"/>
                      <a:pt x="11" y="50"/>
                    </a:cubicBezTo>
                    <a:cubicBezTo>
                      <a:pt x="11" y="50"/>
                      <a:pt x="12" y="49"/>
                      <a:pt x="11" y="48"/>
                    </a:cubicBezTo>
                    <a:cubicBezTo>
                      <a:pt x="11" y="47"/>
                      <a:pt x="11" y="44"/>
                      <a:pt x="11" y="44"/>
                    </a:cubicBezTo>
                    <a:cubicBezTo>
                      <a:pt x="10" y="44"/>
                      <a:pt x="9" y="44"/>
                      <a:pt x="9" y="43"/>
                    </a:cubicBezTo>
                    <a:cubicBezTo>
                      <a:pt x="8" y="42"/>
                      <a:pt x="7" y="42"/>
                      <a:pt x="7" y="42"/>
                    </a:cubicBezTo>
                    <a:cubicBezTo>
                      <a:pt x="6" y="43"/>
                      <a:pt x="6" y="43"/>
                      <a:pt x="6" y="43"/>
                    </a:cubicBezTo>
                    <a:cubicBezTo>
                      <a:pt x="6" y="43"/>
                      <a:pt x="6" y="43"/>
                      <a:pt x="5" y="43"/>
                    </a:cubicBezTo>
                    <a:cubicBezTo>
                      <a:pt x="5" y="43"/>
                      <a:pt x="4" y="43"/>
                      <a:pt x="4" y="44"/>
                    </a:cubicBezTo>
                    <a:cubicBezTo>
                      <a:pt x="3" y="44"/>
                      <a:pt x="3" y="45"/>
                      <a:pt x="3" y="45"/>
                    </a:cubicBezTo>
                    <a:cubicBezTo>
                      <a:pt x="3" y="45"/>
                      <a:pt x="3" y="45"/>
                      <a:pt x="3" y="45"/>
                    </a:cubicBezTo>
                    <a:cubicBezTo>
                      <a:pt x="3" y="45"/>
                      <a:pt x="2" y="45"/>
                      <a:pt x="2" y="46"/>
                    </a:cubicBezTo>
                    <a:cubicBezTo>
                      <a:pt x="2" y="46"/>
                      <a:pt x="2" y="47"/>
                      <a:pt x="2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1" y="47"/>
                      <a:pt x="1" y="47"/>
                      <a:pt x="1" y="48"/>
                    </a:cubicBezTo>
                    <a:cubicBezTo>
                      <a:pt x="1" y="48"/>
                      <a:pt x="1" y="49"/>
                      <a:pt x="1" y="49"/>
                    </a:cubicBezTo>
                    <a:cubicBezTo>
                      <a:pt x="1" y="49"/>
                      <a:pt x="1" y="49"/>
                      <a:pt x="0" y="49"/>
                    </a:cubicBezTo>
                    <a:cubicBezTo>
                      <a:pt x="0" y="49"/>
                      <a:pt x="0" y="49"/>
                      <a:pt x="0" y="50"/>
                    </a:cubicBezTo>
                    <a:cubicBezTo>
                      <a:pt x="0" y="50"/>
                      <a:pt x="0" y="50"/>
                      <a:pt x="0" y="51"/>
                    </a:cubicBezTo>
                    <a:cubicBezTo>
                      <a:pt x="1" y="52"/>
                      <a:pt x="6" y="54"/>
                      <a:pt x="8" y="55"/>
                    </a:cubicBezTo>
                    <a:cubicBezTo>
                      <a:pt x="10" y="55"/>
                      <a:pt x="13" y="58"/>
                      <a:pt x="17" y="61"/>
                    </a:cubicBezTo>
                    <a:cubicBezTo>
                      <a:pt x="21" y="64"/>
                      <a:pt x="26" y="66"/>
                      <a:pt x="27" y="67"/>
                    </a:cubicBezTo>
                    <a:cubicBezTo>
                      <a:pt x="28" y="67"/>
                      <a:pt x="29" y="67"/>
                      <a:pt x="30" y="68"/>
                    </a:cubicBezTo>
                    <a:cubicBezTo>
                      <a:pt x="30" y="69"/>
                      <a:pt x="34" y="84"/>
                      <a:pt x="35" y="88"/>
                    </a:cubicBezTo>
                    <a:cubicBezTo>
                      <a:pt x="35" y="93"/>
                      <a:pt x="34" y="99"/>
                      <a:pt x="34" y="100"/>
                    </a:cubicBezTo>
                    <a:cubicBezTo>
                      <a:pt x="33" y="101"/>
                      <a:pt x="23" y="114"/>
                      <a:pt x="20" y="119"/>
                    </a:cubicBezTo>
                    <a:cubicBezTo>
                      <a:pt x="18" y="123"/>
                      <a:pt x="18" y="125"/>
                      <a:pt x="18" y="127"/>
                    </a:cubicBezTo>
                    <a:cubicBezTo>
                      <a:pt x="18" y="128"/>
                      <a:pt x="21" y="141"/>
                      <a:pt x="21" y="141"/>
                    </a:cubicBezTo>
                    <a:cubicBezTo>
                      <a:pt x="24" y="154"/>
                      <a:pt x="24" y="154"/>
                      <a:pt x="24" y="154"/>
                    </a:cubicBezTo>
                    <a:cubicBezTo>
                      <a:pt x="24" y="154"/>
                      <a:pt x="25" y="162"/>
                      <a:pt x="24" y="167"/>
                    </a:cubicBezTo>
                    <a:cubicBezTo>
                      <a:pt x="24" y="172"/>
                      <a:pt x="19" y="174"/>
                      <a:pt x="17" y="175"/>
                    </a:cubicBezTo>
                    <a:cubicBezTo>
                      <a:pt x="16" y="176"/>
                      <a:pt x="11" y="176"/>
                      <a:pt x="10" y="176"/>
                    </a:cubicBezTo>
                    <a:cubicBezTo>
                      <a:pt x="9" y="177"/>
                      <a:pt x="10" y="178"/>
                      <a:pt x="11" y="179"/>
                    </a:cubicBezTo>
                    <a:cubicBezTo>
                      <a:pt x="12" y="180"/>
                      <a:pt x="21" y="181"/>
                      <a:pt x="22" y="181"/>
                    </a:cubicBezTo>
                    <a:cubicBezTo>
                      <a:pt x="23" y="181"/>
                      <a:pt x="30" y="181"/>
                      <a:pt x="34" y="181"/>
                    </a:cubicBezTo>
                    <a:cubicBezTo>
                      <a:pt x="37" y="181"/>
                      <a:pt x="36" y="178"/>
                      <a:pt x="36" y="176"/>
                    </a:cubicBezTo>
                    <a:cubicBezTo>
                      <a:pt x="35" y="174"/>
                      <a:pt x="33" y="172"/>
                      <a:pt x="33" y="170"/>
                    </a:cubicBezTo>
                    <a:cubicBezTo>
                      <a:pt x="33" y="169"/>
                      <a:pt x="33" y="158"/>
                      <a:pt x="34" y="154"/>
                    </a:cubicBezTo>
                    <a:cubicBezTo>
                      <a:pt x="34" y="150"/>
                      <a:pt x="35" y="142"/>
                      <a:pt x="34" y="140"/>
                    </a:cubicBezTo>
                    <a:cubicBezTo>
                      <a:pt x="34" y="139"/>
                      <a:pt x="32" y="131"/>
                      <a:pt x="32" y="129"/>
                    </a:cubicBezTo>
                    <a:cubicBezTo>
                      <a:pt x="31" y="127"/>
                      <a:pt x="32" y="127"/>
                      <a:pt x="33" y="127"/>
                    </a:cubicBezTo>
                    <a:cubicBezTo>
                      <a:pt x="35" y="127"/>
                      <a:pt x="43" y="134"/>
                      <a:pt x="43" y="134"/>
                    </a:cubicBezTo>
                    <a:cubicBezTo>
                      <a:pt x="48" y="126"/>
                      <a:pt x="48" y="126"/>
                      <a:pt x="48" y="126"/>
                    </a:cubicBezTo>
                    <a:cubicBezTo>
                      <a:pt x="48" y="126"/>
                      <a:pt x="49" y="127"/>
                      <a:pt x="51" y="129"/>
                    </a:cubicBezTo>
                    <a:cubicBezTo>
                      <a:pt x="53" y="132"/>
                      <a:pt x="58" y="137"/>
                      <a:pt x="60" y="139"/>
                    </a:cubicBezTo>
                    <a:cubicBezTo>
                      <a:pt x="62" y="141"/>
                      <a:pt x="75" y="140"/>
                      <a:pt x="89" y="141"/>
                    </a:cubicBezTo>
                    <a:cubicBezTo>
                      <a:pt x="103" y="141"/>
                      <a:pt x="109" y="145"/>
                      <a:pt x="112" y="147"/>
                    </a:cubicBezTo>
                    <a:cubicBezTo>
                      <a:pt x="115" y="149"/>
                      <a:pt x="122" y="156"/>
                      <a:pt x="123" y="158"/>
                    </a:cubicBezTo>
                    <a:cubicBezTo>
                      <a:pt x="123" y="159"/>
                      <a:pt x="124" y="165"/>
                      <a:pt x="125" y="166"/>
                    </a:cubicBezTo>
                    <a:cubicBezTo>
                      <a:pt x="126" y="167"/>
                      <a:pt x="126" y="168"/>
                      <a:pt x="128" y="166"/>
                    </a:cubicBezTo>
                    <a:cubicBezTo>
                      <a:pt x="131" y="163"/>
                      <a:pt x="128" y="152"/>
                      <a:pt x="127" y="14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" name="Freeform 5"/>
              <p:cNvSpPr>
                <a:spLocks/>
              </p:cNvSpPr>
              <p:nvPr/>
            </p:nvSpPr>
            <p:spPr bwMode="auto">
              <a:xfrm>
                <a:off x="5126038" y="1681163"/>
                <a:ext cx="611187" cy="671512"/>
              </a:xfrm>
              <a:custGeom>
                <a:avLst/>
                <a:gdLst>
                  <a:gd name="T0" fmla="*/ 88 w 160"/>
                  <a:gd name="T1" fmla="*/ 22 h 176"/>
                  <a:gd name="T2" fmla="*/ 101 w 160"/>
                  <a:gd name="T3" fmla="*/ 25 h 176"/>
                  <a:gd name="T4" fmla="*/ 126 w 160"/>
                  <a:gd name="T5" fmla="*/ 18 h 176"/>
                  <a:gd name="T6" fmla="*/ 134 w 160"/>
                  <a:gd name="T7" fmla="*/ 7 h 176"/>
                  <a:gd name="T8" fmla="*/ 139 w 160"/>
                  <a:gd name="T9" fmla="*/ 8 h 176"/>
                  <a:gd name="T10" fmla="*/ 143 w 160"/>
                  <a:gd name="T11" fmla="*/ 12 h 176"/>
                  <a:gd name="T12" fmla="*/ 141 w 160"/>
                  <a:gd name="T13" fmla="*/ 17 h 176"/>
                  <a:gd name="T14" fmla="*/ 122 w 160"/>
                  <a:gd name="T15" fmla="*/ 34 h 176"/>
                  <a:gd name="T16" fmla="*/ 107 w 160"/>
                  <a:gd name="T17" fmla="*/ 38 h 176"/>
                  <a:gd name="T18" fmla="*/ 87 w 160"/>
                  <a:gd name="T19" fmla="*/ 52 h 176"/>
                  <a:gd name="T20" fmla="*/ 88 w 160"/>
                  <a:gd name="T21" fmla="*/ 67 h 176"/>
                  <a:gd name="T22" fmla="*/ 82 w 160"/>
                  <a:gd name="T23" fmla="*/ 77 h 176"/>
                  <a:gd name="T24" fmla="*/ 114 w 160"/>
                  <a:gd name="T25" fmla="*/ 78 h 176"/>
                  <a:gd name="T26" fmla="*/ 121 w 160"/>
                  <a:gd name="T27" fmla="*/ 96 h 176"/>
                  <a:gd name="T28" fmla="*/ 137 w 160"/>
                  <a:gd name="T29" fmla="*/ 124 h 176"/>
                  <a:gd name="T30" fmla="*/ 141 w 160"/>
                  <a:gd name="T31" fmla="*/ 122 h 176"/>
                  <a:gd name="T32" fmla="*/ 153 w 160"/>
                  <a:gd name="T33" fmla="*/ 123 h 176"/>
                  <a:gd name="T34" fmla="*/ 154 w 160"/>
                  <a:gd name="T35" fmla="*/ 129 h 176"/>
                  <a:gd name="T36" fmla="*/ 147 w 160"/>
                  <a:gd name="T37" fmla="*/ 135 h 176"/>
                  <a:gd name="T38" fmla="*/ 140 w 160"/>
                  <a:gd name="T39" fmla="*/ 140 h 176"/>
                  <a:gd name="T40" fmla="*/ 131 w 160"/>
                  <a:gd name="T41" fmla="*/ 140 h 176"/>
                  <a:gd name="T42" fmla="*/ 120 w 160"/>
                  <a:gd name="T43" fmla="*/ 121 h 176"/>
                  <a:gd name="T44" fmla="*/ 92 w 160"/>
                  <a:gd name="T45" fmla="*/ 99 h 176"/>
                  <a:gd name="T46" fmla="*/ 91 w 160"/>
                  <a:gd name="T47" fmla="*/ 114 h 176"/>
                  <a:gd name="T48" fmla="*/ 93 w 160"/>
                  <a:gd name="T49" fmla="*/ 132 h 176"/>
                  <a:gd name="T50" fmla="*/ 69 w 160"/>
                  <a:gd name="T51" fmla="*/ 151 h 176"/>
                  <a:gd name="T52" fmla="*/ 37 w 160"/>
                  <a:gd name="T53" fmla="*/ 156 h 176"/>
                  <a:gd name="T54" fmla="*/ 36 w 160"/>
                  <a:gd name="T55" fmla="*/ 159 h 176"/>
                  <a:gd name="T56" fmla="*/ 31 w 160"/>
                  <a:gd name="T57" fmla="*/ 160 h 176"/>
                  <a:gd name="T58" fmla="*/ 21 w 160"/>
                  <a:gd name="T59" fmla="*/ 169 h 176"/>
                  <a:gd name="T60" fmla="*/ 23 w 160"/>
                  <a:gd name="T61" fmla="*/ 158 h 176"/>
                  <a:gd name="T62" fmla="*/ 24 w 160"/>
                  <a:gd name="T63" fmla="*/ 146 h 176"/>
                  <a:gd name="T64" fmla="*/ 38 w 160"/>
                  <a:gd name="T65" fmla="*/ 142 h 176"/>
                  <a:gd name="T66" fmla="*/ 75 w 160"/>
                  <a:gd name="T67" fmla="*/ 136 h 176"/>
                  <a:gd name="T68" fmla="*/ 65 w 160"/>
                  <a:gd name="T69" fmla="*/ 115 h 176"/>
                  <a:gd name="T70" fmla="*/ 51 w 160"/>
                  <a:gd name="T71" fmla="*/ 84 h 176"/>
                  <a:gd name="T72" fmla="*/ 49 w 160"/>
                  <a:gd name="T73" fmla="*/ 67 h 176"/>
                  <a:gd name="T74" fmla="*/ 28 w 160"/>
                  <a:gd name="T75" fmla="*/ 57 h 176"/>
                  <a:gd name="T76" fmla="*/ 12 w 160"/>
                  <a:gd name="T77" fmla="*/ 71 h 176"/>
                  <a:gd name="T78" fmla="*/ 10 w 160"/>
                  <a:gd name="T79" fmla="*/ 87 h 176"/>
                  <a:gd name="T80" fmla="*/ 3 w 160"/>
                  <a:gd name="T81" fmla="*/ 86 h 176"/>
                  <a:gd name="T82" fmla="*/ 4 w 160"/>
                  <a:gd name="T83" fmla="*/ 77 h 176"/>
                  <a:gd name="T84" fmla="*/ 13 w 160"/>
                  <a:gd name="T85" fmla="*/ 55 h 176"/>
                  <a:gd name="T86" fmla="*/ 30 w 160"/>
                  <a:gd name="T87" fmla="*/ 44 h 176"/>
                  <a:gd name="T88" fmla="*/ 53 w 160"/>
                  <a:gd name="T89" fmla="*/ 29 h 176"/>
                  <a:gd name="T90" fmla="*/ 53 w 160"/>
                  <a:gd name="T91" fmla="*/ 26 h 176"/>
                  <a:gd name="T92" fmla="*/ 54 w 160"/>
                  <a:gd name="T93" fmla="*/ 24 h 176"/>
                  <a:gd name="T94" fmla="*/ 55 w 160"/>
                  <a:gd name="T95" fmla="*/ 22 h 176"/>
                  <a:gd name="T96" fmla="*/ 75 w 160"/>
                  <a:gd name="T97" fmla="*/ 2 h 176"/>
                  <a:gd name="T98" fmla="*/ 86 w 160"/>
                  <a:gd name="T99" fmla="*/ 18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60" h="176">
                    <a:moveTo>
                      <a:pt x="86" y="18"/>
                    </a:moveTo>
                    <a:cubicBezTo>
                      <a:pt x="85" y="19"/>
                      <a:pt x="82" y="19"/>
                      <a:pt x="85" y="21"/>
                    </a:cubicBezTo>
                    <a:cubicBezTo>
                      <a:pt x="86" y="22"/>
                      <a:pt x="86" y="22"/>
                      <a:pt x="88" y="22"/>
                    </a:cubicBezTo>
                    <a:cubicBezTo>
                      <a:pt x="90" y="23"/>
                      <a:pt x="89" y="24"/>
                      <a:pt x="90" y="25"/>
                    </a:cubicBezTo>
                    <a:cubicBezTo>
                      <a:pt x="90" y="25"/>
                      <a:pt x="97" y="26"/>
                      <a:pt x="98" y="26"/>
                    </a:cubicBezTo>
                    <a:cubicBezTo>
                      <a:pt x="99" y="26"/>
                      <a:pt x="99" y="25"/>
                      <a:pt x="101" y="25"/>
                    </a:cubicBezTo>
                    <a:cubicBezTo>
                      <a:pt x="105" y="27"/>
                      <a:pt x="114" y="27"/>
                      <a:pt x="116" y="25"/>
                    </a:cubicBezTo>
                    <a:cubicBezTo>
                      <a:pt x="119" y="23"/>
                      <a:pt x="118" y="24"/>
                      <a:pt x="122" y="21"/>
                    </a:cubicBezTo>
                    <a:cubicBezTo>
                      <a:pt x="122" y="21"/>
                      <a:pt x="126" y="19"/>
                      <a:pt x="126" y="18"/>
                    </a:cubicBezTo>
                    <a:cubicBezTo>
                      <a:pt x="125" y="16"/>
                      <a:pt x="129" y="17"/>
                      <a:pt x="132" y="14"/>
                    </a:cubicBezTo>
                    <a:cubicBezTo>
                      <a:pt x="136" y="10"/>
                      <a:pt x="131" y="9"/>
                      <a:pt x="132" y="6"/>
                    </a:cubicBezTo>
                    <a:cubicBezTo>
                      <a:pt x="133" y="4"/>
                      <a:pt x="134" y="7"/>
                      <a:pt x="134" y="7"/>
                    </a:cubicBezTo>
                    <a:cubicBezTo>
                      <a:pt x="134" y="8"/>
                      <a:pt x="135" y="11"/>
                      <a:pt x="136" y="11"/>
                    </a:cubicBezTo>
                    <a:cubicBezTo>
                      <a:pt x="137" y="11"/>
                      <a:pt x="137" y="6"/>
                      <a:pt x="139" y="7"/>
                    </a:cubicBezTo>
                    <a:cubicBezTo>
                      <a:pt x="139" y="7"/>
                      <a:pt x="140" y="7"/>
                      <a:pt x="139" y="8"/>
                    </a:cubicBezTo>
                    <a:cubicBezTo>
                      <a:pt x="139" y="9"/>
                      <a:pt x="139" y="12"/>
                      <a:pt x="140" y="11"/>
                    </a:cubicBezTo>
                    <a:cubicBezTo>
                      <a:pt x="141" y="11"/>
                      <a:pt x="141" y="11"/>
                      <a:pt x="141" y="11"/>
                    </a:cubicBezTo>
                    <a:cubicBezTo>
                      <a:pt x="143" y="10"/>
                      <a:pt x="146" y="10"/>
                      <a:pt x="143" y="12"/>
                    </a:cubicBezTo>
                    <a:cubicBezTo>
                      <a:pt x="143" y="13"/>
                      <a:pt x="142" y="13"/>
                      <a:pt x="143" y="14"/>
                    </a:cubicBezTo>
                    <a:cubicBezTo>
                      <a:pt x="144" y="14"/>
                      <a:pt x="149" y="13"/>
                      <a:pt x="148" y="14"/>
                    </a:cubicBezTo>
                    <a:cubicBezTo>
                      <a:pt x="147" y="16"/>
                      <a:pt x="144" y="14"/>
                      <a:pt x="141" y="17"/>
                    </a:cubicBezTo>
                    <a:cubicBezTo>
                      <a:pt x="139" y="21"/>
                      <a:pt x="137" y="20"/>
                      <a:pt x="137" y="21"/>
                    </a:cubicBezTo>
                    <a:cubicBezTo>
                      <a:pt x="136" y="22"/>
                      <a:pt x="135" y="23"/>
                      <a:pt x="134" y="24"/>
                    </a:cubicBezTo>
                    <a:cubicBezTo>
                      <a:pt x="131" y="28"/>
                      <a:pt x="126" y="32"/>
                      <a:pt x="122" y="34"/>
                    </a:cubicBezTo>
                    <a:cubicBezTo>
                      <a:pt x="121" y="35"/>
                      <a:pt x="121" y="35"/>
                      <a:pt x="120" y="36"/>
                    </a:cubicBezTo>
                    <a:cubicBezTo>
                      <a:pt x="119" y="36"/>
                      <a:pt x="116" y="37"/>
                      <a:pt x="115" y="37"/>
                    </a:cubicBezTo>
                    <a:cubicBezTo>
                      <a:pt x="111" y="36"/>
                      <a:pt x="110" y="37"/>
                      <a:pt x="107" y="38"/>
                    </a:cubicBezTo>
                    <a:cubicBezTo>
                      <a:pt x="106" y="39"/>
                      <a:pt x="100" y="41"/>
                      <a:pt x="98" y="41"/>
                    </a:cubicBezTo>
                    <a:cubicBezTo>
                      <a:pt x="94" y="42"/>
                      <a:pt x="94" y="42"/>
                      <a:pt x="91" y="46"/>
                    </a:cubicBezTo>
                    <a:cubicBezTo>
                      <a:pt x="91" y="47"/>
                      <a:pt x="87" y="52"/>
                      <a:pt x="87" y="52"/>
                    </a:cubicBezTo>
                    <a:cubicBezTo>
                      <a:pt x="88" y="56"/>
                      <a:pt x="86" y="55"/>
                      <a:pt x="89" y="59"/>
                    </a:cubicBezTo>
                    <a:cubicBezTo>
                      <a:pt x="89" y="59"/>
                      <a:pt x="90" y="60"/>
                      <a:pt x="89" y="61"/>
                    </a:cubicBezTo>
                    <a:cubicBezTo>
                      <a:pt x="88" y="64"/>
                      <a:pt x="92" y="63"/>
                      <a:pt x="88" y="67"/>
                    </a:cubicBezTo>
                    <a:cubicBezTo>
                      <a:pt x="85" y="69"/>
                      <a:pt x="87" y="68"/>
                      <a:pt x="85" y="71"/>
                    </a:cubicBezTo>
                    <a:cubicBezTo>
                      <a:pt x="84" y="72"/>
                      <a:pt x="83" y="73"/>
                      <a:pt x="82" y="74"/>
                    </a:cubicBezTo>
                    <a:cubicBezTo>
                      <a:pt x="82" y="74"/>
                      <a:pt x="82" y="77"/>
                      <a:pt x="82" y="77"/>
                    </a:cubicBezTo>
                    <a:cubicBezTo>
                      <a:pt x="83" y="78"/>
                      <a:pt x="89" y="77"/>
                      <a:pt x="93" y="77"/>
                    </a:cubicBezTo>
                    <a:cubicBezTo>
                      <a:pt x="96" y="77"/>
                      <a:pt x="103" y="77"/>
                      <a:pt x="106" y="77"/>
                    </a:cubicBezTo>
                    <a:cubicBezTo>
                      <a:pt x="109" y="76"/>
                      <a:pt x="112" y="77"/>
                      <a:pt x="114" y="78"/>
                    </a:cubicBezTo>
                    <a:cubicBezTo>
                      <a:pt x="116" y="79"/>
                      <a:pt x="117" y="85"/>
                      <a:pt x="118" y="87"/>
                    </a:cubicBezTo>
                    <a:cubicBezTo>
                      <a:pt x="119" y="89"/>
                      <a:pt x="119" y="91"/>
                      <a:pt x="120" y="93"/>
                    </a:cubicBezTo>
                    <a:cubicBezTo>
                      <a:pt x="121" y="96"/>
                      <a:pt x="120" y="94"/>
                      <a:pt x="121" y="96"/>
                    </a:cubicBezTo>
                    <a:cubicBezTo>
                      <a:pt x="121" y="96"/>
                      <a:pt x="123" y="99"/>
                      <a:pt x="123" y="100"/>
                    </a:cubicBezTo>
                    <a:cubicBezTo>
                      <a:pt x="125" y="102"/>
                      <a:pt x="132" y="121"/>
                      <a:pt x="133" y="122"/>
                    </a:cubicBezTo>
                    <a:cubicBezTo>
                      <a:pt x="133" y="122"/>
                      <a:pt x="136" y="124"/>
                      <a:pt x="137" y="124"/>
                    </a:cubicBezTo>
                    <a:cubicBezTo>
                      <a:pt x="137" y="124"/>
                      <a:pt x="139" y="122"/>
                      <a:pt x="139" y="122"/>
                    </a:cubicBezTo>
                    <a:cubicBezTo>
                      <a:pt x="140" y="122"/>
                      <a:pt x="140" y="123"/>
                      <a:pt x="140" y="121"/>
                    </a:cubicBezTo>
                    <a:cubicBezTo>
                      <a:pt x="140" y="121"/>
                      <a:pt x="142" y="122"/>
                      <a:pt x="141" y="122"/>
                    </a:cubicBezTo>
                    <a:cubicBezTo>
                      <a:pt x="140" y="124"/>
                      <a:pt x="135" y="127"/>
                      <a:pt x="144" y="125"/>
                    </a:cubicBezTo>
                    <a:cubicBezTo>
                      <a:pt x="146" y="124"/>
                      <a:pt x="147" y="124"/>
                      <a:pt x="149" y="124"/>
                    </a:cubicBezTo>
                    <a:cubicBezTo>
                      <a:pt x="150" y="124"/>
                      <a:pt x="152" y="124"/>
                      <a:pt x="153" y="123"/>
                    </a:cubicBezTo>
                    <a:cubicBezTo>
                      <a:pt x="156" y="121"/>
                      <a:pt x="160" y="122"/>
                      <a:pt x="157" y="125"/>
                    </a:cubicBezTo>
                    <a:cubicBezTo>
                      <a:pt x="156" y="126"/>
                      <a:pt x="157" y="126"/>
                      <a:pt x="156" y="128"/>
                    </a:cubicBezTo>
                    <a:cubicBezTo>
                      <a:pt x="155" y="129"/>
                      <a:pt x="155" y="127"/>
                      <a:pt x="154" y="129"/>
                    </a:cubicBezTo>
                    <a:cubicBezTo>
                      <a:pt x="153" y="131"/>
                      <a:pt x="155" y="131"/>
                      <a:pt x="152" y="131"/>
                    </a:cubicBezTo>
                    <a:cubicBezTo>
                      <a:pt x="151" y="131"/>
                      <a:pt x="152" y="133"/>
                      <a:pt x="151" y="134"/>
                    </a:cubicBezTo>
                    <a:cubicBezTo>
                      <a:pt x="149" y="134"/>
                      <a:pt x="148" y="134"/>
                      <a:pt x="147" y="135"/>
                    </a:cubicBezTo>
                    <a:cubicBezTo>
                      <a:pt x="147" y="135"/>
                      <a:pt x="148" y="136"/>
                      <a:pt x="146" y="136"/>
                    </a:cubicBezTo>
                    <a:cubicBezTo>
                      <a:pt x="144" y="135"/>
                      <a:pt x="141" y="138"/>
                      <a:pt x="141" y="139"/>
                    </a:cubicBezTo>
                    <a:cubicBezTo>
                      <a:pt x="141" y="140"/>
                      <a:pt x="142" y="139"/>
                      <a:pt x="140" y="140"/>
                    </a:cubicBezTo>
                    <a:cubicBezTo>
                      <a:pt x="139" y="142"/>
                      <a:pt x="137" y="141"/>
                      <a:pt x="137" y="141"/>
                    </a:cubicBezTo>
                    <a:cubicBezTo>
                      <a:pt x="137" y="142"/>
                      <a:pt x="138" y="144"/>
                      <a:pt x="136" y="143"/>
                    </a:cubicBezTo>
                    <a:cubicBezTo>
                      <a:pt x="134" y="141"/>
                      <a:pt x="133" y="143"/>
                      <a:pt x="131" y="140"/>
                    </a:cubicBezTo>
                    <a:cubicBezTo>
                      <a:pt x="130" y="139"/>
                      <a:pt x="130" y="138"/>
                      <a:pt x="129" y="137"/>
                    </a:cubicBezTo>
                    <a:cubicBezTo>
                      <a:pt x="127" y="133"/>
                      <a:pt x="129" y="135"/>
                      <a:pt x="127" y="131"/>
                    </a:cubicBezTo>
                    <a:cubicBezTo>
                      <a:pt x="125" y="129"/>
                      <a:pt x="122" y="122"/>
                      <a:pt x="120" y="121"/>
                    </a:cubicBezTo>
                    <a:cubicBezTo>
                      <a:pt x="118" y="118"/>
                      <a:pt x="114" y="114"/>
                      <a:pt x="112" y="111"/>
                    </a:cubicBezTo>
                    <a:cubicBezTo>
                      <a:pt x="104" y="100"/>
                      <a:pt x="108" y="95"/>
                      <a:pt x="105" y="93"/>
                    </a:cubicBezTo>
                    <a:cubicBezTo>
                      <a:pt x="103" y="92"/>
                      <a:pt x="95" y="98"/>
                      <a:pt x="92" y="99"/>
                    </a:cubicBezTo>
                    <a:cubicBezTo>
                      <a:pt x="92" y="99"/>
                      <a:pt x="89" y="102"/>
                      <a:pt x="89" y="103"/>
                    </a:cubicBezTo>
                    <a:cubicBezTo>
                      <a:pt x="88" y="103"/>
                      <a:pt x="93" y="110"/>
                      <a:pt x="92" y="113"/>
                    </a:cubicBezTo>
                    <a:cubicBezTo>
                      <a:pt x="92" y="113"/>
                      <a:pt x="91" y="113"/>
                      <a:pt x="91" y="114"/>
                    </a:cubicBezTo>
                    <a:cubicBezTo>
                      <a:pt x="91" y="115"/>
                      <a:pt x="92" y="117"/>
                      <a:pt x="92" y="118"/>
                    </a:cubicBezTo>
                    <a:cubicBezTo>
                      <a:pt x="93" y="121"/>
                      <a:pt x="93" y="125"/>
                      <a:pt x="93" y="128"/>
                    </a:cubicBezTo>
                    <a:cubicBezTo>
                      <a:pt x="93" y="128"/>
                      <a:pt x="93" y="131"/>
                      <a:pt x="93" y="132"/>
                    </a:cubicBezTo>
                    <a:cubicBezTo>
                      <a:pt x="93" y="133"/>
                      <a:pt x="93" y="135"/>
                      <a:pt x="93" y="137"/>
                    </a:cubicBezTo>
                    <a:cubicBezTo>
                      <a:pt x="93" y="146"/>
                      <a:pt x="92" y="150"/>
                      <a:pt x="85" y="151"/>
                    </a:cubicBezTo>
                    <a:cubicBezTo>
                      <a:pt x="82" y="152"/>
                      <a:pt x="71" y="151"/>
                      <a:pt x="69" y="151"/>
                    </a:cubicBezTo>
                    <a:cubicBezTo>
                      <a:pt x="67" y="152"/>
                      <a:pt x="51" y="152"/>
                      <a:pt x="49" y="152"/>
                    </a:cubicBezTo>
                    <a:cubicBezTo>
                      <a:pt x="45" y="151"/>
                      <a:pt x="42" y="152"/>
                      <a:pt x="39" y="154"/>
                    </a:cubicBezTo>
                    <a:cubicBezTo>
                      <a:pt x="39" y="154"/>
                      <a:pt x="36" y="155"/>
                      <a:pt x="37" y="156"/>
                    </a:cubicBezTo>
                    <a:cubicBezTo>
                      <a:pt x="38" y="157"/>
                      <a:pt x="38" y="156"/>
                      <a:pt x="37" y="157"/>
                    </a:cubicBezTo>
                    <a:cubicBezTo>
                      <a:pt x="37" y="157"/>
                      <a:pt x="36" y="157"/>
                      <a:pt x="36" y="157"/>
                    </a:cubicBezTo>
                    <a:cubicBezTo>
                      <a:pt x="36" y="158"/>
                      <a:pt x="37" y="159"/>
                      <a:pt x="36" y="159"/>
                    </a:cubicBezTo>
                    <a:cubicBezTo>
                      <a:pt x="35" y="160"/>
                      <a:pt x="34" y="158"/>
                      <a:pt x="34" y="159"/>
                    </a:cubicBezTo>
                    <a:cubicBezTo>
                      <a:pt x="33" y="160"/>
                      <a:pt x="34" y="161"/>
                      <a:pt x="32" y="159"/>
                    </a:cubicBezTo>
                    <a:cubicBezTo>
                      <a:pt x="32" y="159"/>
                      <a:pt x="31" y="160"/>
                      <a:pt x="31" y="160"/>
                    </a:cubicBezTo>
                    <a:cubicBezTo>
                      <a:pt x="29" y="162"/>
                      <a:pt x="26" y="166"/>
                      <a:pt x="25" y="167"/>
                    </a:cubicBezTo>
                    <a:cubicBezTo>
                      <a:pt x="25" y="168"/>
                      <a:pt x="23" y="176"/>
                      <a:pt x="21" y="171"/>
                    </a:cubicBezTo>
                    <a:cubicBezTo>
                      <a:pt x="21" y="171"/>
                      <a:pt x="21" y="169"/>
                      <a:pt x="21" y="169"/>
                    </a:cubicBezTo>
                    <a:cubicBezTo>
                      <a:pt x="20" y="168"/>
                      <a:pt x="20" y="168"/>
                      <a:pt x="21" y="167"/>
                    </a:cubicBezTo>
                    <a:cubicBezTo>
                      <a:pt x="23" y="166"/>
                      <a:pt x="20" y="163"/>
                      <a:pt x="21" y="160"/>
                    </a:cubicBezTo>
                    <a:cubicBezTo>
                      <a:pt x="21" y="159"/>
                      <a:pt x="23" y="159"/>
                      <a:pt x="23" y="158"/>
                    </a:cubicBezTo>
                    <a:cubicBezTo>
                      <a:pt x="24" y="157"/>
                      <a:pt x="23" y="155"/>
                      <a:pt x="23" y="153"/>
                    </a:cubicBezTo>
                    <a:cubicBezTo>
                      <a:pt x="24" y="152"/>
                      <a:pt x="24" y="149"/>
                      <a:pt x="24" y="148"/>
                    </a:cubicBezTo>
                    <a:cubicBezTo>
                      <a:pt x="24" y="147"/>
                      <a:pt x="23" y="147"/>
                      <a:pt x="24" y="146"/>
                    </a:cubicBezTo>
                    <a:cubicBezTo>
                      <a:pt x="24" y="144"/>
                      <a:pt x="24" y="145"/>
                      <a:pt x="25" y="143"/>
                    </a:cubicBezTo>
                    <a:cubicBezTo>
                      <a:pt x="26" y="141"/>
                      <a:pt x="26" y="137"/>
                      <a:pt x="31" y="140"/>
                    </a:cubicBezTo>
                    <a:cubicBezTo>
                      <a:pt x="35" y="142"/>
                      <a:pt x="35" y="142"/>
                      <a:pt x="38" y="142"/>
                    </a:cubicBezTo>
                    <a:cubicBezTo>
                      <a:pt x="43" y="143"/>
                      <a:pt x="53" y="141"/>
                      <a:pt x="56" y="140"/>
                    </a:cubicBezTo>
                    <a:cubicBezTo>
                      <a:pt x="59" y="139"/>
                      <a:pt x="61" y="138"/>
                      <a:pt x="63" y="137"/>
                    </a:cubicBezTo>
                    <a:cubicBezTo>
                      <a:pt x="67" y="135"/>
                      <a:pt x="70" y="136"/>
                      <a:pt x="75" y="136"/>
                    </a:cubicBezTo>
                    <a:cubicBezTo>
                      <a:pt x="75" y="136"/>
                      <a:pt x="75" y="136"/>
                      <a:pt x="75" y="136"/>
                    </a:cubicBezTo>
                    <a:cubicBezTo>
                      <a:pt x="75" y="136"/>
                      <a:pt x="67" y="120"/>
                      <a:pt x="66" y="118"/>
                    </a:cubicBezTo>
                    <a:cubicBezTo>
                      <a:pt x="65" y="118"/>
                      <a:pt x="65" y="116"/>
                      <a:pt x="65" y="115"/>
                    </a:cubicBezTo>
                    <a:cubicBezTo>
                      <a:pt x="65" y="115"/>
                      <a:pt x="60" y="109"/>
                      <a:pt x="59" y="108"/>
                    </a:cubicBezTo>
                    <a:cubicBezTo>
                      <a:pt x="57" y="105"/>
                      <a:pt x="54" y="103"/>
                      <a:pt x="53" y="101"/>
                    </a:cubicBezTo>
                    <a:cubicBezTo>
                      <a:pt x="51" y="96"/>
                      <a:pt x="50" y="89"/>
                      <a:pt x="51" y="84"/>
                    </a:cubicBezTo>
                    <a:cubicBezTo>
                      <a:pt x="51" y="84"/>
                      <a:pt x="52" y="83"/>
                      <a:pt x="51" y="82"/>
                    </a:cubicBezTo>
                    <a:cubicBezTo>
                      <a:pt x="49" y="79"/>
                      <a:pt x="46" y="80"/>
                      <a:pt x="49" y="77"/>
                    </a:cubicBezTo>
                    <a:cubicBezTo>
                      <a:pt x="50" y="76"/>
                      <a:pt x="49" y="68"/>
                      <a:pt x="49" y="67"/>
                    </a:cubicBezTo>
                    <a:cubicBezTo>
                      <a:pt x="47" y="60"/>
                      <a:pt x="49" y="60"/>
                      <a:pt x="47" y="54"/>
                    </a:cubicBezTo>
                    <a:cubicBezTo>
                      <a:pt x="46" y="53"/>
                      <a:pt x="40" y="54"/>
                      <a:pt x="39" y="54"/>
                    </a:cubicBezTo>
                    <a:cubicBezTo>
                      <a:pt x="37" y="55"/>
                      <a:pt x="31" y="56"/>
                      <a:pt x="28" y="57"/>
                    </a:cubicBezTo>
                    <a:cubicBezTo>
                      <a:pt x="24" y="59"/>
                      <a:pt x="23" y="56"/>
                      <a:pt x="21" y="60"/>
                    </a:cubicBezTo>
                    <a:cubicBezTo>
                      <a:pt x="21" y="61"/>
                      <a:pt x="20" y="63"/>
                      <a:pt x="19" y="63"/>
                    </a:cubicBezTo>
                    <a:cubicBezTo>
                      <a:pt x="17" y="67"/>
                      <a:pt x="15" y="67"/>
                      <a:pt x="12" y="71"/>
                    </a:cubicBezTo>
                    <a:cubicBezTo>
                      <a:pt x="9" y="77"/>
                      <a:pt x="12" y="76"/>
                      <a:pt x="13" y="79"/>
                    </a:cubicBezTo>
                    <a:cubicBezTo>
                      <a:pt x="13" y="82"/>
                      <a:pt x="13" y="85"/>
                      <a:pt x="12" y="87"/>
                    </a:cubicBezTo>
                    <a:cubicBezTo>
                      <a:pt x="12" y="88"/>
                      <a:pt x="11" y="87"/>
                      <a:pt x="10" y="87"/>
                    </a:cubicBezTo>
                    <a:cubicBezTo>
                      <a:pt x="10" y="86"/>
                      <a:pt x="10" y="85"/>
                      <a:pt x="10" y="85"/>
                    </a:cubicBezTo>
                    <a:cubicBezTo>
                      <a:pt x="9" y="86"/>
                      <a:pt x="7" y="86"/>
                      <a:pt x="6" y="86"/>
                    </a:cubicBezTo>
                    <a:cubicBezTo>
                      <a:pt x="5" y="86"/>
                      <a:pt x="6" y="88"/>
                      <a:pt x="3" y="86"/>
                    </a:cubicBezTo>
                    <a:cubicBezTo>
                      <a:pt x="2" y="86"/>
                      <a:pt x="0" y="84"/>
                      <a:pt x="0" y="83"/>
                    </a:cubicBezTo>
                    <a:cubicBezTo>
                      <a:pt x="1" y="82"/>
                      <a:pt x="2" y="81"/>
                      <a:pt x="2" y="81"/>
                    </a:cubicBezTo>
                    <a:cubicBezTo>
                      <a:pt x="3" y="79"/>
                      <a:pt x="3" y="78"/>
                      <a:pt x="4" y="77"/>
                    </a:cubicBezTo>
                    <a:cubicBezTo>
                      <a:pt x="4" y="76"/>
                      <a:pt x="4" y="74"/>
                      <a:pt x="6" y="70"/>
                    </a:cubicBezTo>
                    <a:cubicBezTo>
                      <a:pt x="7" y="68"/>
                      <a:pt x="9" y="62"/>
                      <a:pt x="11" y="59"/>
                    </a:cubicBezTo>
                    <a:cubicBezTo>
                      <a:pt x="11" y="58"/>
                      <a:pt x="13" y="56"/>
                      <a:pt x="13" y="55"/>
                    </a:cubicBezTo>
                    <a:cubicBezTo>
                      <a:pt x="16" y="52"/>
                      <a:pt x="21" y="49"/>
                      <a:pt x="22" y="48"/>
                    </a:cubicBezTo>
                    <a:cubicBezTo>
                      <a:pt x="23" y="45"/>
                      <a:pt x="25" y="46"/>
                      <a:pt x="28" y="45"/>
                    </a:cubicBezTo>
                    <a:cubicBezTo>
                      <a:pt x="28" y="45"/>
                      <a:pt x="30" y="44"/>
                      <a:pt x="30" y="44"/>
                    </a:cubicBezTo>
                    <a:cubicBezTo>
                      <a:pt x="32" y="42"/>
                      <a:pt x="31" y="43"/>
                      <a:pt x="34" y="42"/>
                    </a:cubicBezTo>
                    <a:cubicBezTo>
                      <a:pt x="36" y="40"/>
                      <a:pt x="38" y="39"/>
                      <a:pt x="41" y="37"/>
                    </a:cubicBezTo>
                    <a:cubicBezTo>
                      <a:pt x="43" y="35"/>
                      <a:pt x="51" y="32"/>
                      <a:pt x="53" y="29"/>
                    </a:cubicBezTo>
                    <a:cubicBezTo>
                      <a:pt x="54" y="28"/>
                      <a:pt x="55" y="28"/>
                      <a:pt x="54" y="27"/>
                    </a:cubicBezTo>
                    <a:cubicBezTo>
                      <a:pt x="53" y="26"/>
                      <a:pt x="54" y="26"/>
                      <a:pt x="54" y="26"/>
                    </a:cubicBezTo>
                    <a:cubicBezTo>
                      <a:pt x="54" y="26"/>
                      <a:pt x="53" y="26"/>
                      <a:pt x="53" y="26"/>
                    </a:cubicBezTo>
                    <a:cubicBezTo>
                      <a:pt x="54" y="25"/>
                      <a:pt x="52" y="25"/>
                      <a:pt x="54" y="25"/>
                    </a:cubicBezTo>
                    <a:cubicBezTo>
                      <a:pt x="55" y="25"/>
                      <a:pt x="54" y="24"/>
                      <a:pt x="54" y="24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3" y="23"/>
                      <a:pt x="55" y="24"/>
                      <a:pt x="54" y="23"/>
                    </a:cubicBezTo>
                    <a:cubicBezTo>
                      <a:pt x="54" y="23"/>
                      <a:pt x="55" y="23"/>
                      <a:pt x="54" y="22"/>
                    </a:cubicBezTo>
                    <a:cubicBezTo>
                      <a:pt x="54" y="22"/>
                      <a:pt x="54" y="22"/>
                      <a:pt x="55" y="22"/>
                    </a:cubicBezTo>
                    <a:cubicBezTo>
                      <a:pt x="55" y="21"/>
                      <a:pt x="54" y="21"/>
                      <a:pt x="55" y="20"/>
                    </a:cubicBezTo>
                    <a:cubicBezTo>
                      <a:pt x="57" y="18"/>
                      <a:pt x="56" y="13"/>
                      <a:pt x="60" y="7"/>
                    </a:cubicBezTo>
                    <a:cubicBezTo>
                      <a:pt x="61" y="5"/>
                      <a:pt x="71" y="0"/>
                      <a:pt x="75" y="2"/>
                    </a:cubicBezTo>
                    <a:cubicBezTo>
                      <a:pt x="79" y="4"/>
                      <a:pt x="78" y="4"/>
                      <a:pt x="81" y="9"/>
                    </a:cubicBezTo>
                    <a:cubicBezTo>
                      <a:pt x="82" y="10"/>
                      <a:pt x="82" y="10"/>
                      <a:pt x="82" y="12"/>
                    </a:cubicBezTo>
                    <a:cubicBezTo>
                      <a:pt x="81" y="15"/>
                      <a:pt x="87" y="15"/>
                      <a:pt x="86" y="1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" name="Freeform 9"/>
              <p:cNvSpPr>
                <a:spLocks noEditPoints="1"/>
              </p:cNvSpPr>
              <p:nvPr/>
            </p:nvSpPr>
            <p:spPr bwMode="auto">
              <a:xfrm flipH="1">
                <a:off x="6305551" y="2022475"/>
                <a:ext cx="449262" cy="742951"/>
              </a:xfrm>
              <a:custGeom>
                <a:avLst/>
                <a:gdLst>
                  <a:gd name="T0" fmla="*/ 42 w 112"/>
                  <a:gd name="T1" fmla="*/ 50 h 187"/>
                  <a:gd name="T2" fmla="*/ 41 w 112"/>
                  <a:gd name="T3" fmla="*/ 50 h 187"/>
                  <a:gd name="T4" fmla="*/ 36 w 112"/>
                  <a:gd name="T5" fmla="*/ 59 h 187"/>
                  <a:gd name="T6" fmla="*/ 71 w 112"/>
                  <a:gd name="T7" fmla="*/ 20 h 187"/>
                  <a:gd name="T8" fmla="*/ 76 w 112"/>
                  <a:gd name="T9" fmla="*/ 10 h 187"/>
                  <a:gd name="T10" fmla="*/ 76 w 112"/>
                  <a:gd name="T11" fmla="*/ 10 h 187"/>
                  <a:gd name="T12" fmla="*/ 75 w 112"/>
                  <a:gd name="T13" fmla="*/ 6 h 187"/>
                  <a:gd name="T14" fmla="*/ 75 w 112"/>
                  <a:gd name="T15" fmla="*/ 10 h 187"/>
                  <a:gd name="T16" fmla="*/ 73 w 112"/>
                  <a:gd name="T17" fmla="*/ 12 h 187"/>
                  <a:gd name="T18" fmla="*/ 71 w 112"/>
                  <a:gd name="T19" fmla="*/ 20 h 187"/>
                  <a:gd name="T20" fmla="*/ 70 w 112"/>
                  <a:gd name="T21" fmla="*/ 21 h 187"/>
                  <a:gd name="T22" fmla="*/ 70 w 112"/>
                  <a:gd name="T23" fmla="*/ 23 h 187"/>
                  <a:gd name="T24" fmla="*/ 72 w 112"/>
                  <a:gd name="T25" fmla="*/ 30 h 187"/>
                  <a:gd name="T26" fmla="*/ 93 w 112"/>
                  <a:gd name="T27" fmla="*/ 43 h 187"/>
                  <a:gd name="T28" fmla="*/ 94 w 112"/>
                  <a:gd name="T29" fmla="*/ 74 h 187"/>
                  <a:gd name="T30" fmla="*/ 84 w 112"/>
                  <a:gd name="T31" fmla="*/ 84 h 187"/>
                  <a:gd name="T32" fmla="*/ 84 w 112"/>
                  <a:gd name="T33" fmla="*/ 83 h 187"/>
                  <a:gd name="T34" fmla="*/ 88 w 112"/>
                  <a:gd name="T35" fmla="*/ 73 h 187"/>
                  <a:gd name="T36" fmla="*/ 88 w 112"/>
                  <a:gd name="T37" fmla="*/ 51 h 187"/>
                  <a:gd name="T38" fmla="*/ 86 w 112"/>
                  <a:gd name="T39" fmla="*/ 49 h 187"/>
                  <a:gd name="T40" fmla="*/ 80 w 112"/>
                  <a:gd name="T41" fmla="*/ 50 h 187"/>
                  <a:gd name="T42" fmla="*/ 76 w 112"/>
                  <a:gd name="T43" fmla="*/ 62 h 187"/>
                  <a:gd name="T44" fmla="*/ 73 w 112"/>
                  <a:gd name="T45" fmla="*/ 77 h 187"/>
                  <a:gd name="T46" fmla="*/ 76 w 112"/>
                  <a:gd name="T47" fmla="*/ 88 h 187"/>
                  <a:gd name="T48" fmla="*/ 72 w 112"/>
                  <a:gd name="T49" fmla="*/ 109 h 187"/>
                  <a:gd name="T50" fmla="*/ 71 w 112"/>
                  <a:gd name="T51" fmla="*/ 117 h 187"/>
                  <a:gd name="T52" fmla="*/ 80 w 112"/>
                  <a:gd name="T53" fmla="*/ 123 h 187"/>
                  <a:gd name="T54" fmla="*/ 98 w 112"/>
                  <a:gd name="T55" fmla="*/ 120 h 187"/>
                  <a:gd name="T56" fmla="*/ 102 w 112"/>
                  <a:gd name="T57" fmla="*/ 118 h 187"/>
                  <a:gd name="T58" fmla="*/ 106 w 112"/>
                  <a:gd name="T59" fmla="*/ 142 h 187"/>
                  <a:gd name="T60" fmla="*/ 96 w 112"/>
                  <a:gd name="T61" fmla="*/ 134 h 187"/>
                  <a:gd name="T62" fmla="*/ 75 w 112"/>
                  <a:gd name="T63" fmla="*/ 137 h 187"/>
                  <a:gd name="T64" fmla="*/ 60 w 112"/>
                  <a:gd name="T65" fmla="*/ 132 h 187"/>
                  <a:gd name="T66" fmla="*/ 57 w 112"/>
                  <a:gd name="T67" fmla="*/ 128 h 187"/>
                  <a:gd name="T68" fmla="*/ 50 w 112"/>
                  <a:gd name="T69" fmla="*/ 128 h 187"/>
                  <a:gd name="T70" fmla="*/ 40 w 112"/>
                  <a:gd name="T71" fmla="*/ 150 h 187"/>
                  <a:gd name="T72" fmla="*/ 31 w 112"/>
                  <a:gd name="T73" fmla="*/ 162 h 187"/>
                  <a:gd name="T74" fmla="*/ 29 w 112"/>
                  <a:gd name="T75" fmla="*/ 165 h 187"/>
                  <a:gd name="T76" fmla="*/ 25 w 112"/>
                  <a:gd name="T77" fmla="*/ 170 h 187"/>
                  <a:gd name="T78" fmla="*/ 24 w 112"/>
                  <a:gd name="T79" fmla="*/ 172 h 187"/>
                  <a:gd name="T80" fmla="*/ 19 w 112"/>
                  <a:gd name="T81" fmla="*/ 184 h 187"/>
                  <a:gd name="T82" fmla="*/ 3 w 112"/>
                  <a:gd name="T83" fmla="*/ 178 h 187"/>
                  <a:gd name="T84" fmla="*/ 10 w 112"/>
                  <a:gd name="T85" fmla="*/ 172 h 187"/>
                  <a:gd name="T86" fmla="*/ 13 w 112"/>
                  <a:gd name="T87" fmla="*/ 167 h 187"/>
                  <a:gd name="T88" fmla="*/ 17 w 112"/>
                  <a:gd name="T89" fmla="*/ 169 h 187"/>
                  <a:gd name="T90" fmla="*/ 19 w 112"/>
                  <a:gd name="T91" fmla="*/ 166 h 187"/>
                  <a:gd name="T92" fmla="*/ 20 w 112"/>
                  <a:gd name="T93" fmla="*/ 165 h 187"/>
                  <a:gd name="T94" fmla="*/ 33 w 112"/>
                  <a:gd name="T95" fmla="*/ 125 h 187"/>
                  <a:gd name="T96" fmla="*/ 37 w 112"/>
                  <a:gd name="T97" fmla="*/ 119 h 187"/>
                  <a:gd name="T98" fmla="*/ 41 w 112"/>
                  <a:gd name="T99" fmla="*/ 115 h 187"/>
                  <a:gd name="T100" fmla="*/ 43 w 112"/>
                  <a:gd name="T101" fmla="*/ 112 h 187"/>
                  <a:gd name="T102" fmla="*/ 45 w 112"/>
                  <a:gd name="T103" fmla="*/ 107 h 187"/>
                  <a:gd name="T104" fmla="*/ 43 w 112"/>
                  <a:gd name="T105" fmla="*/ 84 h 187"/>
                  <a:gd name="T106" fmla="*/ 42 w 112"/>
                  <a:gd name="T107" fmla="*/ 64 h 187"/>
                  <a:gd name="T108" fmla="*/ 29 w 112"/>
                  <a:gd name="T109" fmla="*/ 68 h 187"/>
                  <a:gd name="T110" fmla="*/ 26 w 112"/>
                  <a:gd name="T111" fmla="*/ 59 h 187"/>
                  <a:gd name="T112" fmla="*/ 28 w 112"/>
                  <a:gd name="T113" fmla="*/ 56 h 187"/>
                  <a:gd name="T114" fmla="*/ 36 w 112"/>
                  <a:gd name="T115" fmla="*/ 37 h 187"/>
                  <a:gd name="T116" fmla="*/ 40 w 112"/>
                  <a:gd name="T117" fmla="*/ 32 h 187"/>
                  <a:gd name="T118" fmla="*/ 57 w 112"/>
                  <a:gd name="T119" fmla="*/ 27 h 187"/>
                  <a:gd name="T120" fmla="*/ 58 w 112"/>
                  <a:gd name="T121" fmla="*/ 4 h 187"/>
                  <a:gd name="T122" fmla="*/ 69 w 112"/>
                  <a:gd name="T123" fmla="*/ 1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2" h="187">
                    <a:moveTo>
                      <a:pt x="35" y="59"/>
                    </a:moveTo>
                    <a:cubicBezTo>
                      <a:pt x="37" y="60"/>
                      <a:pt x="42" y="58"/>
                      <a:pt x="43" y="56"/>
                    </a:cubicBezTo>
                    <a:cubicBezTo>
                      <a:pt x="43" y="55"/>
                      <a:pt x="42" y="52"/>
                      <a:pt x="42" y="50"/>
                    </a:cubicBezTo>
                    <a:cubicBezTo>
                      <a:pt x="42" y="50"/>
                      <a:pt x="43" y="47"/>
                      <a:pt x="41" y="49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36" y="59"/>
                      <a:pt x="36" y="59"/>
                      <a:pt x="36" y="59"/>
                    </a:cubicBezTo>
                    <a:cubicBezTo>
                      <a:pt x="35" y="59"/>
                      <a:pt x="35" y="59"/>
                      <a:pt x="35" y="59"/>
                    </a:cubicBezTo>
                    <a:close/>
                    <a:moveTo>
                      <a:pt x="71" y="20"/>
                    </a:moveTo>
                    <a:cubicBezTo>
                      <a:pt x="71" y="20"/>
                      <a:pt x="71" y="20"/>
                      <a:pt x="71" y="20"/>
                    </a:cubicBezTo>
                    <a:close/>
                    <a:moveTo>
                      <a:pt x="72" y="19"/>
                    </a:moveTo>
                    <a:cubicBezTo>
                      <a:pt x="72" y="19"/>
                      <a:pt x="72" y="19"/>
                      <a:pt x="72" y="19"/>
                    </a:cubicBezTo>
                    <a:close/>
                    <a:moveTo>
                      <a:pt x="76" y="10"/>
                    </a:moveTo>
                    <a:cubicBezTo>
                      <a:pt x="76" y="10"/>
                      <a:pt x="76" y="10"/>
                      <a:pt x="76" y="10"/>
                    </a:cubicBezTo>
                    <a:cubicBezTo>
                      <a:pt x="76" y="10"/>
                      <a:pt x="76" y="10"/>
                      <a:pt x="76" y="10"/>
                    </a:cubicBezTo>
                    <a:cubicBezTo>
                      <a:pt x="76" y="10"/>
                      <a:pt x="76" y="10"/>
                      <a:pt x="76" y="10"/>
                    </a:cubicBezTo>
                    <a:close/>
                    <a:moveTo>
                      <a:pt x="73" y="3"/>
                    </a:moveTo>
                    <a:cubicBezTo>
                      <a:pt x="74" y="3"/>
                      <a:pt x="76" y="5"/>
                      <a:pt x="75" y="5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74" y="6"/>
                      <a:pt x="75" y="8"/>
                      <a:pt x="74" y="7"/>
                    </a:cubicBezTo>
                    <a:cubicBezTo>
                      <a:pt x="73" y="6"/>
                      <a:pt x="75" y="9"/>
                      <a:pt x="75" y="10"/>
                    </a:cubicBezTo>
                    <a:cubicBezTo>
                      <a:pt x="75" y="10"/>
                      <a:pt x="75" y="10"/>
                      <a:pt x="75" y="10"/>
                    </a:cubicBezTo>
                    <a:cubicBezTo>
                      <a:pt x="76" y="11"/>
                      <a:pt x="74" y="9"/>
                      <a:pt x="73" y="11"/>
                    </a:cubicBezTo>
                    <a:cubicBezTo>
                      <a:pt x="73" y="11"/>
                      <a:pt x="73" y="11"/>
                      <a:pt x="73" y="12"/>
                    </a:cubicBezTo>
                    <a:cubicBezTo>
                      <a:pt x="73" y="13"/>
                      <a:pt x="74" y="12"/>
                      <a:pt x="73" y="12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3" y="14"/>
                      <a:pt x="74" y="14"/>
                      <a:pt x="73" y="17"/>
                    </a:cubicBezTo>
                    <a:cubicBezTo>
                      <a:pt x="73" y="18"/>
                      <a:pt x="71" y="21"/>
                      <a:pt x="71" y="20"/>
                    </a:cubicBezTo>
                    <a:cubicBezTo>
                      <a:pt x="71" y="21"/>
                      <a:pt x="71" y="21"/>
                      <a:pt x="71" y="21"/>
                    </a:cubicBezTo>
                    <a:cubicBezTo>
                      <a:pt x="71" y="21"/>
                      <a:pt x="71" y="21"/>
                      <a:pt x="71" y="21"/>
                    </a:cubicBezTo>
                    <a:cubicBezTo>
                      <a:pt x="70" y="21"/>
                      <a:pt x="70" y="21"/>
                      <a:pt x="70" y="21"/>
                    </a:cubicBezTo>
                    <a:cubicBezTo>
                      <a:pt x="70" y="22"/>
                      <a:pt x="70" y="22"/>
                      <a:pt x="70" y="22"/>
                    </a:cubicBezTo>
                    <a:cubicBezTo>
                      <a:pt x="70" y="23"/>
                      <a:pt x="70" y="23"/>
                      <a:pt x="70" y="23"/>
                    </a:cubicBezTo>
                    <a:cubicBezTo>
                      <a:pt x="70" y="23"/>
                      <a:pt x="70" y="23"/>
                      <a:pt x="70" y="23"/>
                    </a:cubicBezTo>
                    <a:cubicBezTo>
                      <a:pt x="70" y="24"/>
                      <a:pt x="70" y="24"/>
                      <a:pt x="70" y="24"/>
                    </a:cubicBezTo>
                    <a:cubicBezTo>
                      <a:pt x="70" y="24"/>
                      <a:pt x="68" y="28"/>
                      <a:pt x="72" y="30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76" y="33"/>
                      <a:pt x="76" y="32"/>
                      <a:pt x="81" y="34"/>
                    </a:cubicBezTo>
                    <a:cubicBezTo>
                      <a:pt x="83" y="35"/>
                      <a:pt x="86" y="33"/>
                      <a:pt x="89" y="38"/>
                    </a:cubicBezTo>
                    <a:cubicBezTo>
                      <a:pt x="91" y="40"/>
                      <a:pt x="90" y="41"/>
                      <a:pt x="93" y="43"/>
                    </a:cubicBezTo>
                    <a:cubicBezTo>
                      <a:pt x="95" y="45"/>
                      <a:pt x="99" y="49"/>
                      <a:pt x="99" y="51"/>
                    </a:cubicBezTo>
                    <a:cubicBezTo>
                      <a:pt x="101" y="55"/>
                      <a:pt x="98" y="64"/>
                      <a:pt x="96" y="67"/>
                    </a:cubicBezTo>
                    <a:cubicBezTo>
                      <a:pt x="94" y="74"/>
                      <a:pt x="94" y="74"/>
                      <a:pt x="94" y="74"/>
                    </a:cubicBezTo>
                    <a:cubicBezTo>
                      <a:pt x="94" y="77"/>
                      <a:pt x="94" y="77"/>
                      <a:pt x="94" y="77"/>
                    </a:cubicBezTo>
                    <a:cubicBezTo>
                      <a:pt x="95" y="86"/>
                      <a:pt x="91" y="81"/>
                      <a:pt x="89" y="85"/>
                    </a:cubicBezTo>
                    <a:cubicBezTo>
                      <a:pt x="88" y="87"/>
                      <a:pt x="84" y="86"/>
                      <a:pt x="84" y="84"/>
                    </a:cubicBezTo>
                    <a:cubicBezTo>
                      <a:pt x="85" y="83"/>
                      <a:pt x="87" y="87"/>
                      <a:pt x="87" y="84"/>
                    </a:cubicBezTo>
                    <a:cubicBezTo>
                      <a:pt x="87" y="83"/>
                      <a:pt x="87" y="83"/>
                      <a:pt x="87" y="83"/>
                    </a:cubicBezTo>
                    <a:cubicBezTo>
                      <a:pt x="87" y="81"/>
                      <a:pt x="86" y="84"/>
                      <a:pt x="84" y="83"/>
                    </a:cubicBezTo>
                    <a:cubicBezTo>
                      <a:pt x="84" y="83"/>
                      <a:pt x="85" y="80"/>
                      <a:pt x="85" y="77"/>
                    </a:cubicBezTo>
                    <a:cubicBezTo>
                      <a:pt x="85" y="77"/>
                      <a:pt x="85" y="77"/>
                      <a:pt x="85" y="77"/>
                    </a:cubicBezTo>
                    <a:cubicBezTo>
                      <a:pt x="86" y="75"/>
                      <a:pt x="87" y="75"/>
                      <a:pt x="88" y="73"/>
                    </a:cubicBezTo>
                    <a:cubicBezTo>
                      <a:pt x="93" y="66"/>
                      <a:pt x="89" y="62"/>
                      <a:pt x="91" y="54"/>
                    </a:cubicBezTo>
                    <a:cubicBezTo>
                      <a:pt x="92" y="53"/>
                      <a:pt x="91" y="52"/>
                      <a:pt x="90" y="52"/>
                    </a:cubicBezTo>
                    <a:cubicBezTo>
                      <a:pt x="88" y="51"/>
                      <a:pt x="88" y="51"/>
                      <a:pt x="88" y="51"/>
                    </a:cubicBezTo>
                    <a:cubicBezTo>
                      <a:pt x="87" y="50"/>
                      <a:pt x="87" y="50"/>
                      <a:pt x="87" y="50"/>
                    </a:cubicBezTo>
                    <a:cubicBezTo>
                      <a:pt x="87" y="50"/>
                      <a:pt x="87" y="50"/>
                      <a:pt x="87" y="50"/>
                    </a:cubicBezTo>
                    <a:cubicBezTo>
                      <a:pt x="86" y="49"/>
                      <a:pt x="86" y="49"/>
                      <a:pt x="86" y="49"/>
                    </a:cubicBezTo>
                    <a:cubicBezTo>
                      <a:pt x="86" y="49"/>
                      <a:pt x="86" y="49"/>
                      <a:pt x="86" y="49"/>
                    </a:cubicBezTo>
                    <a:cubicBezTo>
                      <a:pt x="82" y="47"/>
                      <a:pt x="82" y="47"/>
                      <a:pt x="80" y="50"/>
                    </a:cubicBezTo>
                    <a:cubicBezTo>
                      <a:pt x="80" y="50"/>
                      <a:pt x="80" y="50"/>
                      <a:pt x="80" y="50"/>
                    </a:cubicBezTo>
                    <a:cubicBezTo>
                      <a:pt x="79" y="52"/>
                      <a:pt x="79" y="52"/>
                      <a:pt x="79" y="52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76" y="62"/>
                      <a:pt x="76" y="62"/>
                      <a:pt x="76" y="62"/>
                    </a:cubicBezTo>
                    <a:cubicBezTo>
                      <a:pt x="76" y="62"/>
                      <a:pt x="76" y="63"/>
                      <a:pt x="75" y="63"/>
                    </a:cubicBezTo>
                    <a:cubicBezTo>
                      <a:pt x="75" y="63"/>
                      <a:pt x="76" y="63"/>
                      <a:pt x="75" y="65"/>
                    </a:cubicBezTo>
                    <a:cubicBezTo>
                      <a:pt x="73" y="77"/>
                      <a:pt x="73" y="77"/>
                      <a:pt x="73" y="77"/>
                    </a:cubicBezTo>
                    <a:cubicBezTo>
                      <a:pt x="73" y="82"/>
                      <a:pt x="73" y="80"/>
                      <a:pt x="75" y="85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8"/>
                      <a:pt x="76" y="88"/>
                      <a:pt x="76" y="88"/>
                    </a:cubicBezTo>
                    <a:cubicBezTo>
                      <a:pt x="76" y="89"/>
                      <a:pt x="76" y="89"/>
                      <a:pt x="76" y="89"/>
                    </a:cubicBezTo>
                    <a:cubicBezTo>
                      <a:pt x="77" y="89"/>
                      <a:pt x="77" y="89"/>
                      <a:pt x="77" y="89"/>
                    </a:cubicBezTo>
                    <a:cubicBezTo>
                      <a:pt x="81" y="95"/>
                      <a:pt x="77" y="105"/>
                      <a:pt x="72" y="109"/>
                    </a:cubicBezTo>
                    <a:cubicBezTo>
                      <a:pt x="71" y="110"/>
                      <a:pt x="71" y="110"/>
                      <a:pt x="71" y="110"/>
                    </a:cubicBezTo>
                    <a:cubicBezTo>
                      <a:pt x="71" y="110"/>
                      <a:pt x="71" y="110"/>
                      <a:pt x="71" y="110"/>
                    </a:cubicBezTo>
                    <a:cubicBezTo>
                      <a:pt x="69" y="111"/>
                      <a:pt x="70" y="110"/>
                      <a:pt x="71" y="117"/>
                    </a:cubicBezTo>
                    <a:cubicBezTo>
                      <a:pt x="71" y="117"/>
                      <a:pt x="71" y="117"/>
                      <a:pt x="71" y="117"/>
                    </a:cubicBezTo>
                    <a:cubicBezTo>
                      <a:pt x="71" y="118"/>
                      <a:pt x="72" y="124"/>
                      <a:pt x="73" y="123"/>
                    </a:cubicBezTo>
                    <a:cubicBezTo>
                      <a:pt x="74" y="123"/>
                      <a:pt x="79" y="122"/>
                      <a:pt x="80" y="123"/>
                    </a:cubicBezTo>
                    <a:cubicBezTo>
                      <a:pt x="82" y="123"/>
                      <a:pt x="92" y="125"/>
                      <a:pt x="94" y="123"/>
                    </a:cubicBezTo>
                    <a:cubicBezTo>
                      <a:pt x="94" y="123"/>
                      <a:pt x="94" y="123"/>
                      <a:pt x="94" y="123"/>
                    </a:cubicBezTo>
                    <a:cubicBezTo>
                      <a:pt x="98" y="120"/>
                      <a:pt x="98" y="120"/>
                      <a:pt x="98" y="120"/>
                    </a:cubicBezTo>
                    <a:cubicBezTo>
                      <a:pt x="99" y="119"/>
                      <a:pt x="99" y="119"/>
                      <a:pt x="99" y="119"/>
                    </a:cubicBezTo>
                    <a:cubicBezTo>
                      <a:pt x="99" y="119"/>
                      <a:pt x="99" y="119"/>
                      <a:pt x="99" y="119"/>
                    </a:cubicBezTo>
                    <a:cubicBezTo>
                      <a:pt x="100" y="118"/>
                      <a:pt x="100" y="117"/>
                      <a:pt x="102" y="118"/>
                    </a:cubicBezTo>
                    <a:cubicBezTo>
                      <a:pt x="107" y="122"/>
                      <a:pt x="103" y="125"/>
                      <a:pt x="106" y="129"/>
                    </a:cubicBezTo>
                    <a:cubicBezTo>
                      <a:pt x="110" y="133"/>
                      <a:pt x="112" y="135"/>
                      <a:pt x="111" y="141"/>
                    </a:cubicBezTo>
                    <a:cubicBezTo>
                      <a:pt x="110" y="142"/>
                      <a:pt x="108" y="143"/>
                      <a:pt x="106" y="142"/>
                    </a:cubicBezTo>
                    <a:cubicBezTo>
                      <a:pt x="104" y="139"/>
                      <a:pt x="104" y="139"/>
                      <a:pt x="104" y="139"/>
                    </a:cubicBezTo>
                    <a:cubicBezTo>
                      <a:pt x="104" y="139"/>
                      <a:pt x="104" y="139"/>
                      <a:pt x="104" y="139"/>
                    </a:cubicBezTo>
                    <a:cubicBezTo>
                      <a:pt x="101" y="134"/>
                      <a:pt x="96" y="135"/>
                      <a:pt x="96" y="134"/>
                    </a:cubicBezTo>
                    <a:cubicBezTo>
                      <a:pt x="95" y="133"/>
                      <a:pt x="98" y="133"/>
                      <a:pt x="91" y="133"/>
                    </a:cubicBezTo>
                    <a:cubicBezTo>
                      <a:pt x="86" y="132"/>
                      <a:pt x="79" y="135"/>
                      <a:pt x="75" y="137"/>
                    </a:cubicBezTo>
                    <a:cubicBezTo>
                      <a:pt x="75" y="137"/>
                      <a:pt x="75" y="137"/>
                      <a:pt x="75" y="137"/>
                    </a:cubicBezTo>
                    <a:cubicBezTo>
                      <a:pt x="69" y="140"/>
                      <a:pt x="69" y="140"/>
                      <a:pt x="69" y="140"/>
                    </a:cubicBezTo>
                    <a:cubicBezTo>
                      <a:pt x="68" y="141"/>
                      <a:pt x="65" y="140"/>
                      <a:pt x="64" y="139"/>
                    </a:cubicBezTo>
                    <a:cubicBezTo>
                      <a:pt x="60" y="132"/>
                      <a:pt x="60" y="132"/>
                      <a:pt x="60" y="132"/>
                    </a:cubicBezTo>
                    <a:cubicBezTo>
                      <a:pt x="58" y="130"/>
                      <a:pt x="58" y="130"/>
                      <a:pt x="58" y="130"/>
                    </a:cubicBezTo>
                    <a:cubicBezTo>
                      <a:pt x="58" y="129"/>
                      <a:pt x="58" y="129"/>
                      <a:pt x="58" y="129"/>
                    </a:cubicBezTo>
                    <a:cubicBezTo>
                      <a:pt x="57" y="128"/>
                      <a:pt x="57" y="128"/>
                      <a:pt x="57" y="128"/>
                    </a:cubicBezTo>
                    <a:cubicBezTo>
                      <a:pt x="56" y="126"/>
                      <a:pt x="56" y="126"/>
                      <a:pt x="56" y="126"/>
                    </a:cubicBezTo>
                    <a:cubicBezTo>
                      <a:pt x="55" y="124"/>
                      <a:pt x="55" y="124"/>
                      <a:pt x="51" y="127"/>
                    </a:cubicBezTo>
                    <a:cubicBezTo>
                      <a:pt x="50" y="128"/>
                      <a:pt x="50" y="128"/>
                      <a:pt x="50" y="128"/>
                    </a:cubicBezTo>
                    <a:cubicBezTo>
                      <a:pt x="43" y="134"/>
                      <a:pt x="43" y="134"/>
                      <a:pt x="43" y="134"/>
                    </a:cubicBezTo>
                    <a:cubicBezTo>
                      <a:pt x="42" y="138"/>
                      <a:pt x="43" y="143"/>
                      <a:pt x="41" y="147"/>
                    </a:cubicBezTo>
                    <a:cubicBezTo>
                      <a:pt x="40" y="150"/>
                      <a:pt x="40" y="150"/>
                      <a:pt x="40" y="150"/>
                    </a:cubicBezTo>
                    <a:cubicBezTo>
                      <a:pt x="36" y="155"/>
                      <a:pt x="36" y="155"/>
                      <a:pt x="36" y="155"/>
                    </a:cubicBezTo>
                    <a:cubicBezTo>
                      <a:pt x="33" y="159"/>
                      <a:pt x="33" y="159"/>
                      <a:pt x="33" y="159"/>
                    </a:cubicBezTo>
                    <a:cubicBezTo>
                      <a:pt x="31" y="162"/>
                      <a:pt x="31" y="162"/>
                      <a:pt x="31" y="162"/>
                    </a:cubicBezTo>
                    <a:cubicBezTo>
                      <a:pt x="31" y="162"/>
                      <a:pt x="31" y="162"/>
                      <a:pt x="31" y="162"/>
                    </a:cubicBezTo>
                    <a:cubicBezTo>
                      <a:pt x="30" y="163"/>
                      <a:pt x="30" y="163"/>
                      <a:pt x="30" y="163"/>
                    </a:cubicBezTo>
                    <a:cubicBezTo>
                      <a:pt x="29" y="165"/>
                      <a:pt x="29" y="165"/>
                      <a:pt x="29" y="165"/>
                    </a:cubicBezTo>
                    <a:cubicBezTo>
                      <a:pt x="27" y="168"/>
                      <a:pt x="27" y="168"/>
                      <a:pt x="27" y="168"/>
                    </a:cubicBezTo>
                    <a:cubicBezTo>
                      <a:pt x="26" y="168"/>
                      <a:pt x="26" y="168"/>
                      <a:pt x="26" y="168"/>
                    </a:cubicBezTo>
                    <a:cubicBezTo>
                      <a:pt x="25" y="170"/>
                      <a:pt x="25" y="170"/>
                      <a:pt x="25" y="170"/>
                    </a:cubicBezTo>
                    <a:cubicBezTo>
                      <a:pt x="25" y="171"/>
                      <a:pt x="25" y="171"/>
                      <a:pt x="25" y="171"/>
                    </a:cubicBezTo>
                    <a:cubicBezTo>
                      <a:pt x="24" y="172"/>
                      <a:pt x="24" y="172"/>
                      <a:pt x="24" y="172"/>
                    </a:cubicBezTo>
                    <a:cubicBezTo>
                      <a:pt x="24" y="172"/>
                      <a:pt x="24" y="172"/>
                      <a:pt x="24" y="172"/>
                    </a:cubicBezTo>
                    <a:cubicBezTo>
                      <a:pt x="22" y="176"/>
                      <a:pt x="22" y="176"/>
                      <a:pt x="22" y="176"/>
                    </a:cubicBezTo>
                    <a:cubicBezTo>
                      <a:pt x="22" y="176"/>
                      <a:pt x="22" y="178"/>
                      <a:pt x="21" y="180"/>
                    </a:cubicBezTo>
                    <a:cubicBezTo>
                      <a:pt x="20" y="181"/>
                      <a:pt x="20" y="183"/>
                      <a:pt x="19" y="184"/>
                    </a:cubicBezTo>
                    <a:cubicBezTo>
                      <a:pt x="18" y="184"/>
                      <a:pt x="19" y="187"/>
                      <a:pt x="14" y="184"/>
                    </a:cubicBezTo>
                    <a:cubicBezTo>
                      <a:pt x="7" y="180"/>
                      <a:pt x="8" y="181"/>
                      <a:pt x="4" y="179"/>
                    </a:cubicBezTo>
                    <a:cubicBezTo>
                      <a:pt x="3" y="178"/>
                      <a:pt x="3" y="178"/>
                      <a:pt x="3" y="178"/>
                    </a:cubicBezTo>
                    <a:cubicBezTo>
                      <a:pt x="2" y="177"/>
                      <a:pt x="0" y="176"/>
                      <a:pt x="2" y="172"/>
                    </a:cubicBezTo>
                    <a:cubicBezTo>
                      <a:pt x="3" y="170"/>
                      <a:pt x="6" y="173"/>
                      <a:pt x="8" y="173"/>
                    </a:cubicBezTo>
                    <a:cubicBezTo>
                      <a:pt x="10" y="172"/>
                      <a:pt x="10" y="172"/>
                      <a:pt x="10" y="172"/>
                    </a:cubicBezTo>
                    <a:cubicBezTo>
                      <a:pt x="11" y="171"/>
                      <a:pt x="15" y="171"/>
                      <a:pt x="13" y="169"/>
                    </a:cubicBezTo>
                    <a:cubicBezTo>
                      <a:pt x="12" y="169"/>
                      <a:pt x="12" y="169"/>
                      <a:pt x="12" y="169"/>
                    </a:cubicBezTo>
                    <a:cubicBezTo>
                      <a:pt x="9" y="169"/>
                      <a:pt x="12" y="167"/>
                      <a:pt x="13" y="167"/>
                    </a:cubicBezTo>
                    <a:cubicBezTo>
                      <a:pt x="13" y="168"/>
                      <a:pt x="14" y="168"/>
                      <a:pt x="14" y="170"/>
                    </a:cubicBezTo>
                    <a:cubicBezTo>
                      <a:pt x="16" y="168"/>
                      <a:pt x="16" y="168"/>
                      <a:pt x="16" y="168"/>
                    </a:cubicBezTo>
                    <a:cubicBezTo>
                      <a:pt x="16" y="169"/>
                      <a:pt x="16" y="170"/>
                      <a:pt x="17" y="169"/>
                    </a:cubicBezTo>
                    <a:cubicBezTo>
                      <a:pt x="18" y="168"/>
                      <a:pt x="18" y="168"/>
                      <a:pt x="18" y="168"/>
                    </a:cubicBezTo>
                    <a:cubicBezTo>
                      <a:pt x="18" y="168"/>
                      <a:pt x="18" y="168"/>
                      <a:pt x="18" y="168"/>
                    </a:cubicBezTo>
                    <a:cubicBezTo>
                      <a:pt x="19" y="166"/>
                      <a:pt x="19" y="166"/>
                      <a:pt x="19" y="166"/>
                    </a:cubicBezTo>
                    <a:cubicBezTo>
                      <a:pt x="20" y="166"/>
                      <a:pt x="20" y="166"/>
                      <a:pt x="20" y="166"/>
                    </a:cubicBezTo>
                    <a:cubicBezTo>
                      <a:pt x="20" y="165"/>
                      <a:pt x="20" y="165"/>
                      <a:pt x="20" y="165"/>
                    </a:cubicBezTo>
                    <a:cubicBezTo>
                      <a:pt x="20" y="165"/>
                      <a:pt x="20" y="165"/>
                      <a:pt x="20" y="165"/>
                    </a:cubicBezTo>
                    <a:cubicBezTo>
                      <a:pt x="21" y="164"/>
                      <a:pt x="21" y="164"/>
                      <a:pt x="21" y="164"/>
                    </a:cubicBezTo>
                    <a:cubicBezTo>
                      <a:pt x="21" y="163"/>
                      <a:pt x="26" y="149"/>
                      <a:pt x="29" y="143"/>
                    </a:cubicBezTo>
                    <a:cubicBezTo>
                      <a:pt x="36" y="129"/>
                      <a:pt x="32" y="133"/>
                      <a:pt x="33" y="125"/>
                    </a:cubicBezTo>
                    <a:cubicBezTo>
                      <a:pt x="37" y="120"/>
                      <a:pt x="37" y="120"/>
                      <a:pt x="37" y="120"/>
                    </a:cubicBezTo>
                    <a:cubicBezTo>
                      <a:pt x="37" y="120"/>
                      <a:pt x="37" y="120"/>
                      <a:pt x="37" y="120"/>
                    </a:cubicBezTo>
                    <a:cubicBezTo>
                      <a:pt x="37" y="119"/>
                      <a:pt x="37" y="119"/>
                      <a:pt x="37" y="119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40" y="116"/>
                      <a:pt x="40" y="116"/>
                      <a:pt x="40" y="116"/>
                    </a:cubicBezTo>
                    <a:cubicBezTo>
                      <a:pt x="41" y="115"/>
                      <a:pt x="41" y="115"/>
                      <a:pt x="41" y="115"/>
                    </a:cubicBezTo>
                    <a:cubicBezTo>
                      <a:pt x="41" y="114"/>
                      <a:pt x="41" y="114"/>
                      <a:pt x="41" y="114"/>
                    </a:cubicBezTo>
                    <a:cubicBezTo>
                      <a:pt x="41" y="113"/>
                      <a:pt x="41" y="113"/>
                      <a:pt x="41" y="113"/>
                    </a:cubicBezTo>
                    <a:cubicBezTo>
                      <a:pt x="43" y="112"/>
                      <a:pt x="43" y="112"/>
                      <a:pt x="43" y="112"/>
                    </a:cubicBezTo>
                    <a:cubicBezTo>
                      <a:pt x="44" y="110"/>
                      <a:pt x="44" y="110"/>
                      <a:pt x="44" y="110"/>
                    </a:cubicBezTo>
                    <a:cubicBezTo>
                      <a:pt x="45" y="108"/>
                      <a:pt x="45" y="108"/>
                      <a:pt x="45" y="108"/>
                    </a:cubicBezTo>
                    <a:cubicBezTo>
                      <a:pt x="45" y="107"/>
                      <a:pt x="45" y="107"/>
                      <a:pt x="45" y="107"/>
                    </a:cubicBezTo>
                    <a:cubicBezTo>
                      <a:pt x="47" y="106"/>
                      <a:pt x="46" y="105"/>
                      <a:pt x="46" y="103"/>
                    </a:cubicBezTo>
                    <a:cubicBezTo>
                      <a:pt x="46" y="103"/>
                      <a:pt x="46" y="103"/>
                      <a:pt x="46" y="103"/>
                    </a:cubicBezTo>
                    <a:cubicBezTo>
                      <a:pt x="44" y="100"/>
                      <a:pt x="43" y="88"/>
                      <a:pt x="43" y="84"/>
                    </a:cubicBezTo>
                    <a:cubicBezTo>
                      <a:pt x="44" y="83"/>
                      <a:pt x="43" y="82"/>
                      <a:pt x="44" y="81"/>
                    </a:cubicBezTo>
                    <a:cubicBezTo>
                      <a:pt x="46" y="68"/>
                      <a:pt x="45" y="75"/>
                      <a:pt x="44" y="67"/>
                    </a:cubicBezTo>
                    <a:cubicBezTo>
                      <a:pt x="44" y="64"/>
                      <a:pt x="45" y="64"/>
                      <a:pt x="42" y="64"/>
                    </a:cubicBezTo>
                    <a:cubicBezTo>
                      <a:pt x="41" y="64"/>
                      <a:pt x="40" y="64"/>
                      <a:pt x="39" y="65"/>
                    </a:cubicBezTo>
                    <a:cubicBezTo>
                      <a:pt x="35" y="67"/>
                      <a:pt x="35" y="67"/>
                      <a:pt x="35" y="67"/>
                    </a:cubicBezTo>
                    <a:cubicBezTo>
                      <a:pt x="33" y="68"/>
                      <a:pt x="31" y="68"/>
                      <a:pt x="29" y="68"/>
                    </a:cubicBezTo>
                    <a:cubicBezTo>
                      <a:pt x="27" y="67"/>
                      <a:pt x="27" y="67"/>
                      <a:pt x="27" y="67"/>
                    </a:cubicBezTo>
                    <a:cubicBezTo>
                      <a:pt x="24" y="65"/>
                      <a:pt x="25" y="63"/>
                      <a:pt x="26" y="60"/>
                    </a:cubicBezTo>
                    <a:cubicBezTo>
                      <a:pt x="26" y="59"/>
                      <a:pt x="26" y="59"/>
                      <a:pt x="26" y="59"/>
                    </a:cubicBezTo>
                    <a:cubicBezTo>
                      <a:pt x="27" y="58"/>
                      <a:pt x="27" y="58"/>
                      <a:pt x="27" y="58"/>
                    </a:cubicBezTo>
                    <a:cubicBezTo>
                      <a:pt x="28" y="57"/>
                      <a:pt x="28" y="57"/>
                      <a:pt x="28" y="57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35" y="39"/>
                      <a:pt x="35" y="39"/>
                      <a:pt x="35" y="39"/>
                    </a:cubicBezTo>
                    <a:cubicBezTo>
                      <a:pt x="35" y="39"/>
                      <a:pt x="35" y="39"/>
                      <a:pt x="35" y="39"/>
                    </a:cubicBezTo>
                    <a:cubicBezTo>
                      <a:pt x="36" y="37"/>
                      <a:pt x="36" y="37"/>
                      <a:pt x="36" y="37"/>
                    </a:cubicBezTo>
                    <a:cubicBezTo>
                      <a:pt x="36" y="37"/>
                      <a:pt x="36" y="37"/>
                      <a:pt x="37" y="37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40" y="32"/>
                      <a:pt x="40" y="32"/>
                      <a:pt x="40" y="32"/>
                    </a:cubicBezTo>
                    <a:cubicBezTo>
                      <a:pt x="42" y="31"/>
                      <a:pt x="49" y="29"/>
                      <a:pt x="52" y="29"/>
                    </a:cubicBezTo>
                    <a:cubicBezTo>
                      <a:pt x="53" y="29"/>
                      <a:pt x="53" y="29"/>
                      <a:pt x="53" y="29"/>
                    </a:cubicBezTo>
                    <a:cubicBezTo>
                      <a:pt x="55" y="29"/>
                      <a:pt x="56" y="28"/>
                      <a:pt x="57" y="27"/>
                    </a:cubicBezTo>
                    <a:cubicBezTo>
                      <a:pt x="58" y="25"/>
                      <a:pt x="57" y="23"/>
                      <a:pt x="56" y="21"/>
                    </a:cubicBezTo>
                    <a:cubicBezTo>
                      <a:pt x="55" y="16"/>
                      <a:pt x="55" y="16"/>
                      <a:pt x="56" y="10"/>
                    </a:cubicBezTo>
                    <a:cubicBezTo>
                      <a:pt x="56" y="8"/>
                      <a:pt x="56" y="6"/>
                      <a:pt x="58" y="4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59" y="2"/>
                      <a:pt x="62" y="1"/>
                      <a:pt x="64" y="1"/>
                    </a:cubicBezTo>
                    <a:cubicBezTo>
                      <a:pt x="69" y="1"/>
                      <a:pt x="69" y="1"/>
                      <a:pt x="69" y="1"/>
                    </a:cubicBezTo>
                    <a:cubicBezTo>
                      <a:pt x="70" y="0"/>
                      <a:pt x="72" y="2"/>
                      <a:pt x="73" y="2"/>
                    </a:cubicBezTo>
                    <a:cubicBezTo>
                      <a:pt x="73" y="3"/>
                      <a:pt x="73" y="3"/>
                      <a:pt x="73" y="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89" name="矩形 1"/>
            <p:cNvSpPr>
              <a:spLocks noChangeArrowheads="1"/>
            </p:cNvSpPr>
            <p:nvPr/>
          </p:nvSpPr>
          <p:spPr bwMode="auto">
            <a:xfrm>
              <a:off x="1615123" y="4195374"/>
              <a:ext cx="8961755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>
                <a:lnSpc>
                  <a:spcPct val="150000"/>
                </a:lnSpc>
              </a:pP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dirty="0" smtClean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坚持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14384068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15" name="组合 14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2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7" name="文本框 16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sp>
        <p:nvSpPr>
          <p:cNvPr id="7" name="任意多边形 6"/>
          <p:cNvSpPr/>
          <p:nvPr/>
        </p:nvSpPr>
        <p:spPr>
          <a:xfrm>
            <a:off x="520224" y="2710412"/>
            <a:ext cx="2274428" cy="1875928"/>
          </a:xfrm>
          <a:custGeom>
            <a:avLst/>
            <a:gdLst>
              <a:gd name="connsiteX0" fmla="*/ 0 w 2274428"/>
              <a:gd name="connsiteY0" fmla="*/ 187593 h 1875928"/>
              <a:gd name="connsiteX1" fmla="*/ 187593 w 2274428"/>
              <a:gd name="connsiteY1" fmla="*/ 0 h 1875928"/>
              <a:gd name="connsiteX2" fmla="*/ 2086835 w 2274428"/>
              <a:gd name="connsiteY2" fmla="*/ 0 h 1875928"/>
              <a:gd name="connsiteX3" fmla="*/ 2274428 w 2274428"/>
              <a:gd name="connsiteY3" fmla="*/ 187593 h 1875928"/>
              <a:gd name="connsiteX4" fmla="*/ 2274428 w 2274428"/>
              <a:gd name="connsiteY4" fmla="*/ 1688335 h 1875928"/>
              <a:gd name="connsiteX5" fmla="*/ 2086835 w 2274428"/>
              <a:gd name="connsiteY5" fmla="*/ 1875928 h 1875928"/>
              <a:gd name="connsiteX6" fmla="*/ 187593 w 2274428"/>
              <a:gd name="connsiteY6" fmla="*/ 1875928 h 1875928"/>
              <a:gd name="connsiteX7" fmla="*/ 0 w 2274428"/>
              <a:gd name="connsiteY7" fmla="*/ 1688335 h 1875928"/>
              <a:gd name="connsiteX8" fmla="*/ 0 w 2274428"/>
              <a:gd name="connsiteY8" fmla="*/ 187593 h 1875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428" h="1875928">
                <a:moveTo>
                  <a:pt x="0" y="187593"/>
                </a:moveTo>
                <a:cubicBezTo>
                  <a:pt x="0" y="83988"/>
                  <a:pt x="83988" y="0"/>
                  <a:pt x="187593" y="0"/>
                </a:cubicBezTo>
                <a:lnTo>
                  <a:pt x="2086835" y="0"/>
                </a:lnTo>
                <a:cubicBezTo>
                  <a:pt x="2190440" y="0"/>
                  <a:pt x="2274428" y="83988"/>
                  <a:pt x="2274428" y="187593"/>
                </a:cubicBezTo>
                <a:lnTo>
                  <a:pt x="2274428" y="1688335"/>
                </a:lnTo>
                <a:cubicBezTo>
                  <a:pt x="2274428" y="1791940"/>
                  <a:pt x="2190440" y="1875928"/>
                  <a:pt x="2086835" y="1875928"/>
                </a:cubicBezTo>
                <a:lnTo>
                  <a:pt x="187593" y="1875928"/>
                </a:lnTo>
                <a:cubicBezTo>
                  <a:pt x="83988" y="1875928"/>
                  <a:pt x="0" y="1791940"/>
                  <a:pt x="0" y="1688335"/>
                </a:cubicBezTo>
                <a:lnTo>
                  <a:pt x="0" y="187593"/>
                </a:lnTo>
                <a:close/>
              </a:path>
            </a:pathLst>
          </a:custGeom>
          <a:solidFill>
            <a:schemeClr val="lt1">
              <a:hueOff val="0"/>
              <a:satOff val="0"/>
              <a:lumOff val="0"/>
              <a:alpha val="1000"/>
            </a:schemeClr>
          </a:solidFill>
          <a:ln>
            <a:solidFill>
              <a:srgbClr val="DBDBDB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9840" tIns="69840" rIns="69840" bIns="471825" numCol="1" spcCol="1270" anchor="t" anchorCtr="0">
            <a:noAutofit/>
          </a:bodyPr>
          <a:lstStyle/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CN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</a:t>
            </a:r>
            <a:endParaRPr lang="zh-CN" altLang="en-US" sz="14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CN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</a:t>
            </a:r>
            <a:endParaRPr lang="zh-CN" altLang="en-US" sz="14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形状 12"/>
          <p:cNvSpPr/>
          <p:nvPr/>
        </p:nvSpPr>
        <p:spPr>
          <a:xfrm>
            <a:off x="1807198" y="3188819"/>
            <a:ext cx="2461563" cy="2461563"/>
          </a:xfrm>
          <a:prstGeom prst="leftCircularArrow">
            <a:avLst>
              <a:gd name="adj1" fmla="val 2966"/>
              <a:gd name="adj2" fmla="val 363381"/>
              <a:gd name="adj3" fmla="val 2138892"/>
              <a:gd name="adj4" fmla="val 9024489"/>
              <a:gd name="adj5" fmla="val 3460"/>
            </a:avLst>
          </a:prstGeom>
          <a:solidFill>
            <a:schemeClr val="bg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4" name="任意多边形 13"/>
          <p:cNvSpPr/>
          <p:nvPr/>
        </p:nvSpPr>
        <p:spPr>
          <a:xfrm>
            <a:off x="1025653" y="4184356"/>
            <a:ext cx="2021714" cy="803969"/>
          </a:xfrm>
          <a:custGeom>
            <a:avLst/>
            <a:gdLst>
              <a:gd name="connsiteX0" fmla="*/ 0 w 2021714"/>
              <a:gd name="connsiteY0" fmla="*/ 80397 h 803969"/>
              <a:gd name="connsiteX1" fmla="*/ 80397 w 2021714"/>
              <a:gd name="connsiteY1" fmla="*/ 0 h 803969"/>
              <a:gd name="connsiteX2" fmla="*/ 1941317 w 2021714"/>
              <a:gd name="connsiteY2" fmla="*/ 0 h 803969"/>
              <a:gd name="connsiteX3" fmla="*/ 2021714 w 2021714"/>
              <a:gd name="connsiteY3" fmla="*/ 80397 h 803969"/>
              <a:gd name="connsiteX4" fmla="*/ 2021714 w 2021714"/>
              <a:gd name="connsiteY4" fmla="*/ 723572 h 803969"/>
              <a:gd name="connsiteX5" fmla="*/ 1941317 w 2021714"/>
              <a:gd name="connsiteY5" fmla="*/ 803969 h 803969"/>
              <a:gd name="connsiteX6" fmla="*/ 80397 w 2021714"/>
              <a:gd name="connsiteY6" fmla="*/ 803969 h 803969"/>
              <a:gd name="connsiteX7" fmla="*/ 0 w 2021714"/>
              <a:gd name="connsiteY7" fmla="*/ 723572 h 803969"/>
              <a:gd name="connsiteX8" fmla="*/ 0 w 2021714"/>
              <a:gd name="connsiteY8" fmla="*/ 80397 h 803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21714" h="803969">
                <a:moveTo>
                  <a:pt x="0" y="80397"/>
                </a:moveTo>
                <a:cubicBezTo>
                  <a:pt x="0" y="35995"/>
                  <a:pt x="35995" y="0"/>
                  <a:pt x="80397" y="0"/>
                </a:cubicBezTo>
                <a:lnTo>
                  <a:pt x="1941317" y="0"/>
                </a:lnTo>
                <a:cubicBezTo>
                  <a:pt x="1985719" y="0"/>
                  <a:pt x="2021714" y="35995"/>
                  <a:pt x="2021714" y="80397"/>
                </a:cubicBezTo>
                <a:lnTo>
                  <a:pt x="2021714" y="723572"/>
                </a:lnTo>
                <a:cubicBezTo>
                  <a:pt x="2021714" y="767974"/>
                  <a:pt x="1985719" y="803969"/>
                  <a:pt x="1941317" y="803969"/>
                </a:cubicBezTo>
                <a:lnTo>
                  <a:pt x="80397" y="803969"/>
                </a:lnTo>
                <a:cubicBezTo>
                  <a:pt x="35995" y="803969"/>
                  <a:pt x="0" y="767974"/>
                  <a:pt x="0" y="723572"/>
                </a:cubicBezTo>
                <a:lnTo>
                  <a:pt x="0" y="80397"/>
                </a:lnTo>
                <a:close/>
              </a:path>
            </a:pathLst>
          </a:custGeom>
          <a:solidFill>
            <a:srgbClr val="49494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127" tIns="69267" rIns="92127" bIns="69267" numCol="1" spcCol="1270" anchor="ctr" anchorCtr="0">
            <a:noAutofit/>
          </a:bodyPr>
          <a:lstStyle/>
          <a:p>
            <a:pPr lvl="0" algn="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000" kern="12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2000" kern="1200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任意多边形 15"/>
          <p:cNvSpPr/>
          <p:nvPr/>
        </p:nvSpPr>
        <p:spPr>
          <a:xfrm>
            <a:off x="3395027" y="2710412"/>
            <a:ext cx="2274428" cy="1875928"/>
          </a:xfrm>
          <a:custGeom>
            <a:avLst/>
            <a:gdLst>
              <a:gd name="connsiteX0" fmla="*/ 0 w 2274428"/>
              <a:gd name="connsiteY0" fmla="*/ 187593 h 1875928"/>
              <a:gd name="connsiteX1" fmla="*/ 187593 w 2274428"/>
              <a:gd name="connsiteY1" fmla="*/ 0 h 1875928"/>
              <a:gd name="connsiteX2" fmla="*/ 2086835 w 2274428"/>
              <a:gd name="connsiteY2" fmla="*/ 0 h 1875928"/>
              <a:gd name="connsiteX3" fmla="*/ 2274428 w 2274428"/>
              <a:gd name="connsiteY3" fmla="*/ 187593 h 1875928"/>
              <a:gd name="connsiteX4" fmla="*/ 2274428 w 2274428"/>
              <a:gd name="connsiteY4" fmla="*/ 1688335 h 1875928"/>
              <a:gd name="connsiteX5" fmla="*/ 2086835 w 2274428"/>
              <a:gd name="connsiteY5" fmla="*/ 1875928 h 1875928"/>
              <a:gd name="connsiteX6" fmla="*/ 187593 w 2274428"/>
              <a:gd name="connsiteY6" fmla="*/ 1875928 h 1875928"/>
              <a:gd name="connsiteX7" fmla="*/ 0 w 2274428"/>
              <a:gd name="connsiteY7" fmla="*/ 1688335 h 1875928"/>
              <a:gd name="connsiteX8" fmla="*/ 0 w 2274428"/>
              <a:gd name="connsiteY8" fmla="*/ 187593 h 1875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428" h="1875928">
                <a:moveTo>
                  <a:pt x="0" y="187593"/>
                </a:moveTo>
                <a:cubicBezTo>
                  <a:pt x="0" y="83988"/>
                  <a:pt x="83988" y="0"/>
                  <a:pt x="187593" y="0"/>
                </a:cubicBezTo>
                <a:lnTo>
                  <a:pt x="2086835" y="0"/>
                </a:lnTo>
                <a:cubicBezTo>
                  <a:pt x="2190440" y="0"/>
                  <a:pt x="2274428" y="83988"/>
                  <a:pt x="2274428" y="187593"/>
                </a:cubicBezTo>
                <a:lnTo>
                  <a:pt x="2274428" y="1688335"/>
                </a:lnTo>
                <a:cubicBezTo>
                  <a:pt x="2274428" y="1791940"/>
                  <a:pt x="2190440" y="1875928"/>
                  <a:pt x="2086835" y="1875928"/>
                </a:cubicBezTo>
                <a:lnTo>
                  <a:pt x="187593" y="1875928"/>
                </a:lnTo>
                <a:cubicBezTo>
                  <a:pt x="83988" y="1875928"/>
                  <a:pt x="0" y="1791940"/>
                  <a:pt x="0" y="1688335"/>
                </a:cubicBezTo>
                <a:lnTo>
                  <a:pt x="0" y="187593"/>
                </a:lnTo>
                <a:close/>
              </a:path>
            </a:pathLst>
          </a:custGeom>
          <a:solidFill>
            <a:schemeClr val="lt1">
              <a:hueOff val="0"/>
              <a:satOff val="0"/>
              <a:lumOff val="0"/>
              <a:alpha val="1000"/>
            </a:schemeClr>
          </a:solidFill>
          <a:ln>
            <a:solidFill>
              <a:srgbClr val="DBDBDB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9840" tIns="471825" rIns="69840" bIns="69840" numCol="1" spcCol="1270" anchor="t" anchorCtr="0">
            <a:noAutofit/>
          </a:bodyPr>
          <a:lstStyle/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CN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</a:t>
            </a:r>
            <a:endParaRPr lang="zh-CN" altLang="en-US" sz="14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CN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</a:t>
            </a:r>
            <a:endParaRPr lang="zh-CN" altLang="en-US" sz="14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环形箭头 20"/>
          <p:cNvSpPr/>
          <p:nvPr/>
        </p:nvSpPr>
        <p:spPr>
          <a:xfrm>
            <a:off x="4663046" y="1572817"/>
            <a:ext cx="2752184" cy="2752184"/>
          </a:xfrm>
          <a:prstGeom prst="circularArrow">
            <a:avLst>
              <a:gd name="adj1" fmla="val 2653"/>
              <a:gd name="adj2" fmla="val 322637"/>
              <a:gd name="adj3" fmla="val 19501852"/>
              <a:gd name="adj4" fmla="val 12575511"/>
              <a:gd name="adj5" fmla="val 3095"/>
            </a:avLst>
          </a:prstGeom>
          <a:solidFill>
            <a:schemeClr val="bg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2" name="任意多边形 21"/>
          <p:cNvSpPr/>
          <p:nvPr/>
        </p:nvSpPr>
        <p:spPr>
          <a:xfrm>
            <a:off x="3900455" y="2308428"/>
            <a:ext cx="2021714" cy="803969"/>
          </a:xfrm>
          <a:custGeom>
            <a:avLst/>
            <a:gdLst>
              <a:gd name="connsiteX0" fmla="*/ 0 w 2021714"/>
              <a:gd name="connsiteY0" fmla="*/ 80397 h 803969"/>
              <a:gd name="connsiteX1" fmla="*/ 80397 w 2021714"/>
              <a:gd name="connsiteY1" fmla="*/ 0 h 803969"/>
              <a:gd name="connsiteX2" fmla="*/ 1941317 w 2021714"/>
              <a:gd name="connsiteY2" fmla="*/ 0 h 803969"/>
              <a:gd name="connsiteX3" fmla="*/ 2021714 w 2021714"/>
              <a:gd name="connsiteY3" fmla="*/ 80397 h 803969"/>
              <a:gd name="connsiteX4" fmla="*/ 2021714 w 2021714"/>
              <a:gd name="connsiteY4" fmla="*/ 723572 h 803969"/>
              <a:gd name="connsiteX5" fmla="*/ 1941317 w 2021714"/>
              <a:gd name="connsiteY5" fmla="*/ 803969 h 803969"/>
              <a:gd name="connsiteX6" fmla="*/ 80397 w 2021714"/>
              <a:gd name="connsiteY6" fmla="*/ 803969 h 803969"/>
              <a:gd name="connsiteX7" fmla="*/ 0 w 2021714"/>
              <a:gd name="connsiteY7" fmla="*/ 723572 h 803969"/>
              <a:gd name="connsiteX8" fmla="*/ 0 w 2021714"/>
              <a:gd name="connsiteY8" fmla="*/ 80397 h 803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21714" h="803969">
                <a:moveTo>
                  <a:pt x="0" y="80397"/>
                </a:moveTo>
                <a:cubicBezTo>
                  <a:pt x="0" y="35995"/>
                  <a:pt x="35995" y="0"/>
                  <a:pt x="80397" y="0"/>
                </a:cubicBezTo>
                <a:lnTo>
                  <a:pt x="1941317" y="0"/>
                </a:lnTo>
                <a:cubicBezTo>
                  <a:pt x="1985719" y="0"/>
                  <a:pt x="2021714" y="35995"/>
                  <a:pt x="2021714" y="80397"/>
                </a:cubicBezTo>
                <a:lnTo>
                  <a:pt x="2021714" y="723572"/>
                </a:lnTo>
                <a:cubicBezTo>
                  <a:pt x="2021714" y="767974"/>
                  <a:pt x="1985719" y="803969"/>
                  <a:pt x="1941317" y="803969"/>
                </a:cubicBezTo>
                <a:lnTo>
                  <a:pt x="80397" y="803969"/>
                </a:lnTo>
                <a:cubicBezTo>
                  <a:pt x="35995" y="803969"/>
                  <a:pt x="0" y="767974"/>
                  <a:pt x="0" y="723572"/>
                </a:cubicBezTo>
                <a:lnTo>
                  <a:pt x="0" y="80397"/>
                </a:lnTo>
                <a:close/>
              </a:path>
            </a:pathLst>
          </a:custGeom>
          <a:solidFill>
            <a:srgbClr val="49494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127" tIns="69267" rIns="92127" bIns="69267" numCol="1" spcCol="1270" anchor="ctr" anchorCtr="0">
            <a:noAutofit/>
          </a:bodyPr>
          <a:lstStyle/>
          <a:p>
            <a:pPr algn="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</a:p>
        </p:txBody>
      </p:sp>
      <p:sp>
        <p:nvSpPr>
          <p:cNvPr id="23" name="任意多边形 22"/>
          <p:cNvSpPr/>
          <p:nvPr/>
        </p:nvSpPr>
        <p:spPr>
          <a:xfrm>
            <a:off x="6269829" y="2710412"/>
            <a:ext cx="2274428" cy="1875928"/>
          </a:xfrm>
          <a:custGeom>
            <a:avLst/>
            <a:gdLst>
              <a:gd name="connsiteX0" fmla="*/ 0 w 2274428"/>
              <a:gd name="connsiteY0" fmla="*/ 187593 h 1875928"/>
              <a:gd name="connsiteX1" fmla="*/ 187593 w 2274428"/>
              <a:gd name="connsiteY1" fmla="*/ 0 h 1875928"/>
              <a:gd name="connsiteX2" fmla="*/ 2086835 w 2274428"/>
              <a:gd name="connsiteY2" fmla="*/ 0 h 1875928"/>
              <a:gd name="connsiteX3" fmla="*/ 2274428 w 2274428"/>
              <a:gd name="connsiteY3" fmla="*/ 187593 h 1875928"/>
              <a:gd name="connsiteX4" fmla="*/ 2274428 w 2274428"/>
              <a:gd name="connsiteY4" fmla="*/ 1688335 h 1875928"/>
              <a:gd name="connsiteX5" fmla="*/ 2086835 w 2274428"/>
              <a:gd name="connsiteY5" fmla="*/ 1875928 h 1875928"/>
              <a:gd name="connsiteX6" fmla="*/ 187593 w 2274428"/>
              <a:gd name="connsiteY6" fmla="*/ 1875928 h 1875928"/>
              <a:gd name="connsiteX7" fmla="*/ 0 w 2274428"/>
              <a:gd name="connsiteY7" fmla="*/ 1688335 h 1875928"/>
              <a:gd name="connsiteX8" fmla="*/ 0 w 2274428"/>
              <a:gd name="connsiteY8" fmla="*/ 187593 h 1875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428" h="1875928">
                <a:moveTo>
                  <a:pt x="0" y="187593"/>
                </a:moveTo>
                <a:cubicBezTo>
                  <a:pt x="0" y="83988"/>
                  <a:pt x="83988" y="0"/>
                  <a:pt x="187593" y="0"/>
                </a:cubicBezTo>
                <a:lnTo>
                  <a:pt x="2086835" y="0"/>
                </a:lnTo>
                <a:cubicBezTo>
                  <a:pt x="2190440" y="0"/>
                  <a:pt x="2274428" y="83988"/>
                  <a:pt x="2274428" y="187593"/>
                </a:cubicBezTo>
                <a:lnTo>
                  <a:pt x="2274428" y="1688335"/>
                </a:lnTo>
                <a:cubicBezTo>
                  <a:pt x="2274428" y="1791940"/>
                  <a:pt x="2190440" y="1875928"/>
                  <a:pt x="2086835" y="1875928"/>
                </a:cubicBezTo>
                <a:lnTo>
                  <a:pt x="187593" y="1875928"/>
                </a:lnTo>
                <a:cubicBezTo>
                  <a:pt x="83988" y="1875928"/>
                  <a:pt x="0" y="1791940"/>
                  <a:pt x="0" y="1688335"/>
                </a:cubicBezTo>
                <a:lnTo>
                  <a:pt x="0" y="187593"/>
                </a:lnTo>
                <a:close/>
              </a:path>
            </a:pathLst>
          </a:custGeom>
          <a:solidFill>
            <a:schemeClr val="lt1">
              <a:hueOff val="0"/>
              <a:satOff val="0"/>
              <a:lumOff val="0"/>
              <a:alpha val="1000"/>
            </a:schemeClr>
          </a:solidFill>
          <a:ln>
            <a:solidFill>
              <a:srgbClr val="DBDBDB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9840" tIns="69840" rIns="69840" bIns="471825" numCol="1" spcCol="1270" anchor="t" anchorCtr="0">
            <a:noAutofit/>
          </a:bodyPr>
          <a:lstStyle/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</a:t>
            </a:r>
          </a:p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</a:t>
            </a:r>
          </a:p>
        </p:txBody>
      </p:sp>
      <p:sp>
        <p:nvSpPr>
          <p:cNvPr id="24" name="形状 23"/>
          <p:cNvSpPr/>
          <p:nvPr/>
        </p:nvSpPr>
        <p:spPr>
          <a:xfrm>
            <a:off x="7556802" y="3188819"/>
            <a:ext cx="2461563" cy="2461563"/>
          </a:xfrm>
          <a:prstGeom prst="leftCircularArrow">
            <a:avLst>
              <a:gd name="adj1" fmla="val 2966"/>
              <a:gd name="adj2" fmla="val 363381"/>
              <a:gd name="adj3" fmla="val 2138892"/>
              <a:gd name="adj4" fmla="val 9024489"/>
              <a:gd name="adj5" fmla="val 3460"/>
            </a:avLst>
          </a:prstGeom>
          <a:solidFill>
            <a:schemeClr val="bg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5" name="任意多边形 24"/>
          <p:cNvSpPr/>
          <p:nvPr/>
        </p:nvSpPr>
        <p:spPr>
          <a:xfrm>
            <a:off x="6775258" y="4184356"/>
            <a:ext cx="2021714" cy="803969"/>
          </a:xfrm>
          <a:custGeom>
            <a:avLst/>
            <a:gdLst>
              <a:gd name="connsiteX0" fmla="*/ 0 w 2021714"/>
              <a:gd name="connsiteY0" fmla="*/ 80397 h 803969"/>
              <a:gd name="connsiteX1" fmla="*/ 80397 w 2021714"/>
              <a:gd name="connsiteY1" fmla="*/ 0 h 803969"/>
              <a:gd name="connsiteX2" fmla="*/ 1941317 w 2021714"/>
              <a:gd name="connsiteY2" fmla="*/ 0 h 803969"/>
              <a:gd name="connsiteX3" fmla="*/ 2021714 w 2021714"/>
              <a:gd name="connsiteY3" fmla="*/ 80397 h 803969"/>
              <a:gd name="connsiteX4" fmla="*/ 2021714 w 2021714"/>
              <a:gd name="connsiteY4" fmla="*/ 723572 h 803969"/>
              <a:gd name="connsiteX5" fmla="*/ 1941317 w 2021714"/>
              <a:gd name="connsiteY5" fmla="*/ 803969 h 803969"/>
              <a:gd name="connsiteX6" fmla="*/ 80397 w 2021714"/>
              <a:gd name="connsiteY6" fmla="*/ 803969 h 803969"/>
              <a:gd name="connsiteX7" fmla="*/ 0 w 2021714"/>
              <a:gd name="connsiteY7" fmla="*/ 723572 h 803969"/>
              <a:gd name="connsiteX8" fmla="*/ 0 w 2021714"/>
              <a:gd name="connsiteY8" fmla="*/ 80397 h 803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21714" h="803969">
                <a:moveTo>
                  <a:pt x="0" y="80397"/>
                </a:moveTo>
                <a:cubicBezTo>
                  <a:pt x="0" y="35995"/>
                  <a:pt x="35995" y="0"/>
                  <a:pt x="80397" y="0"/>
                </a:cubicBezTo>
                <a:lnTo>
                  <a:pt x="1941317" y="0"/>
                </a:lnTo>
                <a:cubicBezTo>
                  <a:pt x="1985719" y="0"/>
                  <a:pt x="2021714" y="35995"/>
                  <a:pt x="2021714" y="80397"/>
                </a:cubicBezTo>
                <a:lnTo>
                  <a:pt x="2021714" y="723572"/>
                </a:lnTo>
                <a:cubicBezTo>
                  <a:pt x="2021714" y="767974"/>
                  <a:pt x="1985719" y="803969"/>
                  <a:pt x="1941317" y="803969"/>
                </a:cubicBezTo>
                <a:lnTo>
                  <a:pt x="80397" y="803969"/>
                </a:lnTo>
                <a:cubicBezTo>
                  <a:pt x="35995" y="803969"/>
                  <a:pt x="0" y="767974"/>
                  <a:pt x="0" y="723572"/>
                </a:cubicBezTo>
                <a:lnTo>
                  <a:pt x="0" y="80397"/>
                </a:lnTo>
                <a:close/>
              </a:path>
            </a:pathLst>
          </a:custGeom>
          <a:solidFill>
            <a:srgbClr val="49494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127" tIns="69267" rIns="92127" bIns="69267" numCol="1" spcCol="1270" anchor="ctr" anchorCtr="0">
            <a:noAutofit/>
          </a:bodyPr>
          <a:lstStyle/>
          <a:p>
            <a:pPr algn="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</a:p>
        </p:txBody>
      </p:sp>
      <p:sp>
        <p:nvSpPr>
          <p:cNvPr id="26" name="任意多边形 25"/>
          <p:cNvSpPr/>
          <p:nvPr/>
        </p:nvSpPr>
        <p:spPr>
          <a:xfrm>
            <a:off x="9144631" y="2710412"/>
            <a:ext cx="2274428" cy="1875928"/>
          </a:xfrm>
          <a:custGeom>
            <a:avLst/>
            <a:gdLst>
              <a:gd name="connsiteX0" fmla="*/ 0 w 2274428"/>
              <a:gd name="connsiteY0" fmla="*/ 187593 h 1875928"/>
              <a:gd name="connsiteX1" fmla="*/ 187593 w 2274428"/>
              <a:gd name="connsiteY1" fmla="*/ 0 h 1875928"/>
              <a:gd name="connsiteX2" fmla="*/ 2086835 w 2274428"/>
              <a:gd name="connsiteY2" fmla="*/ 0 h 1875928"/>
              <a:gd name="connsiteX3" fmla="*/ 2274428 w 2274428"/>
              <a:gd name="connsiteY3" fmla="*/ 187593 h 1875928"/>
              <a:gd name="connsiteX4" fmla="*/ 2274428 w 2274428"/>
              <a:gd name="connsiteY4" fmla="*/ 1688335 h 1875928"/>
              <a:gd name="connsiteX5" fmla="*/ 2086835 w 2274428"/>
              <a:gd name="connsiteY5" fmla="*/ 1875928 h 1875928"/>
              <a:gd name="connsiteX6" fmla="*/ 187593 w 2274428"/>
              <a:gd name="connsiteY6" fmla="*/ 1875928 h 1875928"/>
              <a:gd name="connsiteX7" fmla="*/ 0 w 2274428"/>
              <a:gd name="connsiteY7" fmla="*/ 1688335 h 1875928"/>
              <a:gd name="connsiteX8" fmla="*/ 0 w 2274428"/>
              <a:gd name="connsiteY8" fmla="*/ 187593 h 18759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274428" h="1875928">
                <a:moveTo>
                  <a:pt x="0" y="187593"/>
                </a:moveTo>
                <a:cubicBezTo>
                  <a:pt x="0" y="83988"/>
                  <a:pt x="83988" y="0"/>
                  <a:pt x="187593" y="0"/>
                </a:cubicBezTo>
                <a:lnTo>
                  <a:pt x="2086835" y="0"/>
                </a:lnTo>
                <a:cubicBezTo>
                  <a:pt x="2190440" y="0"/>
                  <a:pt x="2274428" y="83988"/>
                  <a:pt x="2274428" y="187593"/>
                </a:cubicBezTo>
                <a:lnTo>
                  <a:pt x="2274428" y="1688335"/>
                </a:lnTo>
                <a:cubicBezTo>
                  <a:pt x="2274428" y="1791940"/>
                  <a:pt x="2190440" y="1875928"/>
                  <a:pt x="2086835" y="1875928"/>
                </a:cubicBezTo>
                <a:lnTo>
                  <a:pt x="187593" y="1875928"/>
                </a:lnTo>
                <a:cubicBezTo>
                  <a:pt x="83988" y="1875928"/>
                  <a:pt x="0" y="1791940"/>
                  <a:pt x="0" y="1688335"/>
                </a:cubicBezTo>
                <a:lnTo>
                  <a:pt x="0" y="187593"/>
                </a:lnTo>
                <a:close/>
              </a:path>
            </a:pathLst>
          </a:custGeom>
          <a:solidFill>
            <a:schemeClr val="lt1">
              <a:hueOff val="0"/>
              <a:satOff val="0"/>
              <a:lumOff val="0"/>
              <a:alpha val="1000"/>
            </a:schemeClr>
          </a:solidFill>
          <a:ln>
            <a:solidFill>
              <a:srgbClr val="DBDBDB"/>
            </a:solidFill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69840" tIns="471825" rIns="69840" bIns="69840" numCol="1" spcCol="1270" anchor="t" anchorCtr="0">
            <a:noAutofit/>
          </a:bodyPr>
          <a:lstStyle/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CN" altLang="en-US" sz="1400" kern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en-US" sz="1400" kern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</a:t>
            </a:r>
            <a:endParaRPr lang="zh-CN" altLang="en-US" sz="14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CN" altLang="en-US" sz="1400" kern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en-US" sz="1400" kern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400" kern="120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</a:t>
            </a:r>
            <a:endParaRPr lang="zh-CN" altLang="en-US" sz="1400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任意多边形 26"/>
          <p:cNvSpPr/>
          <p:nvPr/>
        </p:nvSpPr>
        <p:spPr>
          <a:xfrm>
            <a:off x="9650060" y="2308428"/>
            <a:ext cx="2021714" cy="803969"/>
          </a:xfrm>
          <a:custGeom>
            <a:avLst/>
            <a:gdLst>
              <a:gd name="connsiteX0" fmla="*/ 0 w 2021714"/>
              <a:gd name="connsiteY0" fmla="*/ 80397 h 803969"/>
              <a:gd name="connsiteX1" fmla="*/ 80397 w 2021714"/>
              <a:gd name="connsiteY1" fmla="*/ 0 h 803969"/>
              <a:gd name="connsiteX2" fmla="*/ 1941317 w 2021714"/>
              <a:gd name="connsiteY2" fmla="*/ 0 h 803969"/>
              <a:gd name="connsiteX3" fmla="*/ 2021714 w 2021714"/>
              <a:gd name="connsiteY3" fmla="*/ 80397 h 803969"/>
              <a:gd name="connsiteX4" fmla="*/ 2021714 w 2021714"/>
              <a:gd name="connsiteY4" fmla="*/ 723572 h 803969"/>
              <a:gd name="connsiteX5" fmla="*/ 1941317 w 2021714"/>
              <a:gd name="connsiteY5" fmla="*/ 803969 h 803969"/>
              <a:gd name="connsiteX6" fmla="*/ 80397 w 2021714"/>
              <a:gd name="connsiteY6" fmla="*/ 803969 h 803969"/>
              <a:gd name="connsiteX7" fmla="*/ 0 w 2021714"/>
              <a:gd name="connsiteY7" fmla="*/ 723572 h 803969"/>
              <a:gd name="connsiteX8" fmla="*/ 0 w 2021714"/>
              <a:gd name="connsiteY8" fmla="*/ 80397 h 803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21714" h="803969">
                <a:moveTo>
                  <a:pt x="0" y="80397"/>
                </a:moveTo>
                <a:cubicBezTo>
                  <a:pt x="0" y="35995"/>
                  <a:pt x="35995" y="0"/>
                  <a:pt x="80397" y="0"/>
                </a:cubicBezTo>
                <a:lnTo>
                  <a:pt x="1941317" y="0"/>
                </a:lnTo>
                <a:cubicBezTo>
                  <a:pt x="1985719" y="0"/>
                  <a:pt x="2021714" y="35995"/>
                  <a:pt x="2021714" y="80397"/>
                </a:cubicBezTo>
                <a:lnTo>
                  <a:pt x="2021714" y="723572"/>
                </a:lnTo>
                <a:cubicBezTo>
                  <a:pt x="2021714" y="767974"/>
                  <a:pt x="1985719" y="803969"/>
                  <a:pt x="1941317" y="803969"/>
                </a:cubicBezTo>
                <a:lnTo>
                  <a:pt x="80397" y="803969"/>
                </a:lnTo>
                <a:cubicBezTo>
                  <a:pt x="35995" y="803969"/>
                  <a:pt x="0" y="767974"/>
                  <a:pt x="0" y="723572"/>
                </a:cubicBezTo>
                <a:lnTo>
                  <a:pt x="0" y="80397"/>
                </a:lnTo>
                <a:close/>
              </a:path>
            </a:pathLst>
          </a:custGeom>
          <a:solidFill>
            <a:srgbClr val="494949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127" tIns="69267" rIns="92127" bIns="69267" numCol="1" spcCol="1270" anchor="ctr" anchorCtr="0">
            <a:noAutofit/>
          </a:bodyPr>
          <a:lstStyle/>
          <a:p>
            <a:pPr algn="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0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</a:p>
        </p:txBody>
      </p:sp>
      <p:sp>
        <p:nvSpPr>
          <p:cNvPr id="34" name="Freeform 244"/>
          <p:cNvSpPr>
            <a:spLocks noEditPoints="1"/>
          </p:cNvSpPr>
          <p:nvPr/>
        </p:nvSpPr>
        <p:spPr bwMode="auto">
          <a:xfrm>
            <a:off x="4141040" y="2492305"/>
            <a:ext cx="538583" cy="435175"/>
          </a:xfrm>
          <a:custGeom>
            <a:avLst/>
            <a:gdLst>
              <a:gd name="T0" fmla="*/ 98 w 120"/>
              <a:gd name="T1" fmla="*/ 26 h 97"/>
              <a:gd name="T2" fmla="*/ 98 w 120"/>
              <a:gd name="T3" fmla="*/ 23 h 97"/>
              <a:gd name="T4" fmla="*/ 87 w 120"/>
              <a:gd name="T5" fmla="*/ 4 h 97"/>
              <a:gd name="T6" fmla="*/ 51 w 120"/>
              <a:gd name="T7" fmla="*/ 10 h 97"/>
              <a:gd name="T8" fmla="*/ 40 w 120"/>
              <a:gd name="T9" fmla="*/ 1 h 97"/>
              <a:gd name="T10" fmla="*/ 20 w 120"/>
              <a:gd name="T11" fmla="*/ 5 h 97"/>
              <a:gd name="T12" fmla="*/ 12 w 120"/>
              <a:gd name="T13" fmla="*/ 18 h 97"/>
              <a:gd name="T14" fmla="*/ 1 w 120"/>
              <a:gd name="T15" fmla="*/ 40 h 97"/>
              <a:gd name="T16" fmla="*/ 6 w 120"/>
              <a:gd name="T17" fmla="*/ 80 h 97"/>
              <a:gd name="T18" fmla="*/ 12 w 120"/>
              <a:gd name="T19" fmla="*/ 92 h 97"/>
              <a:gd name="T20" fmla="*/ 12 w 120"/>
              <a:gd name="T21" fmla="*/ 91 h 97"/>
              <a:gd name="T22" fmla="*/ 12 w 120"/>
              <a:gd name="T23" fmla="*/ 91 h 97"/>
              <a:gd name="T24" fmla="*/ 12 w 120"/>
              <a:gd name="T25" fmla="*/ 58 h 97"/>
              <a:gd name="T26" fmla="*/ 11 w 120"/>
              <a:gd name="T27" fmla="*/ 55 h 97"/>
              <a:gd name="T28" fmla="*/ 17 w 120"/>
              <a:gd name="T29" fmla="*/ 40 h 97"/>
              <a:gd name="T30" fmla="*/ 31 w 120"/>
              <a:gd name="T31" fmla="*/ 32 h 97"/>
              <a:gd name="T32" fmla="*/ 98 w 120"/>
              <a:gd name="T33" fmla="*/ 26 h 97"/>
              <a:gd name="T34" fmla="*/ 119 w 120"/>
              <a:gd name="T35" fmla="*/ 34 h 97"/>
              <a:gd name="T36" fmla="*/ 117 w 120"/>
              <a:gd name="T37" fmla="*/ 33 h 97"/>
              <a:gd name="T38" fmla="*/ 116 w 120"/>
              <a:gd name="T39" fmla="*/ 33 h 97"/>
              <a:gd name="T40" fmla="*/ 96 w 120"/>
              <a:gd name="T41" fmla="*/ 35 h 97"/>
              <a:gd name="T42" fmla="*/ 31 w 120"/>
              <a:gd name="T43" fmla="*/ 41 h 97"/>
              <a:gd name="T44" fmla="*/ 24 w 120"/>
              <a:gd name="T45" fmla="*/ 45 h 97"/>
              <a:gd name="T46" fmla="*/ 20 w 120"/>
              <a:gd name="T47" fmla="*/ 55 h 97"/>
              <a:gd name="T48" fmla="*/ 20 w 120"/>
              <a:gd name="T49" fmla="*/ 57 h 97"/>
              <a:gd name="T50" fmla="*/ 20 w 120"/>
              <a:gd name="T51" fmla="*/ 57 h 97"/>
              <a:gd name="T52" fmla="*/ 21 w 120"/>
              <a:gd name="T53" fmla="*/ 90 h 97"/>
              <a:gd name="T54" fmla="*/ 21 w 120"/>
              <a:gd name="T55" fmla="*/ 92 h 97"/>
              <a:gd name="T56" fmla="*/ 28 w 120"/>
              <a:gd name="T57" fmla="*/ 97 h 97"/>
              <a:gd name="T58" fmla="*/ 29 w 120"/>
              <a:gd name="T59" fmla="*/ 96 h 97"/>
              <a:gd name="T60" fmla="*/ 88 w 120"/>
              <a:gd name="T61" fmla="*/ 91 h 97"/>
              <a:gd name="T62" fmla="*/ 95 w 120"/>
              <a:gd name="T63" fmla="*/ 88 h 97"/>
              <a:gd name="T64" fmla="*/ 100 w 120"/>
              <a:gd name="T65" fmla="*/ 81 h 97"/>
              <a:gd name="T66" fmla="*/ 100 w 120"/>
              <a:gd name="T67" fmla="*/ 81 h 97"/>
              <a:gd name="T68" fmla="*/ 119 w 120"/>
              <a:gd name="T69" fmla="*/ 46 h 97"/>
              <a:gd name="T70" fmla="*/ 120 w 120"/>
              <a:gd name="T71" fmla="*/ 38 h 97"/>
              <a:gd name="T72" fmla="*/ 119 w 120"/>
              <a:gd name="T73" fmla="*/ 34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0" h="97">
                <a:moveTo>
                  <a:pt x="98" y="26"/>
                </a:moveTo>
                <a:cubicBezTo>
                  <a:pt x="98" y="23"/>
                  <a:pt x="98" y="23"/>
                  <a:pt x="98" y="23"/>
                </a:cubicBezTo>
                <a:cubicBezTo>
                  <a:pt x="100" y="11"/>
                  <a:pt x="95" y="2"/>
                  <a:pt x="87" y="4"/>
                </a:cubicBezTo>
                <a:cubicBezTo>
                  <a:pt x="51" y="10"/>
                  <a:pt x="51" y="10"/>
                  <a:pt x="51" y="10"/>
                </a:cubicBezTo>
                <a:cubicBezTo>
                  <a:pt x="51" y="4"/>
                  <a:pt x="44" y="0"/>
                  <a:pt x="40" y="1"/>
                </a:cubicBezTo>
                <a:cubicBezTo>
                  <a:pt x="20" y="5"/>
                  <a:pt x="20" y="5"/>
                  <a:pt x="20" y="5"/>
                </a:cubicBezTo>
                <a:cubicBezTo>
                  <a:pt x="16" y="6"/>
                  <a:pt x="11" y="12"/>
                  <a:pt x="12" y="18"/>
                </a:cubicBezTo>
                <a:cubicBezTo>
                  <a:pt x="5" y="19"/>
                  <a:pt x="0" y="29"/>
                  <a:pt x="1" y="40"/>
                </a:cubicBezTo>
                <a:cubicBezTo>
                  <a:pt x="6" y="80"/>
                  <a:pt x="6" y="80"/>
                  <a:pt x="6" y="80"/>
                </a:cubicBezTo>
                <a:cubicBezTo>
                  <a:pt x="6" y="86"/>
                  <a:pt x="9" y="90"/>
                  <a:pt x="12" y="92"/>
                </a:cubicBezTo>
                <a:cubicBezTo>
                  <a:pt x="12" y="91"/>
                  <a:pt x="12" y="91"/>
                  <a:pt x="12" y="91"/>
                </a:cubicBezTo>
                <a:cubicBezTo>
                  <a:pt x="12" y="91"/>
                  <a:pt x="12" y="91"/>
                  <a:pt x="12" y="91"/>
                </a:cubicBezTo>
                <a:cubicBezTo>
                  <a:pt x="12" y="58"/>
                  <a:pt x="12" y="58"/>
                  <a:pt x="12" y="58"/>
                </a:cubicBezTo>
                <a:cubicBezTo>
                  <a:pt x="11" y="57"/>
                  <a:pt x="11" y="56"/>
                  <a:pt x="11" y="55"/>
                </a:cubicBezTo>
                <a:cubicBezTo>
                  <a:pt x="11" y="50"/>
                  <a:pt x="13" y="44"/>
                  <a:pt x="17" y="40"/>
                </a:cubicBezTo>
                <a:cubicBezTo>
                  <a:pt x="20" y="35"/>
                  <a:pt x="25" y="32"/>
                  <a:pt x="31" y="32"/>
                </a:cubicBezTo>
                <a:lnTo>
                  <a:pt x="98" y="26"/>
                </a:lnTo>
                <a:close/>
                <a:moveTo>
                  <a:pt x="119" y="34"/>
                </a:moveTo>
                <a:cubicBezTo>
                  <a:pt x="119" y="34"/>
                  <a:pt x="118" y="33"/>
                  <a:pt x="117" y="33"/>
                </a:cubicBezTo>
                <a:cubicBezTo>
                  <a:pt x="116" y="33"/>
                  <a:pt x="116" y="33"/>
                  <a:pt x="116" y="33"/>
                </a:cubicBezTo>
                <a:cubicBezTo>
                  <a:pt x="96" y="35"/>
                  <a:pt x="96" y="35"/>
                  <a:pt x="96" y="35"/>
                </a:cubicBezTo>
                <a:cubicBezTo>
                  <a:pt x="31" y="41"/>
                  <a:pt x="31" y="41"/>
                  <a:pt x="31" y="41"/>
                </a:cubicBezTo>
                <a:cubicBezTo>
                  <a:pt x="28" y="41"/>
                  <a:pt x="26" y="42"/>
                  <a:pt x="24" y="45"/>
                </a:cubicBezTo>
                <a:cubicBezTo>
                  <a:pt x="22" y="48"/>
                  <a:pt x="20" y="51"/>
                  <a:pt x="20" y="55"/>
                </a:cubicBezTo>
                <a:cubicBezTo>
                  <a:pt x="20" y="56"/>
                  <a:pt x="20" y="56"/>
                  <a:pt x="20" y="57"/>
                </a:cubicBezTo>
                <a:cubicBezTo>
                  <a:pt x="20" y="57"/>
                  <a:pt x="20" y="57"/>
                  <a:pt x="20" y="57"/>
                </a:cubicBezTo>
                <a:cubicBezTo>
                  <a:pt x="21" y="90"/>
                  <a:pt x="21" y="90"/>
                  <a:pt x="21" y="90"/>
                </a:cubicBezTo>
                <a:cubicBezTo>
                  <a:pt x="21" y="91"/>
                  <a:pt x="21" y="92"/>
                  <a:pt x="21" y="92"/>
                </a:cubicBezTo>
                <a:cubicBezTo>
                  <a:pt x="22" y="95"/>
                  <a:pt x="25" y="97"/>
                  <a:pt x="28" y="97"/>
                </a:cubicBezTo>
                <a:cubicBezTo>
                  <a:pt x="29" y="96"/>
                  <a:pt x="29" y="96"/>
                  <a:pt x="29" y="96"/>
                </a:cubicBezTo>
                <a:cubicBezTo>
                  <a:pt x="88" y="91"/>
                  <a:pt x="88" y="91"/>
                  <a:pt x="88" y="91"/>
                </a:cubicBezTo>
                <a:cubicBezTo>
                  <a:pt x="90" y="91"/>
                  <a:pt x="92" y="90"/>
                  <a:pt x="95" y="88"/>
                </a:cubicBezTo>
                <a:cubicBezTo>
                  <a:pt x="97" y="86"/>
                  <a:pt x="99" y="83"/>
                  <a:pt x="100" y="81"/>
                </a:cubicBezTo>
                <a:cubicBezTo>
                  <a:pt x="100" y="81"/>
                  <a:pt x="100" y="81"/>
                  <a:pt x="100" y="81"/>
                </a:cubicBezTo>
                <a:cubicBezTo>
                  <a:pt x="119" y="46"/>
                  <a:pt x="119" y="46"/>
                  <a:pt x="119" y="46"/>
                </a:cubicBezTo>
                <a:cubicBezTo>
                  <a:pt x="120" y="43"/>
                  <a:pt x="120" y="40"/>
                  <a:pt x="120" y="38"/>
                </a:cubicBezTo>
                <a:cubicBezTo>
                  <a:pt x="120" y="36"/>
                  <a:pt x="120" y="35"/>
                  <a:pt x="119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grpSp>
        <p:nvGrpSpPr>
          <p:cNvPr id="29" name="组合 28"/>
          <p:cNvGrpSpPr/>
          <p:nvPr/>
        </p:nvGrpSpPr>
        <p:grpSpPr>
          <a:xfrm>
            <a:off x="7031675" y="4366073"/>
            <a:ext cx="501960" cy="448103"/>
            <a:chOff x="7632578" y="1154548"/>
            <a:chExt cx="308109" cy="275051"/>
          </a:xfrm>
        </p:grpSpPr>
        <p:sp>
          <p:nvSpPr>
            <p:cNvPr id="35" name="Freeform 36"/>
            <p:cNvSpPr>
              <a:spLocks noEditPoints="1"/>
            </p:cNvSpPr>
            <p:nvPr/>
          </p:nvSpPr>
          <p:spPr bwMode="auto">
            <a:xfrm>
              <a:off x="7632578" y="1325132"/>
              <a:ext cx="308109" cy="104467"/>
            </a:xfrm>
            <a:custGeom>
              <a:avLst/>
              <a:gdLst>
                <a:gd name="T0" fmla="*/ 111 w 112"/>
                <a:gd name="T1" fmla="*/ 31 h 38"/>
                <a:gd name="T2" fmla="*/ 104 w 112"/>
                <a:gd name="T3" fmla="*/ 6 h 38"/>
                <a:gd name="T4" fmla="*/ 95 w 112"/>
                <a:gd name="T5" fmla="*/ 0 h 38"/>
                <a:gd name="T6" fmla="*/ 17 w 112"/>
                <a:gd name="T7" fmla="*/ 0 h 38"/>
                <a:gd name="T8" fmla="*/ 8 w 112"/>
                <a:gd name="T9" fmla="*/ 6 h 38"/>
                <a:gd name="T10" fmla="*/ 1 w 112"/>
                <a:gd name="T11" fmla="*/ 31 h 38"/>
                <a:gd name="T12" fmla="*/ 6 w 112"/>
                <a:gd name="T13" fmla="*/ 38 h 38"/>
                <a:gd name="T14" fmla="*/ 106 w 112"/>
                <a:gd name="T15" fmla="*/ 38 h 38"/>
                <a:gd name="T16" fmla="*/ 111 w 112"/>
                <a:gd name="T17" fmla="*/ 31 h 38"/>
                <a:gd name="T18" fmla="*/ 97 w 112"/>
                <a:gd name="T19" fmla="*/ 33 h 38"/>
                <a:gd name="T20" fmla="*/ 16 w 112"/>
                <a:gd name="T21" fmla="*/ 33 h 38"/>
                <a:gd name="T22" fmla="*/ 11 w 112"/>
                <a:gd name="T23" fmla="*/ 28 h 38"/>
                <a:gd name="T24" fmla="*/ 11 w 112"/>
                <a:gd name="T25" fmla="*/ 26 h 38"/>
                <a:gd name="T26" fmla="*/ 16 w 112"/>
                <a:gd name="T27" fmla="*/ 11 h 38"/>
                <a:gd name="T28" fmla="*/ 25 w 112"/>
                <a:gd name="T29" fmla="*/ 4 h 38"/>
                <a:gd name="T30" fmla="*/ 88 w 112"/>
                <a:gd name="T31" fmla="*/ 4 h 38"/>
                <a:gd name="T32" fmla="*/ 97 w 112"/>
                <a:gd name="T33" fmla="*/ 10 h 38"/>
                <a:gd name="T34" fmla="*/ 102 w 112"/>
                <a:gd name="T35" fmla="*/ 26 h 38"/>
                <a:gd name="T36" fmla="*/ 103 w 112"/>
                <a:gd name="T37" fmla="*/ 28 h 38"/>
                <a:gd name="T38" fmla="*/ 97 w 112"/>
                <a:gd name="T39" fmla="*/ 3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2" h="38">
                  <a:moveTo>
                    <a:pt x="111" y="31"/>
                  </a:moveTo>
                  <a:cubicBezTo>
                    <a:pt x="104" y="6"/>
                    <a:pt x="104" y="6"/>
                    <a:pt x="104" y="6"/>
                  </a:cubicBezTo>
                  <a:cubicBezTo>
                    <a:pt x="103" y="3"/>
                    <a:pt x="99" y="0"/>
                    <a:pt x="95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3" y="0"/>
                    <a:pt x="9" y="3"/>
                    <a:pt x="8" y="6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35"/>
                    <a:pt x="3" y="38"/>
                    <a:pt x="6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10" y="38"/>
                    <a:pt x="112" y="35"/>
                    <a:pt x="111" y="31"/>
                  </a:cubicBezTo>
                  <a:close/>
                  <a:moveTo>
                    <a:pt x="97" y="33"/>
                  </a:moveTo>
                  <a:cubicBezTo>
                    <a:pt x="16" y="33"/>
                    <a:pt x="16" y="33"/>
                    <a:pt x="16" y="33"/>
                  </a:cubicBezTo>
                  <a:cubicBezTo>
                    <a:pt x="13" y="33"/>
                    <a:pt x="11" y="31"/>
                    <a:pt x="11" y="28"/>
                  </a:cubicBezTo>
                  <a:cubicBezTo>
                    <a:pt x="11" y="27"/>
                    <a:pt x="11" y="27"/>
                    <a:pt x="11" y="26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7"/>
                    <a:pt x="21" y="4"/>
                    <a:pt x="25" y="4"/>
                  </a:cubicBezTo>
                  <a:cubicBezTo>
                    <a:pt x="88" y="4"/>
                    <a:pt x="88" y="4"/>
                    <a:pt x="88" y="4"/>
                  </a:cubicBezTo>
                  <a:cubicBezTo>
                    <a:pt x="92" y="4"/>
                    <a:pt x="96" y="7"/>
                    <a:pt x="97" y="10"/>
                  </a:cubicBezTo>
                  <a:cubicBezTo>
                    <a:pt x="102" y="26"/>
                    <a:pt x="102" y="26"/>
                    <a:pt x="102" y="26"/>
                  </a:cubicBezTo>
                  <a:cubicBezTo>
                    <a:pt x="103" y="27"/>
                    <a:pt x="103" y="28"/>
                    <a:pt x="103" y="28"/>
                  </a:cubicBezTo>
                  <a:cubicBezTo>
                    <a:pt x="103" y="31"/>
                    <a:pt x="100" y="33"/>
                    <a:pt x="97" y="3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37"/>
            <p:cNvSpPr>
              <a:spLocks noEditPoints="1"/>
            </p:cNvSpPr>
            <p:nvPr/>
          </p:nvSpPr>
          <p:spPr bwMode="auto">
            <a:xfrm>
              <a:off x="7662992" y="1335710"/>
              <a:ext cx="249926" cy="79341"/>
            </a:xfrm>
            <a:custGeom>
              <a:avLst/>
              <a:gdLst>
                <a:gd name="T0" fmla="*/ 77 w 91"/>
                <a:gd name="T1" fmla="*/ 0 h 29"/>
                <a:gd name="T2" fmla="*/ 14 w 91"/>
                <a:gd name="T3" fmla="*/ 0 h 29"/>
                <a:gd name="T4" fmla="*/ 5 w 91"/>
                <a:gd name="T5" fmla="*/ 7 h 29"/>
                <a:gd name="T6" fmla="*/ 1 w 91"/>
                <a:gd name="T7" fmla="*/ 22 h 29"/>
                <a:gd name="T8" fmla="*/ 0 w 91"/>
                <a:gd name="T9" fmla="*/ 24 h 29"/>
                <a:gd name="T10" fmla="*/ 5 w 91"/>
                <a:gd name="T11" fmla="*/ 29 h 29"/>
                <a:gd name="T12" fmla="*/ 86 w 91"/>
                <a:gd name="T13" fmla="*/ 29 h 29"/>
                <a:gd name="T14" fmla="*/ 91 w 91"/>
                <a:gd name="T15" fmla="*/ 24 h 29"/>
                <a:gd name="T16" fmla="*/ 91 w 91"/>
                <a:gd name="T17" fmla="*/ 22 h 29"/>
                <a:gd name="T18" fmla="*/ 86 w 91"/>
                <a:gd name="T19" fmla="*/ 7 h 29"/>
                <a:gd name="T20" fmla="*/ 77 w 91"/>
                <a:gd name="T21" fmla="*/ 0 h 29"/>
                <a:gd name="T22" fmla="*/ 53 w 91"/>
                <a:gd name="T23" fmla="*/ 25 h 29"/>
                <a:gd name="T24" fmla="*/ 38 w 91"/>
                <a:gd name="T25" fmla="*/ 25 h 29"/>
                <a:gd name="T26" fmla="*/ 35 w 91"/>
                <a:gd name="T27" fmla="*/ 22 h 29"/>
                <a:gd name="T28" fmla="*/ 35 w 91"/>
                <a:gd name="T29" fmla="*/ 22 h 29"/>
                <a:gd name="T30" fmla="*/ 36 w 91"/>
                <a:gd name="T31" fmla="*/ 20 h 29"/>
                <a:gd name="T32" fmla="*/ 39 w 91"/>
                <a:gd name="T33" fmla="*/ 17 h 29"/>
                <a:gd name="T34" fmla="*/ 51 w 91"/>
                <a:gd name="T35" fmla="*/ 17 h 29"/>
                <a:gd name="T36" fmla="*/ 55 w 91"/>
                <a:gd name="T37" fmla="*/ 20 h 29"/>
                <a:gd name="T38" fmla="*/ 55 w 91"/>
                <a:gd name="T39" fmla="*/ 22 h 29"/>
                <a:gd name="T40" fmla="*/ 55 w 91"/>
                <a:gd name="T41" fmla="*/ 22 h 29"/>
                <a:gd name="T42" fmla="*/ 55 w 91"/>
                <a:gd name="T43" fmla="*/ 22 h 29"/>
                <a:gd name="T44" fmla="*/ 55 w 91"/>
                <a:gd name="T45" fmla="*/ 22 h 29"/>
                <a:gd name="T46" fmla="*/ 53 w 91"/>
                <a:gd name="T47" fmla="*/ 25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1" h="29">
                  <a:moveTo>
                    <a:pt x="77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0" y="0"/>
                    <a:pt x="6" y="3"/>
                    <a:pt x="5" y="7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3"/>
                    <a:pt x="0" y="24"/>
                    <a:pt x="0" y="24"/>
                  </a:cubicBezTo>
                  <a:cubicBezTo>
                    <a:pt x="0" y="27"/>
                    <a:pt x="2" y="29"/>
                    <a:pt x="5" y="29"/>
                  </a:cubicBezTo>
                  <a:cubicBezTo>
                    <a:pt x="86" y="29"/>
                    <a:pt x="86" y="29"/>
                    <a:pt x="86" y="29"/>
                  </a:cubicBezTo>
                  <a:cubicBezTo>
                    <a:pt x="89" y="29"/>
                    <a:pt x="91" y="27"/>
                    <a:pt x="91" y="24"/>
                  </a:cubicBezTo>
                  <a:cubicBezTo>
                    <a:pt x="91" y="24"/>
                    <a:pt x="91" y="23"/>
                    <a:pt x="91" y="22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5" y="3"/>
                    <a:pt x="81" y="0"/>
                    <a:pt x="77" y="0"/>
                  </a:cubicBezTo>
                  <a:close/>
                  <a:moveTo>
                    <a:pt x="53" y="25"/>
                  </a:moveTo>
                  <a:cubicBezTo>
                    <a:pt x="38" y="25"/>
                    <a:pt x="38" y="25"/>
                    <a:pt x="38" y="25"/>
                  </a:cubicBezTo>
                  <a:cubicBezTo>
                    <a:pt x="36" y="25"/>
                    <a:pt x="35" y="24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18"/>
                    <a:pt x="38" y="17"/>
                    <a:pt x="39" y="17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2" y="17"/>
                    <a:pt x="54" y="18"/>
                    <a:pt x="55" y="20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4"/>
                    <a:pt x="54" y="25"/>
                    <a:pt x="53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38"/>
            <p:cNvSpPr>
              <a:spLocks/>
            </p:cNvSpPr>
            <p:nvPr/>
          </p:nvSpPr>
          <p:spPr bwMode="auto">
            <a:xfrm>
              <a:off x="7659025" y="1335710"/>
              <a:ext cx="256537" cy="79341"/>
            </a:xfrm>
            <a:custGeom>
              <a:avLst/>
              <a:gdLst>
                <a:gd name="T0" fmla="*/ 92 w 93"/>
                <a:gd name="T1" fmla="*/ 22 h 29"/>
                <a:gd name="T2" fmla="*/ 92 w 93"/>
                <a:gd name="T3" fmla="*/ 22 h 29"/>
                <a:gd name="T4" fmla="*/ 87 w 93"/>
                <a:gd name="T5" fmla="*/ 29 h 29"/>
                <a:gd name="T6" fmla="*/ 6 w 93"/>
                <a:gd name="T7" fmla="*/ 29 h 29"/>
                <a:gd name="T8" fmla="*/ 1 w 93"/>
                <a:gd name="T9" fmla="*/ 22 h 29"/>
                <a:gd name="T10" fmla="*/ 6 w 93"/>
                <a:gd name="T11" fmla="*/ 7 h 29"/>
                <a:gd name="T12" fmla="*/ 15 w 93"/>
                <a:gd name="T13" fmla="*/ 0 h 29"/>
                <a:gd name="T14" fmla="*/ 78 w 93"/>
                <a:gd name="T15" fmla="*/ 0 h 29"/>
                <a:gd name="T16" fmla="*/ 87 w 93"/>
                <a:gd name="T17" fmla="*/ 7 h 29"/>
                <a:gd name="T18" fmla="*/ 92 w 93"/>
                <a:gd name="T19" fmla="*/ 22 h 29"/>
                <a:gd name="T20" fmla="*/ 92 w 93"/>
                <a:gd name="T21" fmla="*/ 22 h 29"/>
                <a:gd name="T22" fmla="*/ 87 w 93"/>
                <a:gd name="T23" fmla="*/ 6 h 29"/>
                <a:gd name="T24" fmla="*/ 78 w 93"/>
                <a:gd name="T25" fmla="*/ 0 h 29"/>
                <a:gd name="T26" fmla="*/ 15 w 93"/>
                <a:gd name="T27" fmla="*/ 0 h 29"/>
                <a:gd name="T28" fmla="*/ 6 w 93"/>
                <a:gd name="T29" fmla="*/ 7 h 29"/>
                <a:gd name="T30" fmla="*/ 1 w 93"/>
                <a:gd name="T31" fmla="*/ 22 h 29"/>
                <a:gd name="T32" fmla="*/ 1 w 93"/>
                <a:gd name="T33" fmla="*/ 24 h 29"/>
                <a:gd name="T34" fmla="*/ 6 w 93"/>
                <a:gd name="T35" fmla="*/ 29 h 29"/>
                <a:gd name="T36" fmla="*/ 87 w 93"/>
                <a:gd name="T37" fmla="*/ 29 h 29"/>
                <a:gd name="T38" fmla="*/ 93 w 93"/>
                <a:gd name="T39" fmla="*/ 24 h 29"/>
                <a:gd name="T40" fmla="*/ 92 w 93"/>
                <a:gd name="T41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3" h="29">
                  <a:moveTo>
                    <a:pt x="92" y="22"/>
                  </a:moveTo>
                  <a:cubicBezTo>
                    <a:pt x="92" y="22"/>
                    <a:pt x="92" y="22"/>
                    <a:pt x="92" y="22"/>
                  </a:cubicBezTo>
                  <a:cubicBezTo>
                    <a:pt x="93" y="26"/>
                    <a:pt x="91" y="29"/>
                    <a:pt x="87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2" y="29"/>
                    <a:pt x="0" y="26"/>
                    <a:pt x="1" y="22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3"/>
                    <a:pt x="11" y="0"/>
                    <a:pt x="15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2" y="0"/>
                    <a:pt x="86" y="3"/>
                    <a:pt x="87" y="7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6" y="3"/>
                    <a:pt x="82" y="0"/>
                    <a:pt x="78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" y="0"/>
                    <a:pt x="7" y="3"/>
                    <a:pt x="6" y="7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3"/>
                    <a:pt x="1" y="23"/>
                    <a:pt x="1" y="24"/>
                  </a:cubicBezTo>
                  <a:cubicBezTo>
                    <a:pt x="1" y="27"/>
                    <a:pt x="3" y="29"/>
                    <a:pt x="6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90" y="29"/>
                    <a:pt x="93" y="27"/>
                    <a:pt x="93" y="24"/>
                  </a:cubicBezTo>
                  <a:cubicBezTo>
                    <a:pt x="93" y="24"/>
                    <a:pt x="93" y="23"/>
                    <a:pt x="92" y="2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Freeform 39"/>
            <p:cNvSpPr>
              <a:spLocks/>
            </p:cNvSpPr>
            <p:nvPr/>
          </p:nvSpPr>
          <p:spPr bwMode="auto">
            <a:xfrm>
              <a:off x="7760846" y="1384638"/>
              <a:ext cx="50250" cy="17191"/>
            </a:xfrm>
            <a:custGeom>
              <a:avLst/>
              <a:gdLst>
                <a:gd name="T0" fmla="*/ 15 w 18"/>
                <a:gd name="T1" fmla="*/ 0 h 6"/>
                <a:gd name="T2" fmla="*/ 3 w 18"/>
                <a:gd name="T3" fmla="*/ 0 h 6"/>
                <a:gd name="T4" fmla="*/ 3 w 18"/>
                <a:gd name="T5" fmla="*/ 0 h 6"/>
                <a:gd name="T6" fmla="*/ 0 w 18"/>
                <a:gd name="T7" fmla="*/ 2 h 6"/>
                <a:gd name="T8" fmla="*/ 0 w 18"/>
                <a:gd name="T9" fmla="*/ 4 h 6"/>
                <a:gd name="T10" fmla="*/ 0 w 18"/>
                <a:gd name="T11" fmla="*/ 4 h 6"/>
                <a:gd name="T12" fmla="*/ 2 w 18"/>
                <a:gd name="T13" fmla="*/ 6 h 6"/>
                <a:gd name="T14" fmla="*/ 17 w 18"/>
                <a:gd name="T15" fmla="*/ 6 h 6"/>
                <a:gd name="T16" fmla="*/ 18 w 18"/>
                <a:gd name="T17" fmla="*/ 4 h 6"/>
                <a:gd name="T18" fmla="*/ 18 w 18"/>
                <a:gd name="T19" fmla="*/ 4 h 6"/>
                <a:gd name="T20" fmla="*/ 18 w 18"/>
                <a:gd name="T21" fmla="*/ 2 h 6"/>
                <a:gd name="T22" fmla="*/ 15 w 18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6">
                  <a:moveTo>
                    <a:pt x="15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6"/>
                    <a:pt x="2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8" y="6"/>
                    <a:pt x="18" y="5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6" y="0"/>
                    <a:pt x="1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Freeform 40"/>
            <p:cNvSpPr>
              <a:spLocks/>
            </p:cNvSpPr>
            <p:nvPr/>
          </p:nvSpPr>
          <p:spPr bwMode="auto">
            <a:xfrm>
              <a:off x="7758202" y="1381993"/>
              <a:ext cx="55539" cy="22480"/>
            </a:xfrm>
            <a:custGeom>
              <a:avLst/>
              <a:gdLst>
                <a:gd name="T0" fmla="*/ 20 w 20"/>
                <a:gd name="T1" fmla="*/ 5 h 8"/>
                <a:gd name="T2" fmla="*/ 18 w 20"/>
                <a:gd name="T3" fmla="*/ 7 h 8"/>
                <a:gd name="T4" fmla="*/ 3 w 20"/>
                <a:gd name="T5" fmla="*/ 7 h 8"/>
                <a:gd name="T6" fmla="*/ 1 w 20"/>
                <a:gd name="T7" fmla="*/ 5 h 8"/>
                <a:gd name="T8" fmla="*/ 1 w 20"/>
                <a:gd name="T9" fmla="*/ 3 h 8"/>
                <a:gd name="T10" fmla="*/ 4 w 20"/>
                <a:gd name="T11" fmla="*/ 0 h 8"/>
                <a:gd name="T12" fmla="*/ 16 w 20"/>
                <a:gd name="T13" fmla="*/ 0 h 8"/>
                <a:gd name="T14" fmla="*/ 19 w 20"/>
                <a:gd name="T15" fmla="*/ 3 h 8"/>
                <a:gd name="T16" fmla="*/ 20 w 20"/>
                <a:gd name="T17" fmla="*/ 5 h 8"/>
                <a:gd name="T18" fmla="*/ 20 w 20"/>
                <a:gd name="T19" fmla="*/ 5 h 8"/>
                <a:gd name="T20" fmla="*/ 20 w 20"/>
                <a:gd name="T21" fmla="*/ 3 h 8"/>
                <a:gd name="T22" fmla="*/ 16 w 20"/>
                <a:gd name="T23" fmla="*/ 0 h 8"/>
                <a:gd name="T24" fmla="*/ 4 w 20"/>
                <a:gd name="T25" fmla="*/ 0 h 8"/>
                <a:gd name="T26" fmla="*/ 1 w 20"/>
                <a:gd name="T27" fmla="*/ 3 h 8"/>
                <a:gd name="T28" fmla="*/ 0 w 20"/>
                <a:gd name="T29" fmla="*/ 5 h 8"/>
                <a:gd name="T30" fmla="*/ 0 w 20"/>
                <a:gd name="T31" fmla="*/ 5 h 8"/>
                <a:gd name="T32" fmla="*/ 3 w 20"/>
                <a:gd name="T33" fmla="*/ 8 h 8"/>
                <a:gd name="T34" fmla="*/ 18 w 20"/>
                <a:gd name="T35" fmla="*/ 8 h 8"/>
                <a:gd name="T36" fmla="*/ 20 w 20"/>
                <a:gd name="T37" fmla="*/ 5 h 8"/>
                <a:gd name="T38" fmla="*/ 20 w 20"/>
                <a:gd name="T3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8">
                  <a:moveTo>
                    <a:pt x="20" y="5"/>
                  </a:moveTo>
                  <a:cubicBezTo>
                    <a:pt x="20" y="6"/>
                    <a:pt x="19" y="7"/>
                    <a:pt x="18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1" y="5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3" y="0"/>
                    <a:pt x="4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7" y="0"/>
                    <a:pt x="19" y="2"/>
                    <a:pt x="19" y="3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1"/>
                    <a:pt x="17" y="0"/>
                    <a:pt x="1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1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1" y="8"/>
                    <a:pt x="3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8"/>
                    <a:pt x="20" y="7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41"/>
            <p:cNvSpPr>
              <a:spLocks noEditPoints="1"/>
            </p:cNvSpPr>
            <p:nvPr/>
          </p:nvSpPr>
          <p:spPr bwMode="auto">
            <a:xfrm>
              <a:off x="7659025" y="1154548"/>
              <a:ext cx="253892" cy="163972"/>
            </a:xfrm>
            <a:custGeom>
              <a:avLst/>
              <a:gdLst>
                <a:gd name="T0" fmla="*/ 0 w 192"/>
                <a:gd name="T1" fmla="*/ 0 h 124"/>
                <a:gd name="T2" fmla="*/ 0 w 192"/>
                <a:gd name="T3" fmla="*/ 124 h 124"/>
                <a:gd name="T4" fmla="*/ 192 w 192"/>
                <a:gd name="T5" fmla="*/ 124 h 124"/>
                <a:gd name="T6" fmla="*/ 192 w 192"/>
                <a:gd name="T7" fmla="*/ 0 h 124"/>
                <a:gd name="T8" fmla="*/ 0 w 192"/>
                <a:gd name="T9" fmla="*/ 0 h 124"/>
                <a:gd name="T10" fmla="*/ 175 w 192"/>
                <a:gd name="T11" fmla="*/ 110 h 124"/>
                <a:gd name="T12" fmla="*/ 17 w 192"/>
                <a:gd name="T13" fmla="*/ 110 h 124"/>
                <a:gd name="T14" fmla="*/ 17 w 192"/>
                <a:gd name="T15" fmla="*/ 14 h 124"/>
                <a:gd name="T16" fmla="*/ 175 w 192"/>
                <a:gd name="T17" fmla="*/ 14 h 124"/>
                <a:gd name="T18" fmla="*/ 175 w 192"/>
                <a:gd name="T19" fmla="*/ 11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2" h="124">
                  <a:moveTo>
                    <a:pt x="0" y="0"/>
                  </a:moveTo>
                  <a:lnTo>
                    <a:pt x="0" y="124"/>
                  </a:lnTo>
                  <a:lnTo>
                    <a:pt x="192" y="124"/>
                  </a:lnTo>
                  <a:lnTo>
                    <a:pt x="192" y="0"/>
                  </a:lnTo>
                  <a:lnTo>
                    <a:pt x="0" y="0"/>
                  </a:lnTo>
                  <a:close/>
                  <a:moveTo>
                    <a:pt x="175" y="110"/>
                  </a:moveTo>
                  <a:lnTo>
                    <a:pt x="17" y="110"/>
                  </a:lnTo>
                  <a:lnTo>
                    <a:pt x="17" y="14"/>
                  </a:lnTo>
                  <a:lnTo>
                    <a:pt x="175" y="14"/>
                  </a:lnTo>
                  <a:lnTo>
                    <a:pt x="175" y="1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41" name="Freeform 133"/>
          <p:cNvSpPr>
            <a:spLocks noEditPoints="1"/>
          </p:cNvSpPr>
          <p:nvPr/>
        </p:nvSpPr>
        <p:spPr bwMode="auto">
          <a:xfrm>
            <a:off x="9912424" y="2436292"/>
            <a:ext cx="547200" cy="547200"/>
          </a:xfrm>
          <a:custGeom>
            <a:avLst/>
            <a:gdLst>
              <a:gd name="T0" fmla="*/ 0 w 122"/>
              <a:gd name="T1" fmla="*/ 61 h 122"/>
              <a:gd name="T2" fmla="*/ 122 w 122"/>
              <a:gd name="T3" fmla="*/ 61 h 122"/>
              <a:gd name="T4" fmla="*/ 50 w 122"/>
              <a:gd name="T5" fmla="*/ 116 h 122"/>
              <a:gd name="T6" fmla="*/ 59 w 122"/>
              <a:gd name="T7" fmla="*/ 92 h 122"/>
              <a:gd name="T8" fmla="*/ 50 w 122"/>
              <a:gd name="T9" fmla="*/ 116 h 122"/>
              <a:gd name="T10" fmla="*/ 28 w 122"/>
              <a:gd name="T11" fmla="*/ 63 h 122"/>
              <a:gd name="T12" fmla="*/ 11 w 122"/>
              <a:gd name="T13" fmla="*/ 88 h 122"/>
              <a:gd name="T14" fmla="*/ 63 w 122"/>
              <a:gd name="T15" fmla="*/ 29 h 122"/>
              <a:gd name="T16" fmla="*/ 70 w 122"/>
              <a:gd name="T17" fmla="*/ 5 h 122"/>
              <a:gd name="T18" fmla="*/ 63 w 122"/>
              <a:gd name="T19" fmla="*/ 29 h 122"/>
              <a:gd name="T20" fmla="*/ 89 w 122"/>
              <a:gd name="T21" fmla="*/ 58 h 122"/>
              <a:gd name="T22" fmla="*/ 63 w 122"/>
              <a:gd name="T23" fmla="*/ 33 h 122"/>
              <a:gd name="T24" fmla="*/ 59 w 122"/>
              <a:gd name="T25" fmla="*/ 29 h 122"/>
              <a:gd name="T26" fmla="*/ 50 w 122"/>
              <a:gd name="T27" fmla="*/ 5 h 122"/>
              <a:gd name="T28" fmla="*/ 59 w 122"/>
              <a:gd name="T29" fmla="*/ 29 h 122"/>
              <a:gd name="T30" fmla="*/ 59 w 122"/>
              <a:gd name="T31" fmla="*/ 58 h 122"/>
              <a:gd name="T32" fmla="*/ 36 w 122"/>
              <a:gd name="T33" fmla="*/ 33 h 122"/>
              <a:gd name="T34" fmla="*/ 28 w 122"/>
              <a:gd name="T35" fmla="*/ 58 h 122"/>
              <a:gd name="T36" fmla="*/ 11 w 122"/>
              <a:gd name="T37" fmla="*/ 33 h 122"/>
              <a:gd name="T38" fmla="*/ 28 w 122"/>
              <a:gd name="T39" fmla="*/ 58 h 122"/>
              <a:gd name="T40" fmla="*/ 59 w 122"/>
              <a:gd name="T41" fmla="*/ 63 h 122"/>
              <a:gd name="T42" fmla="*/ 36 w 122"/>
              <a:gd name="T43" fmla="*/ 88 h 122"/>
              <a:gd name="T44" fmla="*/ 63 w 122"/>
              <a:gd name="T45" fmla="*/ 92 h 122"/>
              <a:gd name="T46" fmla="*/ 70 w 122"/>
              <a:gd name="T47" fmla="*/ 117 h 122"/>
              <a:gd name="T48" fmla="*/ 63 w 122"/>
              <a:gd name="T49" fmla="*/ 92 h 122"/>
              <a:gd name="T50" fmla="*/ 63 w 122"/>
              <a:gd name="T51" fmla="*/ 63 h 122"/>
              <a:gd name="T52" fmla="*/ 85 w 122"/>
              <a:gd name="T53" fmla="*/ 88 h 122"/>
              <a:gd name="T54" fmla="*/ 93 w 122"/>
              <a:gd name="T55" fmla="*/ 63 h 122"/>
              <a:gd name="T56" fmla="*/ 110 w 122"/>
              <a:gd name="T57" fmla="*/ 89 h 122"/>
              <a:gd name="T58" fmla="*/ 89 w 122"/>
              <a:gd name="T59" fmla="*/ 88 h 122"/>
              <a:gd name="T60" fmla="*/ 93 w 122"/>
              <a:gd name="T61" fmla="*/ 58 h 122"/>
              <a:gd name="T62" fmla="*/ 110 w 122"/>
              <a:gd name="T63" fmla="*/ 33 h 122"/>
              <a:gd name="T64" fmla="*/ 93 w 122"/>
              <a:gd name="T65" fmla="*/ 58 h 122"/>
              <a:gd name="T66" fmla="*/ 88 w 122"/>
              <a:gd name="T67" fmla="*/ 29 h 122"/>
              <a:gd name="T68" fmla="*/ 101 w 122"/>
              <a:gd name="T69" fmla="*/ 20 h 122"/>
              <a:gd name="T70" fmla="*/ 21 w 122"/>
              <a:gd name="T71" fmla="*/ 20 h 122"/>
              <a:gd name="T72" fmla="*/ 33 w 122"/>
              <a:gd name="T73" fmla="*/ 29 h 122"/>
              <a:gd name="T74" fmla="*/ 21 w 122"/>
              <a:gd name="T75" fmla="*/ 20 h 122"/>
              <a:gd name="T76" fmla="*/ 33 w 122"/>
              <a:gd name="T77" fmla="*/ 92 h 122"/>
              <a:gd name="T78" fmla="*/ 21 w 122"/>
              <a:gd name="T79" fmla="*/ 101 h 122"/>
              <a:gd name="T80" fmla="*/ 101 w 122"/>
              <a:gd name="T81" fmla="*/ 101 h 122"/>
              <a:gd name="T82" fmla="*/ 88 w 122"/>
              <a:gd name="T83" fmla="*/ 92 h 122"/>
              <a:gd name="T84" fmla="*/ 101 w 122"/>
              <a:gd name="T85" fmla="*/ 101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22" h="122">
                <a:moveTo>
                  <a:pt x="61" y="0"/>
                </a:moveTo>
                <a:cubicBezTo>
                  <a:pt x="27" y="0"/>
                  <a:pt x="0" y="27"/>
                  <a:pt x="0" y="61"/>
                </a:cubicBezTo>
                <a:cubicBezTo>
                  <a:pt x="0" y="94"/>
                  <a:pt x="27" y="122"/>
                  <a:pt x="61" y="122"/>
                </a:cubicBezTo>
                <a:cubicBezTo>
                  <a:pt x="95" y="122"/>
                  <a:pt x="122" y="94"/>
                  <a:pt x="122" y="61"/>
                </a:cubicBezTo>
                <a:cubicBezTo>
                  <a:pt x="122" y="27"/>
                  <a:pt x="95" y="0"/>
                  <a:pt x="61" y="0"/>
                </a:cubicBezTo>
                <a:close/>
                <a:moveTo>
                  <a:pt x="50" y="116"/>
                </a:moveTo>
                <a:cubicBezTo>
                  <a:pt x="45" y="109"/>
                  <a:pt x="40" y="101"/>
                  <a:pt x="37" y="92"/>
                </a:cubicBezTo>
                <a:cubicBezTo>
                  <a:pt x="59" y="92"/>
                  <a:pt x="59" y="92"/>
                  <a:pt x="59" y="92"/>
                </a:cubicBezTo>
                <a:cubicBezTo>
                  <a:pt x="59" y="117"/>
                  <a:pt x="59" y="117"/>
                  <a:pt x="59" y="117"/>
                </a:cubicBezTo>
                <a:cubicBezTo>
                  <a:pt x="56" y="117"/>
                  <a:pt x="53" y="117"/>
                  <a:pt x="50" y="116"/>
                </a:cubicBezTo>
                <a:close/>
                <a:moveTo>
                  <a:pt x="4" y="63"/>
                </a:moveTo>
                <a:cubicBezTo>
                  <a:pt x="28" y="63"/>
                  <a:pt x="28" y="63"/>
                  <a:pt x="28" y="63"/>
                </a:cubicBezTo>
                <a:cubicBezTo>
                  <a:pt x="28" y="72"/>
                  <a:pt x="29" y="80"/>
                  <a:pt x="31" y="88"/>
                </a:cubicBezTo>
                <a:cubicBezTo>
                  <a:pt x="11" y="88"/>
                  <a:pt x="11" y="88"/>
                  <a:pt x="11" y="88"/>
                </a:cubicBezTo>
                <a:cubicBezTo>
                  <a:pt x="7" y="81"/>
                  <a:pt x="5" y="72"/>
                  <a:pt x="4" y="63"/>
                </a:cubicBezTo>
                <a:close/>
                <a:moveTo>
                  <a:pt x="63" y="29"/>
                </a:moveTo>
                <a:cubicBezTo>
                  <a:pt x="63" y="4"/>
                  <a:pt x="63" y="4"/>
                  <a:pt x="63" y="4"/>
                </a:cubicBezTo>
                <a:cubicBezTo>
                  <a:pt x="65" y="4"/>
                  <a:pt x="68" y="4"/>
                  <a:pt x="70" y="5"/>
                </a:cubicBezTo>
                <a:cubicBezTo>
                  <a:pt x="76" y="12"/>
                  <a:pt x="80" y="20"/>
                  <a:pt x="83" y="29"/>
                </a:cubicBezTo>
                <a:lnTo>
                  <a:pt x="63" y="29"/>
                </a:lnTo>
                <a:close/>
                <a:moveTo>
                  <a:pt x="85" y="33"/>
                </a:moveTo>
                <a:cubicBezTo>
                  <a:pt x="87" y="41"/>
                  <a:pt x="88" y="49"/>
                  <a:pt x="89" y="58"/>
                </a:cubicBezTo>
                <a:cubicBezTo>
                  <a:pt x="63" y="58"/>
                  <a:pt x="63" y="58"/>
                  <a:pt x="63" y="58"/>
                </a:cubicBezTo>
                <a:cubicBezTo>
                  <a:pt x="63" y="33"/>
                  <a:pt x="63" y="33"/>
                  <a:pt x="63" y="33"/>
                </a:cubicBezTo>
                <a:lnTo>
                  <a:pt x="85" y="33"/>
                </a:lnTo>
                <a:close/>
                <a:moveTo>
                  <a:pt x="59" y="29"/>
                </a:moveTo>
                <a:cubicBezTo>
                  <a:pt x="37" y="29"/>
                  <a:pt x="37" y="29"/>
                  <a:pt x="37" y="29"/>
                </a:cubicBezTo>
                <a:cubicBezTo>
                  <a:pt x="40" y="20"/>
                  <a:pt x="45" y="12"/>
                  <a:pt x="50" y="5"/>
                </a:cubicBezTo>
                <a:cubicBezTo>
                  <a:pt x="53" y="4"/>
                  <a:pt x="56" y="4"/>
                  <a:pt x="59" y="4"/>
                </a:cubicBezTo>
                <a:lnTo>
                  <a:pt x="59" y="29"/>
                </a:lnTo>
                <a:close/>
                <a:moveTo>
                  <a:pt x="59" y="33"/>
                </a:moveTo>
                <a:cubicBezTo>
                  <a:pt x="59" y="58"/>
                  <a:pt x="59" y="58"/>
                  <a:pt x="59" y="58"/>
                </a:cubicBezTo>
                <a:cubicBezTo>
                  <a:pt x="32" y="58"/>
                  <a:pt x="32" y="58"/>
                  <a:pt x="32" y="58"/>
                </a:cubicBezTo>
                <a:cubicBezTo>
                  <a:pt x="32" y="49"/>
                  <a:pt x="33" y="41"/>
                  <a:pt x="36" y="33"/>
                </a:cubicBezTo>
                <a:lnTo>
                  <a:pt x="59" y="33"/>
                </a:lnTo>
                <a:close/>
                <a:moveTo>
                  <a:pt x="28" y="58"/>
                </a:moveTo>
                <a:cubicBezTo>
                  <a:pt x="4" y="58"/>
                  <a:pt x="4" y="58"/>
                  <a:pt x="4" y="58"/>
                </a:cubicBezTo>
                <a:cubicBezTo>
                  <a:pt x="5" y="49"/>
                  <a:pt x="7" y="40"/>
                  <a:pt x="11" y="33"/>
                </a:cubicBezTo>
                <a:cubicBezTo>
                  <a:pt x="31" y="33"/>
                  <a:pt x="31" y="33"/>
                  <a:pt x="31" y="33"/>
                </a:cubicBezTo>
                <a:cubicBezTo>
                  <a:pt x="29" y="41"/>
                  <a:pt x="28" y="49"/>
                  <a:pt x="28" y="58"/>
                </a:cubicBezTo>
                <a:close/>
                <a:moveTo>
                  <a:pt x="32" y="63"/>
                </a:moveTo>
                <a:cubicBezTo>
                  <a:pt x="59" y="63"/>
                  <a:pt x="59" y="63"/>
                  <a:pt x="59" y="63"/>
                </a:cubicBezTo>
                <a:cubicBezTo>
                  <a:pt x="59" y="88"/>
                  <a:pt x="59" y="88"/>
                  <a:pt x="59" y="88"/>
                </a:cubicBezTo>
                <a:cubicBezTo>
                  <a:pt x="36" y="88"/>
                  <a:pt x="36" y="88"/>
                  <a:pt x="36" y="88"/>
                </a:cubicBezTo>
                <a:cubicBezTo>
                  <a:pt x="33" y="80"/>
                  <a:pt x="32" y="72"/>
                  <a:pt x="32" y="63"/>
                </a:cubicBezTo>
                <a:close/>
                <a:moveTo>
                  <a:pt x="63" y="92"/>
                </a:moveTo>
                <a:cubicBezTo>
                  <a:pt x="83" y="92"/>
                  <a:pt x="83" y="92"/>
                  <a:pt x="83" y="92"/>
                </a:cubicBezTo>
                <a:cubicBezTo>
                  <a:pt x="80" y="101"/>
                  <a:pt x="76" y="110"/>
                  <a:pt x="70" y="117"/>
                </a:cubicBezTo>
                <a:cubicBezTo>
                  <a:pt x="68" y="117"/>
                  <a:pt x="65" y="117"/>
                  <a:pt x="63" y="117"/>
                </a:cubicBezTo>
                <a:lnTo>
                  <a:pt x="63" y="92"/>
                </a:lnTo>
                <a:close/>
                <a:moveTo>
                  <a:pt x="63" y="88"/>
                </a:moveTo>
                <a:cubicBezTo>
                  <a:pt x="63" y="63"/>
                  <a:pt x="63" y="63"/>
                  <a:pt x="63" y="63"/>
                </a:cubicBezTo>
                <a:cubicBezTo>
                  <a:pt x="89" y="63"/>
                  <a:pt x="89" y="63"/>
                  <a:pt x="89" y="63"/>
                </a:cubicBezTo>
                <a:cubicBezTo>
                  <a:pt x="88" y="72"/>
                  <a:pt x="87" y="80"/>
                  <a:pt x="85" y="88"/>
                </a:cubicBezTo>
                <a:lnTo>
                  <a:pt x="63" y="88"/>
                </a:lnTo>
                <a:close/>
                <a:moveTo>
                  <a:pt x="93" y="63"/>
                </a:moveTo>
                <a:cubicBezTo>
                  <a:pt x="117" y="63"/>
                  <a:pt x="117" y="63"/>
                  <a:pt x="117" y="63"/>
                </a:cubicBezTo>
                <a:cubicBezTo>
                  <a:pt x="117" y="72"/>
                  <a:pt x="114" y="81"/>
                  <a:pt x="110" y="89"/>
                </a:cubicBezTo>
                <a:cubicBezTo>
                  <a:pt x="110" y="88"/>
                  <a:pt x="110" y="88"/>
                  <a:pt x="110" y="88"/>
                </a:cubicBezTo>
                <a:cubicBezTo>
                  <a:pt x="89" y="88"/>
                  <a:pt x="89" y="88"/>
                  <a:pt x="89" y="88"/>
                </a:cubicBezTo>
                <a:cubicBezTo>
                  <a:pt x="91" y="80"/>
                  <a:pt x="93" y="72"/>
                  <a:pt x="93" y="63"/>
                </a:cubicBezTo>
                <a:close/>
                <a:moveTo>
                  <a:pt x="93" y="58"/>
                </a:moveTo>
                <a:cubicBezTo>
                  <a:pt x="93" y="49"/>
                  <a:pt x="91" y="41"/>
                  <a:pt x="89" y="33"/>
                </a:cubicBezTo>
                <a:cubicBezTo>
                  <a:pt x="110" y="33"/>
                  <a:pt x="110" y="33"/>
                  <a:pt x="110" y="33"/>
                </a:cubicBezTo>
                <a:cubicBezTo>
                  <a:pt x="115" y="40"/>
                  <a:pt x="117" y="49"/>
                  <a:pt x="117" y="58"/>
                </a:cubicBezTo>
                <a:lnTo>
                  <a:pt x="93" y="58"/>
                </a:lnTo>
                <a:close/>
                <a:moveTo>
                  <a:pt x="108" y="29"/>
                </a:moveTo>
                <a:cubicBezTo>
                  <a:pt x="88" y="29"/>
                  <a:pt x="88" y="29"/>
                  <a:pt x="88" y="29"/>
                </a:cubicBezTo>
                <a:cubicBezTo>
                  <a:pt x="85" y="20"/>
                  <a:pt x="81" y="13"/>
                  <a:pt x="76" y="6"/>
                </a:cubicBezTo>
                <a:cubicBezTo>
                  <a:pt x="86" y="9"/>
                  <a:pt x="94" y="14"/>
                  <a:pt x="101" y="20"/>
                </a:cubicBezTo>
                <a:cubicBezTo>
                  <a:pt x="103" y="23"/>
                  <a:pt x="106" y="26"/>
                  <a:pt x="108" y="29"/>
                </a:cubicBezTo>
                <a:close/>
                <a:moveTo>
                  <a:pt x="21" y="20"/>
                </a:moveTo>
                <a:cubicBezTo>
                  <a:pt x="27" y="14"/>
                  <a:pt x="35" y="9"/>
                  <a:pt x="44" y="7"/>
                </a:cubicBezTo>
                <a:cubicBezTo>
                  <a:pt x="39" y="13"/>
                  <a:pt x="35" y="21"/>
                  <a:pt x="33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6" y="26"/>
                  <a:pt x="18" y="23"/>
                  <a:pt x="21" y="20"/>
                </a:cubicBezTo>
                <a:close/>
                <a:moveTo>
                  <a:pt x="14" y="92"/>
                </a:moveTo>
                <a:cubicBezTo>
                  <a:pt x="33" y="92"/>
                  <a:pt x="33" y="92"/>
                  <a:pt x="33" y="92"/>
                </a:cubicBezTo>
                <a:cubicBezTo>
                  <a:pt x="35" y="101"/>
                  <a:pt x="39" y="108"/>
                  <a:pt x="44" y="115"/>
                </a:cubicBezTo>
                <a:cubicBezTo>
                  <a:pt x="35" y="112"/>
                  <a:pt x="27" y="107"/>
                  <a:pt x="21" y="101"/>
                </a:cubicBezTo>
                <a:cubicBezTo>
                  <a:pt x="18" y="98"/>
                  <a:pt x="16" y="95"/>
                  <a:pt x="14" y="92"/>
                </a:cubicBezTo>
                <a:close/>
                <a:moveTo>
                  <a:pt x="101" y="101"/>
                </a:moveTo>
                <a:cubicBezTo>
                  <a:pt x="94" y="107"/>
                  <a:pt x="86" y="112"/>
                  <a:pt x="76" y="115"/>
                </a:cubicBezTo>
                <a:cubicBezTo>
                  <a:pt x="81" y="108"/>
                  <a:pt x="85" y="101"/>
                  <a:pt x="88" y="92"/>
                </a:cubicBezTo>
                <a:cubicBezTo>
                  <a:pt x="108" y="92"/>
                  <a:pt x="108" y="92"/>
                  <a:pt x="108" y="92"/>
                </a:cubicBezTo>
                <a:cubicBezTo>
                  <a:pt x="106" y="95"/>
                  <a:pt x="103" y="98"/>
                  <a:pt x="101" y="10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" name="Freeform 87"/>
          <p:cNvSpPr>
            <a:spLocks noEditPoints="1"/>
          </p:cNvSpPr>
          <p:nvPr/>
        </p:nvSpPr>
        <p:spPr bwMode="auto">
          <a:xfrm>
            <a:off x="1262150" y="4277192"/>
            <a:ext cx="467492" cy="618296"/>
          </a:xfrm>
          <a:custGeom>
            <a:avLst/>
            <a:gdLst>
              <a:gd name="T0" fmla="*/ 79 w 104"/>
              <a:gd name="T1" fmla="*/ 63 h 138"/>
              <a:gd name="T2" fmla="*/ 84 w 104"/>
              <a:gd name="T3" fmla="*/ 48 h 138"/>
              <a:gd name="T4" fmla="*/ 84 w 104"/>
              <a:gd name="T5" fmla="*/ 29 h 138"/>
              <a:gd name="T6" fmla="*/ 52 w 104"/>
              <a:gd name="T7" fmla="*/ 0 h 138"/>
              <a:gd name="T8" fmla="*/ 20 w 104"/>
              <a:gd name="T9" fmla="*/ 29 h 138"/>
              <a:gd name="T10" fmla="*/ 20 w 104"/>
              <a:gd name="T11" fmla="*/ 48 h 138"/>
              <a:gd name="T12" fmla="*/ 25 w 104"/>
              <a:gd name="T13" fmla="*/ 63 h 138"/>
              <a:gd name="T14" fmla="*/ 0 w 104"/>
              <a:gd name="T15" fmla="*/ 107 h 138"/>
              <a:gd name="T16" fmla="*/ 0 w 104"/>
              <a:gd name="T17" fmla="*/ 119 h 138"/>
              <a:gd name="T18" fmla="*/ 52 w 104"/>
              <a:gd name="T19" fmla="*/ 138 h 138"/>
              <a:gd name="T20" fmla="*/ 104 w 104"/>
              <a:gd name="T21" fmla="*/ 119 h 138"/>
              <a:gd name="T22" fmla="*/ 104 w 104"/>
              <a:gd name="T23" fmla="*/ 107 h 138"/>
              <a:gd name="T24" fmla="*/ 79 w 104"/>
              <a:gd name="T25" fmla="*/ 63 h 138"/>
              <a:gd name="T26" fmla="*/ 58 w 104"/>
              <a:gd name="T27" fmla="*/ 82 h 138"/>
              <a:gd name="T28" fmla="*/ 58 w 104"/>
              <a:gd name="T29" fmla="*/ 126 h 138"/>
              <a:gd name="T30" fmla="*/ 47 w 104"/>
              <a:gd name="T31" fmla="*/ 126 h 138"/>
              <a:gd name="T32" fmla="*/ 47 w 104"/>
              <a:gd name="T33" fmla="*/ 82 h 138"/>
              <a:gd name="T34" fmla="*/ 44 w 104"/>
              <a:gd name="T35" fmla="*/ 76 h 138"/>
              <a:gd name="T36" fmla="*/ 52 w 104"/>
              <a:gd name="T37" fmla="*/ 77 h 138"/>
              <a:gd name="T38" fmla="*/ 61 w 104"/>
              <a:gd name="T39" fmla="*/ 76 h 138"/>
              <a:gd name="T40" fmla="*/ 58 w 104"/>
              <a:gd name="T41" fmla="*/ 82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4" h="138">
                <a:moveTo>
                  <a:pt x="79" y="63"/>
                </a:moveTo>
                <a:cubicBezTo>
                  <a:pt x="82" y="58"/>
                  <a:pt x="84" y="53"/>
                  <a:pt x="84" y="48"/>
                </a:cubicBezTo>
                <a:cubicBezTo>
                  <a:pt x="84" y="29"/>
                  <a:pt x="84" y="29"/>
                  <a:pt x="84" y="29"/>
                </a:cubicBezTo>
                <a:cubicBezTo>
                  <a:pt x="84" y="13"/>
                  <a:pt x="70" y="0"/>
                  <a:pt x="52" y="0"/>
                </a:cubicBezTo>
                <a:cubicBezTo>
                  <a:pt x="35" y="0"/>
                  <a:pt x="20" y="13"/>
                  <a:pt x="20" y="29"/>
                </a:cubicBezTo>
                <a:cubicBezTo>
                  <a:pt x="20" y="48"/>
                  <a:pt x="20" y="48"/>
                  <a:pt x="20" y="48"/>
                </a:cubicBezTo>
                <a:cubicBezTo>
                  <a:pt x="20" y="53"/>
                  <a:pt x="22" y="58"/>
                  <a:pt x="25" y="63"/>
                </a:cubicBezTo>
                <a:cubicBezTo>
                  <a:pt x="10" y="72"/>
                  <a:pt x="0" y="88"/>
                  <a:pt x="0" y="107"/>
                </a:cubicBezTo>
                <a:cubicBezTo>
                  <a:pt x="0" y="119"/>
                  <a:pt x="0" y="119"/>
                  <a:pt x="0" y="119"/>
                </a:cubicBezTo>
                <a:cubicBezTo>
                  <a:pt x="14" y="131"/>
                  <a:pt x="32" y="138"/>
                  <a:pt x="52" y="138"/>
                </a:cubicBezTo>
                <a:cubicBezTo>
                  <a:pt x="72" y="138"/>
                  <a:pt x="90" y="131"/>
                  <a:pt x="104" y="119"/>
                </a:cubicBezTo>
                <a:cubicBezTo>
                  <a:pt x="104" y="107"/>
                  <a:pt x="104" y="107"/>
                  <a:pt x="104" y="107"/>
                </a:cubicBezTo>
                <a:cubicBezTo>
                  <a:pt x="104" y="88"/>
                  <a:pt x="94" y="72"/>
                  <a:pt x="79" y="63"/>
                </a:cubicBezTo>
                <a:close/>
                <a:moveTo>
                  <a:pt x="58" y="82"/>
                </a:moveTo>
                <a:cubicBezTo>
                  <a:pt x="58" y="126"/>
                  <a:pt x="58" y="126"/>
                  <a:pt x="58" y="126"/>
                </a:cubicBezTo>
                <a:cubicBezTo>
                  <a:pt x="47" y="126"/>
                  <a:pt x="47" y="126"/>
                  <a:pt x="47" y="126"/>
                </a:cubicBezTo>
                <a:cubicBezTo>
                  <a:pt x="47" y="82"/>
                  <a:pt x="47" y="82"/>
                  <a:pt x="47" y="82"/>
                </a:cubicBezTo>
                <a:cubicBezTo>
                  <a:pt x="45" y="80"/>
                  <a:pt x="44" y="78"/>
                  <a:pt x="44" y="76"/>
                </a:cubicBezTo>
                <a:cubicBezTo>
                  <a:pt x="46" y="76"/>
                  <a:pt x="49" y="77"/>
                  <a:pt x="52" y="77"/>
                </a:cubicBezTo>
                <a:cubicBezTo>
                  <a:pt x="55" y="77"/>
                  <a:pt x="58" y="76"/>
                  <a:pt x="61" y="76"/>
                </a:cubicBezTo>
                <a:cubicBezTo>
                  <a:pt x="61" y="78"/>
                  <a:pt x="59" y="80"/>
                  <a:pt x="58" y="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1733909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15" name="组合 14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2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7" name="文本框 16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sp>
        <p:nvSpPr>
          <p:cNvPr id="170" name="矩形 1"/>
          <p:cNvSpPr>
            <a:spLocks noChangeArrowheads="1"/>
          </p:cNvSpPr>
          <p:nvPr/>
        </p:nvSpPr>
        <p:spPr bwMode="auto">
          <a:xfrm>
            <a:off x="1199456" y="2644170"/>
            <a:ext cx="6274578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zh-CN" altLang="zh-CN" sz="28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</a:t>
            </a:r>
            <a:r>
              <a:rPr lang="en-US" altLang="zh-CN" sz="20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zh-CN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zh-CN" altLang="zh-CN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第一家精品</a:t>
            </a:r>
            <a:r>
              <a:rPr lang="en-US" altLang="zh-CN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。拥有国内顶尖的</a:t>
            </a:r>
            <a:r>
              <a:rPr lang="en-US" altLang="zh-CN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</a:t>
            </a:r>
            <a:r>
              <a:rPr lang="zh-CN" altLang="zh-CN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团队坚持</a:t>
            </a:r>
            <a:r>
              <a:rPr lang="zh-CN" altLang="zh-CN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精益求精、拒绝平庸的做事精神。</a:t>
            </a:r>
          </a:p>
        </p:txBody>
      </p:sp>
      <p:sp>
        <p:nvSpPr>
          <p:cNvPr id="77" name="Freeform 173"/>
          <p:cNvSpPr>
            <a:spLocks noEditPoints="1"/>
          </p:cNvSpPr>
          <p:nvPr/>
        </p:nvSpPr>
        <p:spPr bwMode="auto">
          <a:xfrm>
            <a:off x="8328248" y="1478887"/>
            <a:ext cx="2532700" cy="3523262"/>
          </a:xfrm>
          <a:custGeom>
            <a:avLst/>
            <a:gdLst>
              <a:gd name="T0" fmla="*/ 97 w 99"/>
              <a:gd name="T1" fmla="*/ 61 h 138"/>
              <a:gd name="T2" fmla="*/ 91 w 99"/>
              <a:gd name="T3" fmla="*/ 69 h 138"/>
              <a:gd name="T4" fmla="*/ 87 w 99"/>
              <a:gd name="T5" fmla="*/ 64 h 138"/>
              <a:gd name="T6" fmla="*/ 78 w 99"/>
              <a:gd name="T7" fmla="*/ 59 h 138"/>
              <a:gd name="T8" fmla="*/ 77 w 99"/>
              <a:gd name="T9" fmla="*/ 69 h 138"/>
              <a:gd name="T10" fmla="*/ 71 w 99"/>
              <a:gd name="T11" fmla="*/ 18 h 138"/>
              <a:gd name="T12" fmla="*/ 29 w 99"/>
              <a:gd name="T13" fmla="*/ 18 h 138"/>
              <a:gd name="T14" fmla="*/ 22 w 99"/>
              <a:gd name="T15" fmla="*/ 69 h 138"/>
              <a:gd name="T16" fmla="*/ 22 w 99"/>
              <a:gd name="T17" fmla="*/ 59 h 138"/>
              <a:gd name="T18" fmla="*/ 13 w 99"/>
              <a:gd name="T19" fmla="*/ 64 h 138"/>
              <a:gd name="T20" fmla="*/ 8 w 99"/>
              <a:gd name="T21" fmla="*/ 69 h 138"/>
              <a:gd name="T22" fmla="*/ 2 w 99"/>
              <a:gd name="T23" fmla="*/ 61 h 138"/>
              <a:gd name="T24" fmla="*/ 0 w 99"/>
              <a:gd name="T25" fmla="*/ 73 h 138"/>
              <a:gd name="T26" fmla="*/ 2 w 99"/>
              <a:gd name="T27" fmla="*/ 83 h 138"/>
              <a:gd name="T28" fmla="*/ 8 w 99"/>
              <a:gd name="T29" fmla="*/ 82 h 138"/>
              <a:gd name="T30" fmla="*/ 14 w 99"/>
              <a:gd name="T31" fmla="*/ 77 h 138"/>
              <a:gd name="T32" fmla="*/ 44 w 99"/>
              <a:gd name="T33" fmla="*/ 111 h 138"/>
              <a:gd name="T34" fmla="*/ 18 w 99"/>
              <a:gd name="T35" fmla="*/ 131 h 138"/>
              <a:gd name="T36" fmla="*/ 81 w 99"/>
              <a:gd name="T37" fmla="*/ 138 h 138"/>
              <a:gd name="T38" fmla="*/ 55 w 99"/>
              <a:gd name="T39" fmla="*/ 131 h 138"/>
              <a:gd name="T40" fmla="*/ 75 w 99"/>
              <a:gd name="T41" fmla="*/ 99 h 138"/>
              <a:gd name="T42" fmla="*/ 91 w 99"/>
              <a:gd name="T43" fmla="*/ 77 h 138"/>
              <a:gd name="T44" fmla="*/ 97 w 99"/>
              <a:gd name="T45" fmla="*/ 83 h 138"/>
              <a:gd name="T46" fmla="*/ 97 w 99"/>
              <a:gd name="T47" fmla="*/ 76 h 138"/>
              <a:gd name="T48" fmla="*/ 97 w 99"/>
              <a:gd name="T49" fmla="*/ 70 h 138"/>
              <a:gd name="T50" fmla="*/ 62 w 99"/>
              <a:gd name="T51" fmla="*/ 15 h 138"/>
              <a:gd name="T52" fmla="*/ 64 w 99"/>
              <a:gd name="T53" fmla="*/ 30 h 138"/>
              <a:gd name="T54" fmla="*/ 59 w 99"/>
              <a:gd name="T55" fmla="*/ 30 h 138"/>
              <a:gd name="T56" fmla="*/ 69 w 99"/>
              <a:gd name="T57" fmla="*/ 93 h 138"/>
              <a:gd name="T58" fmla="*/ 31 w 99"/>
              <a:gd name="T59" fmla="*/ 93 h 138"/>
              <a:gd name="T60" fmla="*/ 29 w 99"/>
              <a:gd name="T61" fmla="*/ 77 h 138"/>
              <a:gd name="T62" fmla="*/ 50 w 99"/>
              <a:gd name="T63" fmla="*/ 97 h 138"/>
              <a:gd name="T64" fmla="*/ 71 w 99"/>
              <a:gd name="T65" fmla="*/ 77 h 138"/>
              <a:gd name="T66" fmla="*/ 69 w 99"/>
              <a:gd name="T67" fmla="*/ 93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9" h="138">
                <a:moveTo>
                  <a:pt x="97" y="70"/>
                </a:moveTo>
                <a:cubicBezTo>
                  <a:pt x="97" y="61"/>
                  <a:pt x="97" y="61"/>
                  <a:pt x="97" y="61"/>
                </a:cubicBezTo>
                <a:cubicBezTo>
                  <a:pt x="91" y="61"/>
                  <a:pt x="91" y="61"/>
                  <a:pt x="91" y="61"/>
                </a:cubicBezTo>
                <a:cubicBezTo>
                  <a:pt x="91" y="69"/>
                  <a:pt x="91" y="69"/>
                  <a:pt x="91" y="69"/>
                </a:cubicBezTo>
                <a:cubicBezTo>
                  <a:pt x="87" y="69"/>
                  <a:pt x="87" y="69"/>
                  <a:pt x="87" y="69"/>
                </a:cubicBezTo>
                <a:cubicBezTo>
                  <a:pt x="87" y="67"/>
                  <a:pt x="87" y="66"/>
                  <a:pt x="87" y="64"/>
                </a:cubicBezTo>
                <a:cubicBezTo>
                  <a:pt x="87" y="59"/>
                  <a:pt x="87" y="59"/>
                  <a:pt x="87" y="59"/>
                </a:cubicBezTo>
                <a:cubicBezTo>
                  <a:pt x="78" y="59"/>
                  <a:pt x="78" y="59"/>
                  <a:pt x="78" y="59"/>
                </a:cubicBezTo>
                <a:cubicBezTo>
                  <a:pt x="78" y="64"/>
                  <a:pt x="78" y="64"/>
                  <a:pt x="78" y="64"/>
                </a:cubicBezTo>
                <a:cubicBezTo>
                  <a:pt x="78" y="66"/>
                  <a:pt x="78" y="67"/>
                  <a:pt x="77" y="69"/>
                </a:cubicBezTo>
                <a:cubicBezTo>
                  <a:pt x="71" y="69"/>
                  <a:pt x="71" y="69"/>
                  <a:pt x="71" y="69"/>
                </a:cubicBezTo>
                <a:cubicBezTo>
                  <a:pt x="71" y="18"/>
                  <a:pt x="71" y="18"/>
                  <a:pt x="71" y="18"/>
                </a:cubicBezTo>
                <a:cubicBezTo>
                  <a:pt x="71" y="8"/>
                  <a:pt x="62" y="0"/>
                  <a:pt x="50" y="0"/>
                </a:cubicBezTo>
                <a:cubicBezTo>
                  <a:pt x="38" y="0"/>
                  <a:pt x="29" y="8"/>
                  <a:pt x="29" y="18"/>
                </a:cubicBezTo>
                <a:cubicBezTo>
                  <a:pt x="29" y="69"/>
                  <a:pt x="29" y="69"/>
                  <a:pt x="29" y="69"/>
                </a:cubicBezTo>
                <a:cubicBezTo>
                  <a:pt x="22" y="69"/>
                  <a:pt x="22" y="69"/>
                  <a:pt x="22" y="69"/>
                </a:cubicBezTo>
                <a:cubicBezTo>
                  <a:pt x="22" y="67"/>
                  <a:pt x="22" y="66"/>
                  <a:pt x="22" y="64"/>
                </a:cubicBezTo>
                <a:cubicBezTo>
                  <a:pt x="22" y="59"/>
                  <a:pt x="22" y="59"/>
                  <a:pt x="22" y="59"/>
                </a:cubicBezTo>
                <a:cubicBezTo>
                  <a:pt x="13" y="59"/>
                  <a:pt x="13" y="59"/>
                  <a:pt x="13" y="59"/>
                </a:cubicBezTo>
                <a:cubicBezTo>
                  <a:pt x="13" y="64"/>
                  <a:pt x="13" y="64"/>
                  <a:pt x="13" y="64"/>
                </a:cubicBezTo>
                <a:cubicBezTo>
                  <a:pt x="13" y="66"/>
                  <a:pt x="13" y="67"/>
                  <a:pt x="13" y="69"/>
                </a:cubicBezTo>
                <a:cubicBezTo>
                  <a:pt x="8" y="69"/>
                  <a:pt x="8" y="69"/>
                  <a:pt x="8" y="69"/>
                </a:cubicBezTo>
                <a:cubicBezTo>
                  <a:pt x="8" y="61"/>
                  <a:pt x="8" y="61"/>
                  <a:pt x="8" y="61"/>
                </a:cubicBezTo>
                <a:cubicBezTo>
                  <a:pt x="2" y="61"/>
                  <a:pt x="2" y="61"/>
                  <a:pt x="2" y="61"/>
                </a:cubicBezTo>
                <a:cubicBezTo>
                  <a:pt x="2" y="70"/>
                  <a:pt x="2" y="70"/>
                  <a:pt x="2" y="70"/>
                </a:cubicBezTo>
                <a:cubicBezTo>
                  <a:pt x="1" y="70"/>
                  <a:pt x="0" y="72"/>
                  <a:pt x="0" y="73"/>
                </a:cubicBezTo>
                <a:cubicBezTo>
                  <a:pt x="0" y="75"/>
                  <a:pt x="1" y="76"/>
                  <a:pt x="2" y="76"/>
                </a:cubicBezTo>
                <a:cubicBezTo>
                  <a:pt x="2" y="83"/>
                  <a:pt x="2" y="83"/>
                  <a:pt x="2" y="83"/>
                </a:cubicBezTo>
                <a:cubicBezTo>
                  <a:pt x="8" y="83"/>
                  <a:pt x="8" y="83"/>
                  <a:pt x="8" y="83"/>
                </a:cubicBezTo>
                <a:cubicBezTo>
                  <a:pt x="8" y="82"/>
                  <a:pt x="8" y="82"/>
                  <a:pt x="8" y="82"/>
                </a:cubicBezTo>
                <a:cubicBezTo>
                  <a:pt x="8" y="77"/>
                  <a:pt x="8" y="77"/>
                  <a:pt x="8" y="77"/>
                </a:cubicBezTo>
                <a:cubicBezTo>
                  <a:pt x="14" y="77"/>
                  <a:pt x="14" y="77"/>
                  <a:pt x="14" y="77"/>
                </a:cubicBezTo>
                <a:cubicBezTo>
                  <a:pt x="16" y="86"/>
                  <a:pt x="19" y="93"/>
                  <a:pt x="24" y="99"/>
                </a:cubicBezTo>
                <a:cubicBezTo>
                  <a:pt x="30" y="105"/>
                  <a:pt x="37" y="109"/>
                  <a:pt x="44" y="111"/>
                </a:cubicBezTo>
                <a:cubicBezTo>
                  <a:pt x="44" y="131"/>
                  <a:pt x="44" y="131"/>
                  <a:pt x="44" y="131"/>
                </a:cubicBezTo>
                <a:cubicBezTo>
                  <a:pt x="18" y="131"/>
                  <a:pt x="18" y="131"/>
                  <a:pt x="18" y="131"/>
                </a:cubicBezTo>
                <a:cubicBezTo>
                  <a:pt x="18" y="138"/>
                  <a:pt x="18" y="138"/>
                  <a:pt x="18" y="138"/>
                </a:cubicBezTo>
                <a:cubicBezTo>
                  <a:pt x="81" y="138"/>
                  <a:pt x="81" y="138"/>
                  <a:pt x="81" y="138"/>
                </a:cubicBezTo>
                <a:cubicBezTo>
                  <a:pt x="81" y="131"/>
                  <a:pt x="81" y="131"/>
                  <a:pt x="81" y="131"/>
                </a:cubicBezTo>
                <a:cubicBezTo>
                  <a:pt x="55" y="131"/>
                  <a:pt x="55" y="131"/>
                  <a:pt x="55" y="131"/>
                </a:cubicBezTo>
                <a:cubicBezTo>
                  <a:pt x="55" y="111"/>
                  <a:pt x="55" y="111"/>
                  <a:pt x="55" y="111"/>
                </a:cubicBezTo>
                <a:cubicBezTo>
                  <a:pt x="63" y="109"/>
                  <a:pt x="70" y="105"/>
                  <a:pt x="75" y="99"/>
                </a:cubicBezTo>
                <a:cubicBezTo>
                  <a:pt x="80" y="93"/>
                  <a:pt x="84" y="86"/>
                  <a:pt x="86" y="77"/>
                </a:cubicBezTo>
                <a:cubicBezTo>
                  <a:pt x="91" y="77"/>
                  <a:pt x="91" y="77"/>
                  <a:pt x="91" y="77"/>
                </a:cubicBezTo>
                <a:cubicBezTo>
                  <a:pt x="91" y="83"/>
                  <a:pt x="91" y="83"/>
                  <a:pt x="91" y="83"/>
                </a:cubicBezTo>
                <a:cubicBezTo>
                  <a:pt x="97" y="83"/>
                  <a:pt x="97" y="83"/>
                  <a:pt x="97" y="83"/>
                </a:cubicBezTo>
                <a:cubicBezTo>
                  <a:pt x="97" y="82"/>
                  <a:pt x="97" y="82"/>
                  <a:pt x="97" y="82"/>
                </a:cubicBezTo>
                <a:cubicBezTo>
                  <a:pt x="97" y="76"/>
                  <a:pt x="97" y="76"/>
                  <a:pt x="97" y="76"/>
                </a:cubicBezTo>
                <a:cubicBezTo>
                  <a:pt x="98" y="76"/>
                  <a:pt x="99" y="75"/>
                  <a:pt x="99" y="73"/>
                </a:cubicBezTo>
                <a:cubicBezTo>
                  <a:pt x="99" y="72"/>
                  <a:pt x="98" y="70"/>
                  <a:pt x="97" y="70"/>
                </a:cubicBezTo>
                <a:close/>
                <a:moveTo>
                  <a:pt x="59" y="18"/>
                </a:moveTo>
                <a:cubicBezTo>
                  <a:pt x="59" y="16"/>
                  <a:pt x="60" y="15"/>
                  <a:pt x="62" y="15"/>
                </a:cubicBezTo>
                <a:cubicBezTo>
                  <a:pt x="63" y="15"/>
                  <a:pt x="64" y="16"/>
                  <a:pt x="64" y="18"/>
                </a:cubicBezTo>
                <a:cubicBezTo>
                  <a:pt x="64" y="30"/>
                  <a:pt x="64" y="30"/>
                  <a:pt x="64" y="30"/>
                </a:cubicBezTo>
                <a:cubicBezTo>
                  <a:pt x="64" y="32"/>
                  <a:pt x="63" y="33"/>
                  <a:pt x="62" y="33"/>
                </a:cubicBezTo>
                <a:cubicBezTo>
                  <a:pt x="60" y="33"/>
                  <a:pt x="59" y="32"/>
                  <a:pt x="59" y="30"/>
                </a:cubicBezTo>
                <a:lnTo>
                  <a:pt x="59" y="18"/>
                </a:lnTo>
                <a:close/>
                <a:moveTo>
                  <a:pt x="69" y="93"/>
                </a:moveTo>
                <a:cubicBezTo>
                  <a:pt x="63" y="99"/>
                  <a:pt x="57" y="102"/>
                  <a:pt x="50" y="102"/>
                </a:cubicBezTo>
                <a:cubicBezTo>
                  <a:pt x="43" y="102"/>
                  <a:pt x="36" y="99"/>
                  <a:pt x="31" y="93"/>
                </a:cubicBezTo>
                <a:cubicBezTo>
                  <a:pt x="28" y="89"/>
                  <a:pt x="25" y="84"/>
                  <a:pt x="24" y="77"/>
                </a:cubicBezTo>
                <a:cubicBezTo>
                  <a:pt x="29" y="77"/>
                  <a:pt x="29" y="77"/>
                  <a:pt x="29" y="77"/>
                </a:cubicBezTo>
                <a:cubicBezTo>
                  <a:pt x="29" y="79"/>
                  <a:pt x="29" y="79"/>
                  <a:pt x="29" y="79"/>
                </a:cubicBezTo>
                <a:cubicBezTo>
                  <a:pt x="29" y="89"/>
                  <a:pt x="38" y="97"/>
                  <a:pt x="50" y="97"/>
                </a:cubicBezTo>
                <a:cubicBezTo>
                  <a:pt x="62" y="97"/>
                  <a:pt x="71" y="89"/>
                  <a:pt x="71" y="79"/>
                </a:cubicBezTo>
                <a:cubicBezTo>
                  <a:pt x="71" y="77"/>
                  <a:pt x="71" y="77"/>
                  <a:pt x="71" y="77"/>
                </a:cubicBezTo>
                <a:cubicBezTo>
                  <a:pt x="76" y="77"/>
                  <a:pt x="76" y="77"/>
                  <a:pt x="76" y="77"/>
                </a:cubicBezTo>
                <a:cubicBezTo>
                  <a:pt x="75" y="84"/>
                  <a:pt x="72" y="89"/>
                  <a:pt x="69" y="9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11837999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1721811" y="908720"/>
            <a:ext cx="3572887" cy="2680369"/>
            <a:chOff x="1721811" y="908720"/>
            <a:chExt cx="3572887" cy="2680369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4171308" y="2564242"/>
              <a:ext cx="1123390" cy="574365"/>
            </a:xfrm>
            <a:custGeom>
              <a:avLst/>
              <a:gdLst>
                <a:gd name="T0" fmla="*/ 272 w 337"/>
                <a:gd name="T1" fmla="*/ 84 h 172"/>
                <a:gd name="T2" fmla="*/ 202 w 337"/>
                <a:gd name="T3" fmla="*/ 79 h 172"/>
                <a:gd name="T4" fmla="*/ 189 w 337"/>
                <a:gd name="T5" fmla="*/ 60 h 172"/>
                <a:gd name="T6" fmla="*/ 159 w 337"/>
                <a:gd name="T7" fmla="*/ 44 h 172"/>
                <a:gd name="T8" fmla="*/ 103 w 337"/>
                <a:gd name="T9" fmla="*/ 0 h 172"/>
                <a:gd name="T10" fmla="*/ 65 w 337"/>
                <a:gd name="T11" fmla="*/ 15 h 172"/>
                <a:gd name="T12" fmla="*/ 0 w 337"/>
                <a:gd name="T13" fmla="*/ 76 h 172"/>
                <a:gd name="T14" fmla="*/ 25 w 337"/>
                <a:gd name="T15" fmla="*/ 131 h 172"/>
                <a:gd name="T16" fmla="*/ 107 w 337"/>
                <a:gd name="T17" fmla="*/ 160 h 172"/>
                <a:gd name="T18" fmla="*/ 170 w 337"/>
                <a:gd name="T19" fmla="*/ 125 h 172"/>
                <a:gd name="T20" fmla="*/ 169 w 337"/>
                <a:gd name="T21" fmla="*/ 88 h 172"/>
                <a:gd name="T22" fmla="*/ 127 w 337"/>
                <a:gd name="T23" fmla="*/ 59 h 172"/>
                <a:gd name="T24" fmla="*/ 97 w 337"/>
                <a:gd name="T25" fmla="*/ 48 h 172"/>
                <a:gd name="T26" fmla="*/ 50 w 337"/>
                <a:gd name="T27" fmla="*/ 102 h 172"/>
                <a:gd name="T28" fmla="*/ 113 w 337"/>
                <a:gd name="T29" fmla="*/ 122 h 172"/>
                <a:gd name="T30" fmla="*/ 122 w 337"/>
                <a:gd name="T31" fmla="*/ 103 h 172"/>
                <a:gd name="T32" fmla="*/ 78 w 337"/>
                <a:gd name="T33" fmla="*/ 88 h 172"/>
                <a:gd name="T34" fmla="*/ 112 w 337"/>
                <a:gd name="T35" fmla="*/ 112 h 172"/>
                <a:gd name="T36" fmla="*/ 172 w 337"/>
                <a:gd name="T37" fmla="*/ 115 h 172"/>
                <a:gd name="T38" fmla="*/ 240 w 337"/>
                <a:gd name="T39" fmla="*/ 98 h 172"/>
                <a:gd name="T40" fmla="*/ 327 w 337"/>
                <a:gd name="T41" fmla="*/ 128 h 172"/>
                <a:gd name="T42" fmla="*/ 325 w 337"/>
                <a:gd name="T43" fmla="*/ 124 h 172"/>
                <a:gd name="T44" fmla="*/ 323 w 337"/>
                <a:gd name="T45" fmla="*/ 124 h 172"/>
                <a:gd name="T46" fmla="*/ 306 w 337"/>
                <a:gd name="T47" fmla="*/ 119 h 172"/>
                <a:gd name="T48" fmla="*/ 326 w 337"/>
                <a:gd name="T49" fmla="*/ 126 h 172"/>
                <a:gd name="T50" fmla="*/ 264 w 337"/>
                <a:gd name="T51" fmla="*/ 102 h 172"/>
                <a:gd name="T52" fmla="*/ 181 w 337"/>
                <a:gd name="T53" fmla="*/ 109 h 172"/>
                <a:gd name="T54" fmla="*/ 115 w 337"/>
                <a:gd name="T55" fmla="*/ 109 h 172"/>
                <a:gd name="T56" fmla="*/ 95 w 337"/>
                <a:gd name="T57" fmla="*/ 117 h 172"/>
                <a:gd name="T58" fmla="*/ 91 w 337"/>
                <a:gd name="T59" fmla="*/ 82 h 172"/>
                <a:gd name="T60" fmla="*/ 120 w 337"/>
                <a:gd name="T61" fmla="*/ 103 h 172"/>
                <a:gd name="T62" fmla="*/ 92 w 337"/>
                <a:gd name="T63" fmla="*/ 128 h 172"/>
                <a:gd name="T64" fmla="*/ 54 w 337"/>
                <a:gd name="T65" fmla="*/ 97 h 172"/>
                <a:gd name="T66" fmla="*/ 117 w 337"/>
                <a:gd name="T67" fmla="*/ 57 h 172"/>
                <a:gd name="T68" fmla="*/ 127 w 337"/>
                <a:gd name="T69" fmla="*/ 63 h 172"/>
                <a:gd name="T70" fmla="*/ 163 w 337"/>
                <a:gd name="T71" fmla="*/ 78 h 172"/>
                <a:gd name="T72" fmla="*/ 162 w 337"/>
                <a:gd name="T73" fmla="*/ 106 h 172"/>
                <a:gd name="T74" fmla="*/ 162 w 337"/>
                <a:gd name="T75" fmla="*/ 109 h 172"/>
                <a:gd name="T76" fmla="*/ 113 w 337"/>
                <a:gd name="T77" fmla="*/ 160 h 172"/>
                <a:gd name="T78" fmla="*/ 107 w 337"/>
                <a:gd name="T79" fmla="*/ 158 h 172"/>
                <a:gd name="T80" fmla="*/ 29 w 337"/>
                <a:gd name="T81" fmla="*/ 130 h 172"/>
                <a:gd name="T82" fmla="*/ 27 w 337"/>
                <a:gd name="T83" fmla="*/ 116 h 172"/>
                <a:gd name="T84" fmla="*/ 4 w 337"/>
                <a:gd name="T85" fmla="*/ 72 h 172"/>
                <a:gd name="T86" fmla="*/ 64 w 337"/>
                <a:gd name="T87" fmla="*/ 19 h 172"/>
                <a:gd name="T88" fmla="*/ 67 w 337"/>
                <a:gd name="T89" fmla="*/ 19 h 172"/>
                <a:gd name="T90" fmla="*/ 155 w 337"/>
                <a:gd name="T91" fmla="*/ 40 h 172"/>
                <a:gd name="T92" fmla="*/ 158 w 337"/>
                <a:gd name="T93" fmla="*/ 46 h 172"/>
                <a:gd name="T94" fmla="*/ 186 w 337"/>
                <a:gd name="T95" fmla="*/ 62 h 172"/>
                <a:gd name="T96" fmla="*/ 202 w 337"/>
                <a:gd name="T97" fmla="*/ 83 h 172"/>
                <a:gd name="T98" fmla="*/ 270 w 337"/>
                <a:gd name="T99" fmla="*/ 88 h 172"/>
                <a:gd name="T100" fmla="*/ 305 w 337"/>
                <a:gd name="T101" fmla="*/ 121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7" h="172">
                  <a:moveTo>
                    <a:pt x="306" y="119"/>
                  </a:moveTo>
                  <a:cubicBezTo>
                    <a:pt x="308" y="118"/>
                    <a:pt x="308" y="118"/>
                    <a:pt x="308" y="118"/>
                  </a:cubicBezTo>
                  <a:cubicBezTo>
                    <a:pt x="308" y="118"/>
                    <a:pt x="303" y="112"/>
                    <a:pt x="296" y="105"/>
                  </a:cubicBezTo>
                  <a:cubicBezTo>
                    <a:pt x="289" y="98"/>
                    <a:pt x="281" y="89"/>
                    <a:pt x="272" y="84"/>
                  </a:cubicBezTo>
                  <a:cubicBezTo>
                    <a:pt x="261" y="78"/>
                    <a:pt x="249" y="77"/>
                    <a:pt x="240" y="77"/>
                  </a:cubicBezTo>
                  <a:cubicBezTo>
                    <a:pt x="234" y="77"/>
                    <a:pt x="229" y="77"/>
                    <a:pt x="226" y="78"/>
                  </a:cubicBezTo>
                  <a:cubicBezTo>
                    <a:pt x="222" y="79"/>
                    <a:pt x="216" y="79"/>
                    <a:pt x="211" y="79"/>
                  </a:cubicBezTo>
                  <a:cubicBezTo>
                    <a:pt x="208" y="79"/>
                    <a:pt x="205" y="79"/>
                    <a:pt x="202" y="79"/>
                  </a:cubicBezTo>
                  <a:cubicBezTo>
                    <a:pt x="200" y="78"/>
                    <a:pt x="198" y="78"/>
                    <a:pt x="198" y="77"/>
                  </a:cubicBezTo>
                  <a:cubicBezTo>
                    <a:pt x="196" y="76"/>
                    <a:pt x="195" y="73"/>
                    <a:pt x="194" y="69"/>
                  </a:cubicBezTo>
                  <a:cubicBezTo>
                    <a:pt x="193" y="68"/>
                    <a:pt x="192" y="66"/>
                    <a:pt x="192" y="64"/>
                  </a:cubicBezTo>
                  <a:cubicBezTo>
                    <a:pt x="191" y="63"/>
                    <a:pt x="190" y="61"/>
                    <a:pt x="189" y="60"/>
                  </a:cubicBezTo>
                  <a:cubicBezTo>
                    <a:pt x="188" y="58"/>
                    <a:pt x="184" y="53"/>
                    <a:pt x="179" y="49"/>
                  </a:cubicBezTo>
                  <a:cubicBezTo>
                    <a:pt x="174" y="45"/>
                    <a:pt x="168" y="42"/>
                    <a:pt x="162" y="42"/>
                  </a:cubicBezTo>
                  <a:cubicBezTo>
                    <a:pt x="161" y="42"/>
                    <a:pt x="160" y="42"/>
                    <a:pt x="159" y="42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43"/>
                    <a:pt x="157" y="35"/>
                    <a:pt x="150" y="26"/>
                  </a:cubicBezTo>
                  <a:cubicBezTo>
                    <a:pt x="143" y="17"/>
                    <a:pt x="132" y="7"/>
                    <a:pt x="117" y="2"/>
                  </a:cubicBezTo>
                  <a:cubicBezTo>
                    <a:pt x="112" y="0"/>
                    <a:pt x="107" y="0"/>
                    <a:pt x="103" y="0"/>
                  </a:cubicBezTo>
                  <a:cubicBezTo>
                    <a:pt x="91" y="0"/>
                    <a:pt x="82" y="4"/>
                    <a:pt x="75" y="8"/>
                  </a:cubicBezTo>
                  <a:cubicBezTo>
                    <a:pt x="68" y="12"/>
                    <a:pt x="64" y="16"/>
                    <a:pt x="64" y="16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3" y="15"/>
                    <a:pt x="60" y="15"/>
                  </a:cubicBezTo>
                  <a:cubicBezTo>
                    <a:pt x="52" y="15"/>
                    <a:pt x="38" y="17"/>
                    <a:pt x="26" y="26"/>
                  </a:cubicBezTo>
                  <a:cubicBezTo>
                    <a:pt x="10" y="39"/>
                    <a:pt x="2" y="56"/>
                    <a:pt x="0" y="72"/>
                  </a:cubicBezTo>
                  <a:cubicBezTo>
                    <a:pt x="0" y="73"/>
                    <a:pt x="0" y="74"/>
                    <a:pt x="0" y="76"/>
                  </a:cubicBezTo>
                  <a:cubicBezTo>
                    <a:pt x="0" y="91"/>
                    <a:pt x="8" y="108"/>
                    <a:pt x="24" y="118"/>
                  </a:cubicBezTo>
                  <a:cubicBezTo>
                    <a:pt x="25" y="116"/>
                    <a:pt x="25" y="116"/>
                    <a:pt x="25" y="116"/>
                  </a:cubicBezTo>
                  <a:cubicBezTo>
                    <a:pt x="23" y="116"/>
                    <a:pt x="23" y="116"/>
                    <a:pt x="23" y="116"/>
                  </a:cubicBezTo>
                  <a:cubicBezTo>
                    <a:pt x="23" y="117"/>
                    <a:pt x="23" y="123"/>
                    <a:pt x="25" y="131"/>
                  </a:cubicBezTo>
                  <a:cubicBezTo>
                    <a:pt x="28" y="139"/>
                    <a:pt x="33" y="150"/>
                    <a:pt x="41" y="158"/>
                  </a:cubicBezTo>
                  <a:cubicBezTo>
                    <a:pt x="51" y="167"/>
                    <a:pt x="64" y="172"/>
                    <a:pt x="77" y="172"/>
                  </a:cubicBezTo>
                  <a:cubicBezTo>
                    <a:pt x="88" y="172"/>
                    <a:pt x="98" y="169"/>
                    <a:pt x="108" y="162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6" y="162"/>
                    <a:pt x="106" y="162"/>
                    <a:pt x="106" y="162"/>
                  </a:cubicBezTo>
                  <a:cubicBezTo>
                    <a:pt x="106" y="162"/>
                    <a:pt x="114" y="165"/>
                    <a:pt x="125" y="165"/>
                  </a:cubicBezTo>
                  <a:cubicBezTo>
                    <a:pt x="135" y="165"/>
                    <a:pt x="147" y="163"/>
                    <a:pt x="158" y="153"/>
                  </a:cubicBezTo>
                  <a:cubicBezTo>
                    <a:pt x="167" y="143"/>
                    <a:pt x="170" y="133"/>
                    <a:pt x="170" y="125"/>
                  </a:cubicBezTo>
                  <a:cubicBezTo>
                    <a:pt x="170" y="114"/>
                    <a:pt x="165" y="107"/>
                    <a:pt x="165" y="107"/>
                  </a:cubicBezTo>
                  <a:cubicBezTo>
                    <a:pt x="163" y="108"/>
                    <a:pt x="163" y="108"/>
                    <a:pt x="163" y="108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5" y="108"/>
                    <a:pt x="169" y="98"/>
                    <a:pt x="169" y="88"/>
                  </a:cubicBezTo>
                  <a:cubicBezTo>
                    <a:pt x="169" y="84"/>
                    <a:pt x="169" y="80"/>
                    <a:pt x="167" y="76"/>
                  </a:cubicBezTo>
                  <a:cubicBezTo>
                    <a:pt x="164" y="71"/>
                    <a:pt x="159" y="67"/>
                    <a:pt x="153" y="63"/>
                  </a:cubicBezTo>
                  <a:cubicBezTo>
                    <a:pt x="148" y="60"/>
                    <a:pt x="141" y="58"/>
                    <a:pt x="134" y="58"/>
                  </a:cubicBezTo>
                  <a:cubicBezTo>
                    <a:pt x="132" y="58"/>
                    <a:pt x="129" y="58"/>
                    <a:pt x="127" y="59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29" y="59"/>
                    <a:pt x="124" y="56"/>
                    <a:pt x="118" y="54"/>
                  </a:cubicBezTo>
                  <a:cubicBezTo>
                    <a:pt x="112" y="51"/>
                    <a:pt x="104" y="48"/>
                    <a:pt x="97" y="48"/>
                  </a:cubicBezTo>
                  <a:cubicBezTo>
                    <a:pt x="93" y="48"/>
                    <a:pt x="90" y="49"/>
                    <a:pt x="86" y="50"/>
                  </a:cubicBezTo>
                  <a:cubicBezTo>
                    <a:pt x="78" y="54"/>
                    <a:pt x="69" y="60"/>
                    <a:pt x="62" y="68"/>
                  </a:cubicBezTo>
                  <a:cubicBezTo>
                    <a:pt x="55" y="76"/>
                    <a:pt x="50" y="86"/>
                    <a:pt x="50" y="97"/>
                  </a:cubicBezTo>
                  <a:cubicBezTo>
                    <a:pt x="50" y="99"/>
                    <a:pt x="50" y="100"/>
                    <a:pt x="50" y="102"/>
                  </a:cubicBezTo>
                  <a:cubicBezTo>
                    <a:pt x="52" y="113"/>
                    <a:pt x="57" y="121"/>
                    <a:pt x="65" y="126"/>
                  </a:cubicBezTo>
                  <a:cubicBezTo>
                    <a:pt x="72" y="131"/>
                    <a:pt x="81" y="133"/>
                    <a:pt x="88" y="133"/>
                  </a:cubicBezTo>
                  <a:cubicBezTo>
                    <a:pt x="89" y="133"/>
                    <a:pt x="91" y="132"/>
                    <a:pt x="92" y="132"/>
                  </a:cubicBezTo>
                  <a:cubicBezTo>
                    <a:pt x="100" y="131"/>
                    <a:pt x="107" y="127"/>
                    <a:pt x="113" y="122"/>
                  </a:cubicBezTo>
                  <a:cubicBezTo>
                    <a:pt x="118" y="117"/>
                    <a:pt x="122" y="110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97"/>
                    <a:pt x="119" y="90"/>
                    <a:pt x="114" y="86"/>
                  </a:cubicBezTo>
                  <a:cubicBezTo>
                    <a:pt x="110" y="81"/>
                    <a:pt x="103" y="77"/>
                    <a:pt x="96" y="77"/>
                  </a:cubicBezTo>
                  <a:cubicBezTo>
                    <a:pt x="94" y="77"/>
                    <a:pt x="92" y="78"/>
                    <a:pt x="90" y="79"/>
                  </a:cubicBezTo>
                  <a:cubicBezTo>
                    <a:pt x="84" y="81"/>
                    <a:pt x="81" y="84"/>
                    <a:pt x="78" y="88"/>
                  </a:cubicBezTo>
                  <a:cubicBezTo>
                    <a:pt x="76" y="92"/>
                    <a:pt x="75" y="96"/>
                    <a:pt x="75" y="100"/>
                  </a:cubicBezTo>
                  <a:cubicBezTo>
                    <a:pt x="75" y="105"/>
                    <a:pt x="76" y="108"/>
                    <a:pt x="78" y="112"/>
                  </a:cubicBezTo>
                  <a:cubicBezTo>
                    <a:pt x="81" y="117"/>
                    <a:pt x="88" y="121"/>
                    <a:pt x="95" y="121"/>
                  </a:cubicBezTo>
                  <a:cubicBezTo>
                    <a:pt x="100" y="121"/>
                    <a:pt x="107" y="118"/>
                    <a:pt x="112" y="112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0" y="113"/>
                    <a:pt x="110" y="113"/>
                    <a:pt x="110" y="113"/>
                  </a:cubicBezTo>
                  <a:cubicBezTo>
                    <a:pt x="110" y="113"/>
                    <a:pt x="136" y="116"/>
                    <a:pt x="158" y="116"/>
                  </a:cubicBezTo>
                  <a:cubicBezTo>
                    <a:pt x="163" y="116"/>
                    <a:pt x="168" y="116"/>
                    <a:pt x="172" y="115"/>
                  </a:cubicBezTo>
                  <a:cubicBezTo>
                    <a:pt x="176" y="115"/>
                    <a:pt x="180" y="114"/>
                    <a:pt x="183" y="113"/>
                  </a:cubicBezTo>
                  <a:cubicBezTo>
                    <a:pt x="191" y="109"/>
                    <a:pt x="194" y="107"/>
                    <a:pt x="198" y="105"/>
                  </a:cubicBezTo>
                  <a:cubicBezTo>
                    <a:pt x="201" y="104"/>
                    <a:pt x="205" y="102"/>
                    <a:pt x="216" y="101"/>
                  </a:cubicBezTo>
                  <a:cubicBezTo>
                    <a:pt x="225" y="99"/>
                    <a:pt x="233" y="98"/>
                    <a:pt x="240" y="98"/>
                  </a:cubicBezTo>
                  <a:cubicBezTo>
                    <a:pt x="248" y="98"/>
                    <a:pt x="254" y="100"/>
                    <a:pt x="262" y="106"/>
                  </a:cubicBezTo>
                  <a:cubicBezTo>
                    <a:pt x="267" y="110"/>
                    <a:pt x="275" y="117"/>
                    <a:pt x="283" y="122"/>
                  </a:cubicBezTo>
                  <a:cubicBezTo>
                    <a:pt x="292" y="128"/>
                    <a:pt x="301" y="133"/>
                    <a:pt x="311" y="133"/>
                  </a:cubicBezTo>
                  <a:cubicBezTo>
                    <a:pt x="316" y="133"/>
                    <a:pt x="322" y="131"/>
                    <a:pt x="327" y="128"/>
                  </a:cubicBezTo>
                  <a:cubicBezTo>
                    <a:pt x="337" y="121"/>
                    <a:pt x="337" y="121"/>
                    <a:pt x="337" y="121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6" y="124"/>
                    <a:pt x="326" y="124"/>
                    <a:pt x="326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6" y="124"/>
                    <a:pt x="326" y="124"/>
                    <a:pt x="326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5" y="124"/>
                    <a:pt x="325" y="124"/>
                    <a:pt x="323" y="124"/>
                  </a:cubicBezTo>
                  <a:cubicBezTo>
                    <a:pt x="320" y="124"/>
                    <a:pt x="315" y="123"/>
                    <a:pt x="307" y="118"/>
                  </a:cubicBezTo>
                  <a:cubicBezTo>
                    <a:pt x="306" y="119"/>
                    <a:pt x="306" y="119"/>
                    <a:pt x="306" y="119"/>
                  </a:cubicBezTo>
                  <a:cubicBezTo>
                    <a:pt x="308" y="118"/>
                    <a:pt x="308" y="118"/>
                    <a:pt x="308" y="118"/>
                  </a:cubicBezTo>
                  <a:cubicBezTo>
                    <a:pt x="306" y="119"/>
                    <a:pt x="306" y="119"/>
                    <a:pt x="306" y="119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13" y="127"/>
                    <a:pt x="320" y="128"/>
                    <a:pt x="323" y="128"/>
                  </a:cubicBezTo>
                  <a:cubicBezTo>
                    <a:pt x="325" y="128"/>
                    <a:pt x="326" y="128"/>
                    <a:pt x="326" y="128"/>
                  </a:cubicBezTo>
                  <a:cubicBezTo>
                    <a:pt x="326" y="126"/>
                    <a:pt x="326" y="126"/>
                    <a:pt x="326" y="126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0" y="127"/>
                    <a:pt x="316" y="129"/>
                    <a:pt x="311" y="129"/>
                  </a:cubicBezTo>
                  <a:cubicBezTo>
                    <a:pt x="302" y="129"/>
                    <a:pt x="294" y="125"/>
                    <a:pt x="286" y="119"/>
                  </a:cubicBezTo>
                  <a:cubicBezTo>
                    <a:pt x="277" y="113"/>
                    <a:pt x="270" y="107"/>
                    <a:pt x="264" y="102"/>
                  </a:cubicBezTo>
                  <a:cubicBezTo>
                    <a:pt x="256" y="96"/>
                    <a:pt x="248" y="94"/>
                    <a:pt x="240" y="94"/>
                  </a:cubicBezTo>
                  <a:cubicBezTo>
                    <a:pt x="232" y="94"/>
                    <a:pt x="225" y="95"/>
                    <a:pt x="215" y="97"/>
                  </a:cubicBezTo>
                  <a:cubicBezTo>
                    <a:pt x="205" y="98"/>
                    <a:pt x="200" y="100"/>
                    <a:pt x="196" y="102"/>
                  </a:cubicBezTo>
                  <a:cubicBezTo>
                    <a:pt x="192" y="104"/>
                    <a:pt x="189" y="106"/>
                    <a:pt x="181" y="109"/>
                  </a:cubicBezTo>
                  <a:cubicBezTo>
                    <a:pt x="179" y="110"/>
                    <a:pt x="176" y="111"/>
                    <a:pt x="172" y="111"/>
                  </a:cubicBezTo>
                  <a:cubicBezTo>
                    <a:pt x="167" y="112"/>
                    <a:pt x="163" y="112"/>
                    <a:pt x="158" y="112"/>
                  </a:cubicBezTo>
                  <a:cubicBezTo>
                    <a:pt x="147" y="112"/>
                    <a:pt x="135" y="111"/>
                    <a:pt x="126" y="110"/>
                  </a:cubicBezTo>
                  <a:cubicBezTo>
                    <a:pt x="122" y="110"/>
                    <a:pt x="118" y="110"/>
                    <a:pt x="115" y="109"/>
                  </a:cubicBezTo>
                  <a:cubicBezTo>
                    <a:pt x="112" y="109"/>
                    <a:pt x="111" y="109"/>
                    <a:pt x="111" y="109"/>
                  </a:cubicBezTo>
                  <a:cubicBezTo>
                    <a:pt x="110" y="109"/>
                    <a:pt x="110" y="109"/>
                    <a:pt x="110" y="109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04" y="115"/>
                    <a:pt x="99" y="117"/>
                    <a:pt x="95" y="117"/>
                  </a:cubicBezTo>
                  <a:cubicBezTo>
                    <a:pt x="89" y="117"/>
                    <a:pt x="84" y="113"/>
                    <a:pt x="81" y="109"/>
                  </a:cubicBezTo>
                  <a:cubicBezTo>
                    <a:pt x="80" y="107"/>
                    <a:pt x="79" y="104"/>
                    <a:pt x="79" y="100"/>
                  </a:cubicBezTo>
                  <a:cubicBezTo>
                    <a:pt x="79" y="97"/>
                    <a:pt x="80" y="93"/>
                    <a:pt x="82" y="90"/>
                  </a:cubicBezTo>
                  <a:cubicBezTo>
                    <a:pt x="84" y="87"/>
                    <a:pt x="87" y="84"/>
                    <a:pt x="91" y="82"/>
                  </a:cubicBezTo>
                  <a:cubicBezTo>
                    <a:pt x="93" y="82"/>
                    <a:pt x="95" y="81"/>
                    <a:pt x="96" y="81"/>
                  </a:cubicBezTo>
                  <a:cubicBezTo>
                    <a:pt x="102" y="81"/>
                    <a:pt x="107" y="84"/>
                    <a:pt x="111" y="88"/>
                  </a:cubicBezTo>
                  <a:cubicBezTo>
                    <a:pt x="115" y="93"/>
                    <a:pt x="118" y="98"/>
                    <a:pt x="118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18" y="108"/>
                    <a:pt x="115" y="114"/>
                    <a:pt x="110" y="119"/>
                  </a:cubicBezTo>
                  <a:cubicBezTo>
                    <a:pt x="105" y="124"/>
                    <a:pt x="98" y="127"/>
                    <a:pt x="92" y="128"/>
                  </a:cubicBezTo>
                  <a:cubicBezTo>
                    <a:pt x="91" y="128"/>
                    <a:pt x="89" y="129"/>
                    <a:pt x="88" y="129"/>
                  </a:cubicBezTo>
                  <a:cubicBezTo>
                    <a:pt x="81" y="129"/>
                    <a:pt x="73" y="127"/>
                    <a:pt x="67" y="122"/>
                  </a:cubicBezTo>
                  <a:cubicBezTo>
                    <a:pt x="60" y="118"/>
                    <a:pt x="55" y="111"/>
                    <a:pt x="54" y="102"/>
                  </a:cubicBezTo>
                  <a:cubicBezTo>
                    <a:pt x="54" y="100"/>
                    <a:pt x="54" y="99"/>
                    <a:pt x="54" y="97"/>
                  </a:cubicBezTo>
                  <a:cubicBezTo>
                    <a:pt x="54" y="87"/>
                    <a:pt x="58" y="78"/>
                    <a:pt x="65" y="70"/>
                  </a:cubicBezTo>
                  <a:cubicBezTo>
                    <a:pt x="72" y="63"/>
                    <a:pt x="81" y="57"/>
                    <a:pt x="88" y="54"/>
                  </a:cubicBezTo>
                  <a:cubicBezTo>
                    <a:pt x="90" y="53"/>
                    <a:pt x="93" y="52"/>
                    <a:pt x="97" y="52"/>
                  </a:cubicBezTo>
                  <a:cubicBezTo>
                    <a:pt x="103" y="52"/>
                    <a:pt x="111" y="55"/>
                    <a:pt x="117" y="57"/>
                  </a:cubicBezTo>
                  <a:cubicBezTo>
                    <a:pt x="120" y="59"/>
                    <a:pt x="122" y="60"/>
                    <a:pt x="124" y="61"/>
                  </a:cubicBezTo>
                  <a:cubicBezTo>
                    <a:pt x="125" y="61"/>
                    <a:pt x="125" y="62"/>
                    <a:pt x="126" y="62"/>
                  </a:cubicBezTo>
                  <a:cubicBezTo>
                    <a:pt x="126" y="62"/>
                    <a:pt x="126" y="62"/>
                    <a:pt x="126" y="62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30" y="62"/>
                    <a:pt x="132" y="62"/>
                    <a:pt x="134" y="62"/>
                  </a:cubicBezTo>
                  <a:cubicBezTo>
                    <a:pt x="140" y="62"/>
                    <a:pt x="146" y="64"/>
                    <a:pt x="151" y="67"/>
                  </a:cubicBezTo>
                  <a:cubicBezTo>
                    <a:pt x="156" y="70"/>
                    <a:pt x="161" y="74"/>
                    <a:pt x="163" y="78"/>
                  </a:cubicBezTo>
                  <a:cubicBezTo>
                    <a:pt x="165" y="81"/>
                    <a:pt x="165" y="85"/>
                    <a:pt x="165" y="88"/>
                  </a:cubicBezTo>
                  <a:cubicBezTo>
                    <a:pt x="165" y="93"/>
                    <a:pt x="164" y="97"/>
                    <a:pt x="163" y="101"/>
                  </a:cubicBezTo>
                  <a:cubicBezTo>
                    <a:pt x="163" y="103"/>
                    <a:pt x="162" y="104"/>
                    <a:pt x="162" y="105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1" y="107"/>
                    <a:pt x="161" y="107"/>
                    <a:pt x="161" y="107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2" y="109"/>
                    <a:pt x="162" y="109"/>
                    <a:pt x="162" y="109"/>
                  </a:cubicBezTo>
                  <a:cubicBezTo>
                    <a:pt x="162" y="109"/>
                    <a:pt x="162" y="109"/>
                    <a:pt x="162" y="109"/>
                  </a:cubicBezTo>
                  <a:cubicBezTo>
                    <a:pt x="162" y="109"/>
                    <a:pt x="166" y="116"/>
                    <a:pt x="166" y="125"/>
                  </a:cubicBezTo>
                  <a:cubicBezTo>
                    <a:pt x="166" y="133"/>
                    <a:pt x="163" y="141"/>
                    <a:pt x="155" y="150"/>
                  </a:cubicBezTo>
                  <a:cubicBezTo>
                    <a:pt x="145" y="159"/>
                    <a:pt x="134" y="161"/>
                    <a:pt x="125" y="161"/>
                  </a:cubicBezTo>
                  <a:cubicBezTo>
                    <a:pt x="120" y="161"/>
                    <a:pt x="116" y="161"/>
                    <a:pt x="113" y="160"/>
                  </a:cubicBezTo>
                  <a:cubicBezTo>
                    <a:pt x="111" y="160"/>
                    <a:pt x="110" y="159"/>
                    <a:pt x="109" y="159"/>
                  </a:cubicBezTo>
                  <a:cubicBezTo>
                    <a:pt x="109" y="159"/>
                    <a:pt x="108" y="159"/>
                    <a:pt x="108" y="159"/>
                  </a:cubicBezTo>
                  <a:cubicBezTo>
                    <a:pt x="108" y="158"/>
                    <a:pt x="108" y="158"/>
                    <a:pt x="108" y="158"/>
                  </a:cubicBezTo>
                  <a:cubicBezTo>
                    <a:pt x="107" y="158"/>
                    <a:pt x="107" y="158"/>
                    <a:pt x="107" y="158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97" y="165"/>
                    <a:pt x="87" y="168"/>
                    <a:pt x="77" y="168"/>
                  </a:cubicBezTo>
                  <a:cubicBezTo>
                    <a:pt x="65" y="168"/>
                    <a:pt x="53" y="163"/>
                    <a:pt x="44" y="155"/>
                  </a:cubicBezTo>
                  <a:cubicBezTo>
                    <a:pt x="36" y="148"/>
                    <a:pt x="32" y="138"/>
                    <a:pt x="29" y="130"/>
                  </a:cubicBezTo>
                  <a:cubicBezTo>
                    <a:pt x="28" y="126"/>
                    <a:pt x="27" y="123"/>
                    <a:pt x="27" y="120"/>
                  </a:cubicBezTo>
                  <a:cubicBezTo>
                    <a:pt x="27" y="119"/>
                    <a:pt x="27" y="118"/>
                    <a:pt x="27" y="117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12" y="105"/>
                    <a:pt x="4" y="89"/>
                    <a:pt x="4" y="76"/>
                  </a:cubicBezTo>
                  <a:cubicBezTo>
                    <a:pt x="4" y="75"/>
                    <a:pt x="4" y="73"/>
                    <a:pt x="4" y="72"/>
                  </a:cubicBezTo>
                  <a:cubicBezTo>
                    <a:pt x="6" y="57"/>
                    <a:pt x="13" y="41"/>
                    <a:pt x="29" y="29"/>
                  </a:cubicBezTo>
                  <a:cubicBezTo>
                    <a:pt x="40" y="21"/>
                    <a:pt x="53" y="19"/>
                    <a:pt x="60" y="19"/>
                  </a:cubicBezTo>
                  <a:cubicBezTo>
                    <a:pt x="61" y="19"/>
                    <a:pt x="63" y="19"/>
                    <a:pt x="63" y="1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8" y="17"/>
                    <a:pt x="83" y="3"/>
                    <a:pt x="103" y="4"/>
                  </a:cubicBezTo>
                  <a:cubicBezTo>
                    <a:pt x="107" y="4"/>
                    <a:pt x="111" y="4"/>
                    <a:pt x="116" y="6"/>
                  </a:cubicBezTo>
                  <a:cubicBezTo>
                    <a:pt x="129" y="10"/>
                    <a:pt x="140" y="20"/>
                    <a:pt x="147" y="29"/>
                  </a:cubicBezTo>
                  <a:cubicBezTo>
                    <a:pt x="150" y="33"/>
                    <a:pt x="153" y="37"/>
                    <a:pt x="155" y="40"/>
                  </a:cubicBezTo>
                  <a:cubicBezTo>
                    <a:pt x="156" y="41"/>
                    <a:pt x="156" y="43"/>
                    <a:pt x="157" y="43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57" y="45"/>
                    <a:pt x="157" y="45"/>
                    <a:pt x="157" y="45"/>
                  </a:cubicBezTo>
                  <a:cubicBezTo>
                    <a:pt x="158" y="46"/>
                    <a:pt x="158" y="46"/>
                    <a:pt x="158" y="46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60" y="46"/>
                    <a:pt x="161" y="46"/>
                    <a:pt x="162" y="46"/>
                  </a:cubicBezTo>
                  <a:cubicBezTo>
                    <a:pt x="166" y="45"/>
                    <a:pt x="172" y="49"/>
                    <a:pt x="177" y="53"/>
                  </a:cubicBezTo>
                  <a:cubicBezTo>
                    <a:pt x="181" y="56"/>
                    <a:pt x="185" y="61"/>
                    <a:pt x="186" y="62"/>
                  </a:cubicBezTo>
                  <a:cubicBezTo>
                    <a:pt x="187" y="63"/>
                    <a:pt x="187" y="64"/>
                    <a:pt x="188" y="66"/>
                  </a:cubicBezTo>
                  <a:cubicBezTo>
                    <a:pt x="189" y="68"/>
                    <a:pt x="190" y="71"/>
                    <a:pt x="191" y="73"/>
                  </a:cubicBezTo>
                  <a:cubicBezTo>
                    <a:pt x="192" y="76"/>
                    <a:pt x="193" y="79"/>
                    <a:pt x="195" y="80"/>
                  </a:cubicBezTo>
                  <a:cubicBezTo>
                    <a:pt x="197" y="82"/>
                    <a:pt x="199" y="82"/>
                    <a:pt x="202" y="83"/>
                  </a:cubicBezTo>
                  <a:cubicBezTo>
                    <a:pt x="204" y="83"/>
                    <a:pt x="208" y="83"/>
                    <a:pt x="211" y="83"/>
                  </a:cubicBezTo>
                  <a:cubicBezTo>
                    <a:pt x="217" y="83"/>
                    <a:pt x="223" y="83"/>
                    <a:pt x="227" y="82"/>
                  </a:cubicBezTo>
                  <a:cubicBezTo>
                    <a:pt x="230" y="81"/>
                    <a:pt x="234" y="81"/>
                    <a:pt x="240" y="81"/>
                  </a:cubicBezTo>
                  <a:cubicBezTo>
                    <a:pt x="249" y="81"/>
                    <a:pt x="260" y="82"/>
                    <a:pt x="270" y="88"/>
                  </a:cubicBezTo>
                  <a:cubicBezTo>
                    <a:pt x="278" y="92"/>
                    <a:pt x="287" y="101"/>
                    <a:pt x="293" y="108"/>
                  </a:cubicBezTo>
                  <a:cubicBezTo>
                    <a:pt x="297" y="111"/>
                    <a:pt x="300" y="114"/>
                    <a:pt x="302" y="117"/>
                  </a:cubicBezTo>
                  <a:cubicBezTo>
                    <a:pt x="302" y="118"/>
                    <a:pt x="303" y="119"/>
                    <a:pt x="304" y="120"/>
                  </a:cubicBezTo>
                  <a:cubicBezTo>
                    <a:pt x="304" y="120"/>
                    <a:pt x="305" y="121"/>
                    <a:pt x="305" y="121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06" y="119"/>
                    <a:pt x="306" y="119"/>
                    <a:pt x="306" y="11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4334608" y="2731765"/>
              <a:ext cx="396987" cy="270289"/>
            </a:xfrm>
            <a:custGeom>
              <a:avLst/>
              <a:gdLst>
                <a:gd name="T0" fmla="*/ 48 w 119"/>
                <a:gd name="T1" fmla="*/ 56 h 81"/>
                <a:gd name="T2" fmla="*/ 48 w 119"/>
                <a:gd name="T3" fmla="*/ 56 h 81"/>
                <a:gd name="T4" fmla="*/ 50 w 119"/>
                <a:gd name="T5" fmla="*/ 53 h 81"/>
                <a:gd name="T6" fmla="*/ 52 w 119"/>
                <a:gd name="T7" fmla="*/ 52 h 81"/>
                <a:gd name="T8" fmla="*/ 54 w 119"/>
                <a:gd name="T9" fmla="*/ 51 h 81"/>
                <a:gd name="T10" fmla="*/ 60 w 119"/>
                <a:gd name="T11" fmla="*/ 55 h 81"/>
                <a:gd name="T12" fmla="*/ 62 w 119"/>
                <a:gd name="T13" fmla="*/ 59 h 81"/>
                <a:gd name="T14" fmla="*/ 57 w 119"/>
                <a:gd name="T15" fmla="*/ 66 h 81"/>
                <a:gd name="T16" fmla="*/ 47 w 119"/>
                <a:gd name="T17" fmla="*/ 69 h 81"/>
                <a:gd name="T18" fmla="*/ 37 w 119"/>
                <a:gd name="T19" fmla="*/ 64 h 81"/>
                <a:gd name="T20" fmla="*/ 30 w 119"/>
                <a:gd name="T21" fmla="*/ 48 h 81"/>
                <a:gd name="T22" fmla="*/ 35 w 119"/>
                <a:gd name="T23" fmla="*/ 37 h 81"/>
                <a:gd name="T24" fmla="*/ 50 w 119"/>
                <a:gd name="T25" fmla="*/ 30 h 81"/>
                <a:gd name="T26" fmla="*/ 65 w 119"/>
                <a:gd name="T27" fmla="*/ 38 h 81"/>
                <a:gd name="T28" fmla="*/ 69 w 119"/>
                <a:gd name="T29" fmla="*/ 50 h 81"/>
                <a:gd name="T30" fmla="*/ 64 w 119"/>
                <a:gd name="T31" fmla="*/ 65 h 81"/>
                <a:gd name="T32" fmla="*/ 54 w 119"/>
                <a:gd name="T33" fmla="*/ 74 h 81"/>
                <a:gd name="T34" fmla="*/ 37 w 119"/>
                <a:gd name="T35" fmla="*/ 77 h 81"/>
                <a:gd name="T36" fmla="*/ 13 w 119"/>
                <a:gd name="T37" fmla="*/ 68 h 81"/>
                <a:gd name="T38" fmla="*/ 4 w 119"/>
                <a:gd name="T39" fmla="*/ 49 h 81"/>
                <a:gd name="T40" fmla="*/ 16 w 119"/>
                <a:gd name="T41" fmla="*/ 21 h 81"/>
                <a:gd name="T42" fmla="*/ 52 w 119"/>
                <a:gd name="T43" fmla="*/ 4 h 81"/>
                <a:gd name="T44" fmla="*/ 77 w 119"/>
                <a:gd name="T45" fmla="*/ 12 h 81"/>
                <a:gd name="T46" fmla="*/ 78 w 119"/>
                <a:gd name="T47" fmla="*/ 13 h 81"/>
                <a:gd name="T48" fmla="*/ 79 w 119"/>
                <a:gd name="T49" fmla="*/ 13 h 81"/>
                <a:gd name="T50" fmla="*/ 79 w 119"/>
                <a:gd name="T51" fmla="*/ 13 h 81"/>
                <a:gd name="T52" fmla="*/ 87 w 119"/>
                <a:gd name="T53" fmla="*/ 11 h 81"/>
                <a:gd name="T54" fmla="*/ 105 w 119"/>
                <a:gd name="T55" fmla="*/ 19 h 81"/>
                <a:gd name="T56" fmla="*/ 115 w 119"/>
                <a:gd name="T57" fmla="*/ 43 h 81"/>
                <a:gd name="T58" fmla="*/ 113 w 119"/>
                <a:gd name="T59" fmla="*/ 57 h 81"/>
                <a:gd name="T60" fmla="*/ 112 w 119"/>
                <a:gd name="T61" fmla="*/ 57 h 81"/>
                <a:gd name="T62" fmla="*/ 115 w 119"/>
                <a:gd name="T63" fmla="*/ 65 h 81"/>
                <a:gd name="T64" fmla="*/ 119 w 119"/>
                <a:gd name="T65" fmla="*/ 63 h 81"/>
                <a:gd name="T66" fmla="*/ 116 w 119"/>
                <a:gd name="T67" fmla="*/ 57 h 81"/>
                <a:gd name="T68" fmla="*/ 114 w 119"/>
                <a:gd name="T69" fmla="*/ 58 h 81"/>
                <a:gd name="T70" fmla="*/ 116 w 119"/>
                <a:gd name="T71" fmla="*/ 59 h 81"/>
                <a:gd name="T72" fmla="*/ 119 w 119"/>
                <a:gd name="T73" fmla="*/ 43 h 81"/>
                <a:gd name="T74" fmla="*/ 108 w 119"/>
                <a:gd name="T75" fmla="*/ 16 h 81"/>
                <a:gd name="T76" fmla="*/ 87 w 119"/>
                <a:gd name="T77" fmla="*/ 7 h 81"/>
                <a:gd name="T78" fmla="*/ 78 w 119"/>
                <a:gd name="T79" fmla="*/ 9 h 81"/>
                <a:gd name="T80" fmla="*/ 79 w 119"/>
                <a:gd name="T81" fmla="*/ 11 h 81"/>
                <a:gd name="T82" fmla="*/ 80 w 119"/>
                <a:gd name="T83" fmla="*/ 9 h 81"/>
                <a:gd name="T84" fmla="*/ 52 w 119"/>
                <a:gd name="T85" fmla="*/ 0 h 81"/>
                <a:gd name="T86" fmla="*/ 13 w 119"/>
                <a:gd name="T87" fmla="*/ 18 h 81"/>
                <a:gd name="T88" fmla="*/ 0 w 119"/>
                <a:gd name="T89" fmla="*/ 49 h 81"/>
                <a:gd name="T90" fmla="*/ 10 w 119"/>
                <a:gd name="T91" fmla="*/ 71 h 81"/>
                <a:gd name="T92" fmla="*/ 37 w 119"/>
                <a:gd name="T93" fmla="*/ 81 h 81"/>
                <a:gd name="T94" fmla="*/ 55 w 119"/>
                <a:gd name="T95" fmla="*/ 78 h 81"/>
                <a:gd name="T96" fmla="*/ 68 w 119"/>
                <a:gd name="T97" fmla="*/ 67 h 81"/>
                <a:gd name="T98" fmla="*/ 73 w 119"/>
                <a:gd name="T99" fmla="*/ 50 h 81"/>
                <a:gd name="T100" fmla="*/ 68 w 119"/>
                <a:gd name="T101" fmla="*/ 36 h 81"/>
                <a:gd name="T102" fmla="*/ 50 w 119"/>
                <a:gd name="T103" fmla="*/ 26 h 81"/>
                <a:gd name="T104" fmla="*/ 32 w 119"/>
                <a:gd name="T105" fmla="*/ 34 h 81"/>
                <a:gd name="T106" fmla="*/ 26 w 119"/>
                <a:gd name="T107" fmla="*/ 48 h 81"/>
                <a:gd name="T108" fmla="*/ 34 w 119"/>
                <a:gd name="T109" fmla="*/ 67 h 81"/>
                <a:gd name="T110" fmla="*/ 47 w 119"/>
                <a:gd name="T111" fmla="*/ 73 h 81"/>
                <a:gd name="T112" fmla="*/ 60 w 119"/>
                <a:gd name="T113" fmla="*/ 69 h 81"/>
                <a:gd name="T114" fmla="*/ 66 w 119"/>
                <a:gd name="T115" fmla="*/ 59 h 81"/>
                <a:gd name="T116" fmla="*/ 63 w 119"/>
                <a:gd name="T117" fmla="*/ 52 h 81"/>
                <a:gd name="T118" fmla="*/ 54 w 119"/>
                <a:gd name="T119" fmla="*/ 47 h 81"/>
                <a:gd name="T120" fmla="*/ 50 w 119"/>
                <a:gd name="T121" fmla="*/ 48 h 81"/>
                <a:gd name="T122" fmla="*/ 45 w 119"/>
                <a:gd name="T123" fmla="*/ 54 h 81"/>
                <a:gd name="T124" fmla="*/ 48 w 119"/>
                <a:gd name="T125" fmla="*/ 5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9" h="81">
                  <a:moveTo>
                    <a:pt x="48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9" y="56"/>
                    <a:pt x="49" y="54"/>
                    <a:pt x="50" y="53"/>
                  </a:cubicBezTo>
                  <a:cubicBezTo>
                    <a:pt x="51" y="53"/>
                    <a:pt x="51" y="52"/>
                    <a:pt x="52" y="52"/>
                  </a:cubicBezTo>
                  <a:cubicBezTo>
                    <a:pt x="53" y="51"/>
                    <a:pt x="53" y="51"/>
                    <a:pt x="54" y="51"/>
                  </a:cubicBezTo>
                  <a:cubicBezTo>
                    <a:pt x="55" y="51"/>
                    <a:pt x="57" y="52"/>
                    <a:pt x="60" y="55"/>
                  </a:cubicBezTo>
                  <a:cubicBezTo>
                    <a:pt x="61" y="56"/>
                    <a:pt x="62" y="58"/>
                    <a:pt x="62" y="59"/>
                  </a:cubicBezTo>
                  <a:cubicBezTo>
                    <a:pt x="62" y="61"/>
                    <a:pt x="60" y="64"/>
                    <a:pt x="57" y="66"/>
                  </a:cubicBezTo>
                  <a:cubicBezTo>
                    <a:pt x="55" y="68"/>
                    <a:pt x="51" y="69"/>
                    <a:pt x="47" y="69"/>
                  </a:cubicBezTo>
                  <a:cubicBezTo>
                    <a:pt x="44" y="69"/>
                    <a:pt x="40" y="68"/>
                    <a:pt x="37" y="64"/>
                  </a:cubicBezTo>
                  <a:cubicBezTo>
                    <a:pt x="32" y="58"/>
                    <a:pt x="30" y="53"/>
                    <a:pt x="30" y="48"/>
                  </a:cubicBezTo>
                  <a:cubicBezTo>
                    <a:pt x="30" y="44"/>
                    <a:pt x="32" y="41"/>
                    <a:pt x="35" y="37"/>
                  </a:cubicBezTo>
                  <a:cubicBezTo>
                    <a:pt x="39" y="33"/>
                    <a:pt x="44" y="30"/>
                    <a:pt x="50" y="30"/>
                  </a:cubicBezTo>
                  <a:cubicBezTo>
                    <a:pt x="55" y="30"/>
                    <a:pt x="60" y="32"/>
                    <a:pt x="65" y="38"/>
                  </a:cubicBezTo>
                  <a:cubicBezTo>
                    <a:pt x="68" y="42"/>
                    <a:pt x="69" y="46"/>
                    <a:pt x="69" y="50"/>
                  </a:cubicBezTo>
                  <a:cubicBezTo>
                    <a:pt x="69" y="55"/>
                    <a:pt x="67" y="61"/>
                    <a:pt x="64" y="65"/>
                  </a:cubicBezTo>
                  <a:cubicBezTo>
                    <a:pt x="62" y="70"/>
                    <a:pt x="58" y="73"/>
                    <a:pt x="54" y="74"/>
                  </a:cubicBezTo>
                  <a:cubicBezTo>
                    <a:pt x="49" y="76"/>
                    <a:pt x="43" y="77"/>
                    <a:pt x="37" y="77"/>
                  </a:cubicBezTo>
                  <a:cubicBezTo>
                    <a:pt x="28" y="77"/>
                    <a:pt x="20" y="75"/>
                    <a:pt x="13" y="68"/>
                  </a:cubicBezTo>
                  <a:cubicBezTo>
                    <a:pt x="7" y="63"/>
                    <a:pt x="4" y="56"/>
                    <a:pt x="4" y="49"/>
                  </a:cubicBezTo>
                  <a:cubicBezTo>
                    <a:pt x="4" y="41"/>
                    <a:pt x="7" y="32"/>
                    <a:pt x="16" y="21"/>
                  </a:cubicBezTo>
                  <a:cubicBezTo>
                    <a:pt x="25" y="9"/>
                    <a:pt x="39" y="4"/>
                    <a:pt x="52" y="4"/>
                  </a:cubicBezTo>
                  <a:cubicBezTo>
                    <a:pt x="62" y="4"/>
                    <a:pt x="72" y="7"/>
                    <a:pt x="77" y="12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80" y="13"/>
                    <a:pt x="82" y="11"/>
                    <a:pt x="87" y="11"/>
                  </a:cubicBezTo>
                  <a:cubicBezTo>
                    <a:pt x="91" y="11"/>
                    <a:pt x="98" y="13"/>
                    <a:pt x="105" y="19"/>
                  </a:cubicBezTo>
                  <a:cubicBezTo>
                    <a:pt x="113" y="25"/>
                    <a:pt x="115" y="35"/>
                    <a:pt x="115" y="43"/>
                  </a:cubicBezTo>
                  <a:cubicBezTo>
                    <a:pt x="115" y="49"/>
                    <a:pt x="114" y="54"/>
                    <a:pt x="113" y="57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4" y="58"/>
                    <a:pt x="114" y="58"/>
                    <a:pt x="114" y="58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8" y="55"/>
                    <a:pt x="119" y="50"/>
                    <a:pt x="119" y="43"/>
                  </a:cubicBezTo>
                  <a:cubicBezTo>
                    <a:pt x="119" y="34"/>
                    <a:pt x="117" y="23"/>
                    <a:pt x="108" y="16"/>
                  </a:cubicBezTo>
                  <a:cubicBezTo>
                    <a:pt x="100" y="9"/>
                    <a:pt x="92" y="7"/>
                    <a:pt x="87" y="7"/>
                  </a:cubicBezTo>
                  <a:cubicBezTo>
                    <a:pt x="81" y="7"/>
                    <a:pt x="78" y="9"/>
                    <a:pt x="78" y="9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73" y="3"/>
                    <a:pt x="63" y="0"/>
                    <a:pt x="52" y="0"/>
                  </a:cubicBezTo>
                  <a:cubicBezTo>
                    <a:pt x="38" y="0"/>
                    <a:pt x="22" y="5"/>
                    <a:pt x="13" y="18"/>
                  </a:cubicBezTo>
                  <a:cubicBezTo>
                    <a:pt x="4" y="30"/>
                    <a:pt x="0" y="40"/>
                    <a:pt x="0" y="49"/>
                  </a:cubicBezTo>
                  <a:cubicBezTo>
                    <a:pt x="0" y="57"/>
                    <a:pt x="4" y="65"/>
                    <a:pt x="10" y="71"/>
                  </a:cubicBezTo>
                  <a:cubicBezTo>
                    <a:pt x="18" y="79"/>
                    <a:pt x="28" y="81"/>
                    <a:pt x="37" y="81"/>
                  </a:cubicBezTo>
                  <a:cubicBezTo>
                    <a:pt x="44" y="81"/>
                    <a:pt x="50" y="80"/>
                    <a:pt x="55" y="78"/>
                  </a:cubicBezTo>
                  <a:cubicBezTo>
                    <a:pt x="60" y="76"/>
                    <a:pt x="65" y="72"/>
                    <a:pt x="68" y="67"/>
                  </a:cubicBezTo>
                  <a:cubicBezTo>
                    <a:pt x="71" y="62"/>
                    <a:pt x="73" y="56"/>
                    <a:pt x="73" y="50"/>
                  </a:cubicBezTo>
                  <a:cubicBezTo>
                    <a:pt x="73" y="45"/>
                    <a:pt x="72" y="40"/>
                    <a:pt x="68" y="36"/>
                  </a:cubicBezTo>
                  <a:cubicBezTo>
                    <a:pt x="63" y="29"/>
                    <a:pt x="56" y="26"/>
                    <a:pt x="50" y="26"/>
                  </a:cubicBezTo>
                  <a:cubicBezTo>
                    <a:pt x="43" y="26"/>
                    <a:pt x="37" y="29"/>
                    <a:pt x="32" y="34"/>
                  </a:cubicBezTo>
                  <a:cubicBezTo>
                    <a:pt x="28" y="38"/>
                    <a:pt x="26" y="43"/>
                    <a:pt x="26" y="48"/>
                  </a:cubicBezTo>
                  <a:cubicBezTo>
                    <a:pt x="26" y="54"/>
                    <a:pt x="29" y="60"/>
                    <a:pt x="34" y="67"/>
                  </a:cubicBezTo>
                  <a:cubicBezTo>
                    <a:pt x="38" y="71"/>
                    <a:pt x="43" y="73"/>
                    <a:pt x="47" y="73"/>
                  </a:cubicBezTo>
                  <a:cubicBezTo>
                    <a:pt x="52" y="73"/>
                    <a:pt x="56" y="71"/>
                    <a:pt x="60" y="69"/>
                  </a:cubicBezTo>
                  <a:cubicBezTo>
                    <a:pt x="63" y="66"/>
                    <a:pt x="65" y="63"/>
                    <a:pt x="66" y="59"/>
                  </a:cubicBezTo>
                  <a:cubicBezTo>
                    <a:pt x="66" y="57"/>
                    <a:pt x="65" y="55"/>
                    <a:pt x="63" y="52"/>
                  </a:cubicBezTo>
                  <a:cubicBezTo>
                    <a:pt x="60" y="49"/>
                    <a:pt x="57" y="47"/>
                    <a:pt x="54" y="47"/>
                  </a:cubicBezTo>
                  <a:cubicBezTo>
                    <a:pt x="52" y="47"/>
                    <a:pt x="51" y="48"/>
                    <a:pt x="50" y="48"/>
                  </a:cubicBezTo>
                  <a:cubicBezTo>
                    <a:pt x="46" y="51"/>
                    <a:pt x="45" y="54"/>
                    <a:pt x="45" y="54"/>
                  </a:cubicBezTo>
                  <a:lnTo>
                    <a:pt x="48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2138507" y="908720"/>
              <a:ext cx="1190962" cy="1038924"/>
            </a:xfrm>
            <a:custGeom>
              <a:avLst/>
              <a:gdLst>
                <a:gd name="T0" fmla="*/ 302 w 357"/>
                <a:gd name="T1" fmla="*/ 41 h 311"/>
                <a:gd name="T2" fmla="*/ 292 w 357"/>
                <a:gd name="T3" fmla="*/ 26 h 311"/>
                <a:gd name="T4" fmla="*/ 181 w 357"/>
                <a:gd name="T5" fmla="*/ 34 h 311"/>
                <a:gd name="T6" fmla="*/ 161 w 357"/>
                <a:gd name="T7" fmla="*/ 38 h 311"/>
                <a:gd name="T8" fmla="*/ 125 w 357"/>
                <a:gd name="T9" fmla="*/ 98 h 311"/>
                <a:gd name="T10" fmla="*/ 103 w 357"/>
                <a:gd name="T11" fmla="*/ 91 h 311"/>
                <a:gd name="T12" fmla="*/ 37 w 357"/>
                <a:gd name="T13" fmla="*/ 145 h 311"/>
                <a:gd name="T14" fmla="*/ 19 w 357"/>
                <a:gd name="T15" fmla="*/ 160 h 311"/>
                <a:gd name="T16" fmla="*/ 9 w 357"/>
                <a:gd name="T17" fmla="*/ 228 h 311"/>
                <a:gd name="T18" fmla="*/ 24 w 357"/>
                <a:gd name="T19" fmla="*/ 239 h 311"/>
                <a:gd name="T20" fmla="*/ 15 w 357"/>
                <a:gd name="T21" fmla="*/ 291 h 311"/>
                <a:gd name="T22" fmla="*/ 28 w 357"/>
                <a:gd name="T23" fmla="*/ 301 h 311"/>
                <a:gd name="T24" fmla="*/ 51 w 357"/>
                <a:gd name="T25" fmla="*/ 310 h 311"/>
                <a:gd name="T26" fmla="*/ 94 w 357"/>
                <a:gd name="T27" fmla="*/ 300 h 311"/>
                <a:gd name="T28" fmla="*/ 133 w 357"/>
                <a:gd name="T29" fmla="*/ 308 h 311"/>
                <a:gd name="T30" fmla="*/ 205 w 357"/>
                <a:gd name="T31" fmla="*/ 242 h 311"/>
                <a:gd name="T32" fmla="*/ 225 w 357"/>
                <a:gd name="T33" fmla="*/ 220 h 311"/>
                <a:gd name="T34" fmla="*/ 246 w 357"/>
                <a:gd name="T35" fmla="*/ 224 h 311"/>
                <a:gd name="T36" fmla="*/ 308 w 357"/>
                <a:gd name="T37" fmla="*/ 179 h 311"/>
                <a:gd name="T38" fmla="*/ 322 w 357"/>
                <a:gd name="T39" fmla="*/ 174 h 311"/>
                <a:gd name="T40" fmla="*/ 353 w 357"/>
                <a:gd name="T41" fmla="*/ 82 h 311"/>
                <a:gd name="T42" fmla="*/ 353 w 357"/>
                <a:gd name="T43" fmla="*/ 108 h 311"/>
                <a:gd name="T44" fmla="*/ 310 w 357"/>
                <a:gd name="T45" fmla="*/ 175 h 311"/>
                <a:gd name="T46" fmla="*/ 306 w 357"/>
                <a:gd name="T47" fmla="*/ 177 h 311"/>
                <a:gd name="T48" fmla="*/ 304 w 357"/>
                <a:gd name="T49" fmla="*/ 178 h 311"/>
                <a:gd name="T50" fmla="*/ 246 w 357"/>
                <a:gd name="T51" fmla="*/ 220 h 311"/>
                <a:gd name="T52" fmla="*/ 221 w 357"/>
                <a:gd name="T53" fmla="*/ 218 h 311"/>
                <a:gd name="T54" fmla="*/ 203 w 357"/>
                <a:gd name="T55" fmla="*/ 240 h 311"/>
                <a:gd name="T56" fmla="*/ 201 w 357"/>
                <a:gd name="T57" fmla="*/ 241 h 311"/>
                <a:gd name="T58" fmla="*/ 196 w 357"/>
                <a:gd name="T59" fmla="*/ 266 h 311"/>
                <a:gd name="T60" fmla="*/ 105 w 357"/>
                <a:gd name="T61" fmla="*/ 301 h 311"/>
                <a:gd name="T62" fmla="*/ 93 w 357"/>
                <a:gd name="T63" fmla="*/ 297 h 311"/>
                <a:gd name="T64" fmla="*/ 80 w 357"/>
                <a:gd name="T65" fmla="*/ 305 h 311"/>
                <a:gd name="T66" fmla="*/ 40 w 357"/>
                <a:gd name="T67" fmla="*/ 302 h 311"/>
                <a:gd name="T68" fmla="*/ 26 w 357"/>
                <a:gd name="T69" fmla="*/ 297 h 311"/>
                <a:gd name="T70" fmla="*/ 14 w 357"/>
                <a:gd name="T71" fmla="*/ 258 h 311"/>
                <a:gd name="T72" fmla="*/ 26 w 357"/>
                <a:gd name="T73" fmla="*/ 238 h 311"/>
                <a:gd name="T74" fmla="*/ 4 w 357"/>
                <a:gd name="T75" fmla="*/ 198 h 311"/>
                <a:gd name="T76" fmla="*/ 39 w 357"/>
                <a:gd name="T77" fmla="*/ 148 h 311"/>
                <a:gd name="T78" fmla="*/ 41 w 357"/>
                <a:gd name="T79" fmla="*/ 147 h 311"/>
                <a:gd name="T80" fmla="*/ 103 w 357"/>
                <a:gd name="T81" fmla="*/ 95 h 311"/>
                <a:gd name="T82" fmla="*/ 130 w 357"/>
                <a:gd name="T83" fmla="*/ 101 h 311"/>
                <a:gd name="T84" fmla="*/ 132 w 357"/>
                <a:gd name="T85" fmla="*/ 72 h 311"/>
                <a:gd name="T86" fmla="*/ 181 w 357"/>
                <a:gd name="T87" fmla="*/ 37 h 311"/>
                <a:gd name="T88" fmla="*/ 184 w 357"/>
                <a:gd name="T89" fmla="*/ 37 h 311"/>
                <a:gd name="T90" fmla="*/ 259 w 357"/>
                <a:gd name="T91" fmla="*/ 7 h 311"/>
                <a:gd name="T92" fmla="*/ 299 w 357"/>
                <a:gd name="T93" fmla="*/ 42 h 311"/>
                <a:gd name="T94" fmla="*/ 300 w 357"/>
                <a:gd name="T95" fmla="*/ 44 h 311"/>
                <a:gd name="T96" fmla="*/ 351 w 357"/>
                <a:gd name="T97" fmla="*/ 8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7" h="311">
                  <a:moveTo>
                    <a:pt x="351" y="82"/>
                  </a:moveTo>
                  <a:cubicBezTo>
                    <a:pt x="353" y="82"/>
                    <a:pt x="353" y="82"/>
                    <a:pt x="353" y="82"/>
                  </a:cubicBezTo>
                  <a:cubicBezTo>
                    <a:pt x="346" y="62"/>
                    <a:pt x="327" y="45"/>
                    <a:pt x="302" y="41"/>
                  </a:cubicBezTo>
                  <a:cubicBezTo>
                    <a:pt x="301" y="43"/>
                    <a:pt x="301" y="43"/>
                    <a:pt x="301" y="43"/>
                  </a:cubicBezTo>
                  <a:cubicBezTo>
                    <a:pt x="303" y="42"/>
                    <a:pt x="303" y="42"/>
                    <a:pt x="303" y="42"/>
                  </a:cubicBezTo>
                  <a:cubicBezTo>
                    <a:pt x="303" y="41"/>
                    <a:pt x="300" y="34"/>
                    <a:pt x="292" y="26"/>
                  </a:cubicBezTo>
                  <a:cubicBezTo>
                    <a:pt x="285" y="18"/>
                    <a:pt x="274" y="8"/>
                    <a:pt x="260" y="4"/>
                  </a:cubicBezTo>
                  <a:cubicBezTo>
                    <a:pt x="253" y="1"/>
                    <a:pt x="245" y="0"/>
                    <a:pt x="238" y="0"/>
                  </a:cubicBezTo>
                  <a:cubicBezTo>
                    <a:pt x="216" y="0"/>
                    <a:pt x="194" y="11"/>
                    <a:pt x="181" y="34"/>
                  </a:cubicBezTo>
                  <a:cubicBezTo>
                    <a:pt x="183" y="35"/>
                    <a:pt x="183" y="35"/>
                    <a:pt x="183" y="35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2" y="33"/>
                    <a:pt x="172" y="33"/>
                    <a:pt x="161" y="38"/>
                  </a:cubicBezTo>
                  <a:cubicBezTo>
                    <a:pt x="149" y="43"/>
                    <a:pt x="135" y="53"/>
                    <a:pt x="128" y="71"/>
                  </a:cubicBezTo>
                  <a:cubicBezTo>
                    <a:pt x="126" y="77"/>
                    <a:pt x="125" y="84"/>
                    <a:pt x="125" y="90"/>
                  </a:cubicBezTo>
                  <a:cubicBezTo>
                    <a:pt x="125" y="93"/>
                    <a:pt x="125" y="95"/>
                    <a:pt x="125" y="98"/>
                  </a:cubicBezTo>
                  <a:cubicBezTo>
                    <a:pt x="127" y="98"/>
                    <a:pt x="127" y="98"/>
                    <a:pt x="127" y="98"/>
                  </a:cubicBezTo>
                  <a:cubicBezTo>
                    <a:pt x="128" y="96"/>
                    <a:pt x="128" y="96"/>
                    <a:pt x="128" y="96"/>
                  </a:cubicBezTo>
                  <a:cubicBezTo>
                    <a:pt x="121" y="93"/>
                    <a:pt x="112" y="91"/>
                    <a:pt x="103" y="91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87" y="91"/>
                    <a:pt x="73" y="96"/>
                    <a:pt x="61" y="105"/>
                  </a:cubicBezTo>
                  <a:cubicBezTo>
                    <a:pt x="49" y="114"/>
                    <a:pt x="41" y="128"/>
                    <a:pt x="37" y="145"/>
                  </a:cubicBezTo>
                  <a:cubicBezTo>
                    <a:pt x="39" y="145"/>
                    <a:pt x="39" y="145"/>
                    <a:pt x="39" y="145"/>
                  </a:cubicBezTo>
                  <a:cubicBezTo>
                    <a:pt x="38" y="144"/>
                    <a:pt x="38" y="144"/>
                    <a:pt x="38" y="144"/>
                  </a:cubicBezTo>
                  <a:cubicBezTo>
                    <a:pt x="38" y="144"/>
                    <a:pt x="29" y="150"/>
                    <a:pt x="19" y="160"/>
                  </a:cubicBezTo>
                  <a:cubicBezTo>
                    <a:pt x="10" y="169"/>
                    <a:pt x="0" y="183"/>
                    <a:pt x="0" y="198"/>
                  </a:cubicBezTo>
                  <a:cubicBezTo>
                    <a:pt x="0" y="199"/>
                    <a:pt x="0" y="199"/>
                    <a:pt x="0" y="200"/>
                  </a:cubicBezTo>
                  <a:cubicBezTo>
                    <a:pt x="0" y="212"/>
                    <a:pt x="4" y="221"/>
                    <a:pt x="9" y="228"/>
                  </a:cubicBezTo>
                  <a:cubicBezTo>
                    <a:pt x="13" y="235"/>
                    <a:pt x="19" y="239"/>
                    <a:pt x="24" y="242"/>
                  </a:cubicBezTo>
                  <a:cubicBezTo>
                    <a:pt x="25" y="240"/>
                    <a:pt x="25" y="240"/>
                    <a:pt x="25" y="240"/>
                  </a:cubicBezTo>
                  <a:cubicBezTo>
                    <a:pt x="24" y="239"/>
                    <a:pt x="24" y="239"/>
                    <a:pt x="24" y="239"/>
                  </a:cubicBezTo>
                  <a:cubicBezTo>
                    <a:pt x="18" y="245"/>
                    <a:pt x="13" y="251"/>
                    <a:pt x="11" y="256"/>
                  </a:cubicBezTo>
                  <a:cubicBezTo>
                    <a:pt x="9" y="260"/>
                    <a:pt x="8" y="264"/>
                    <a:pt x="8" y="269"/>
                  </a:cubicBezTo>
                  <a:cubicBezTo>
                    <a:pt x="8" y="277"/>
                    <a:pt x="11" y="285"/>
                    <a:pt x="15" y="291"/>
                  </a:cubicBezTo>
                  <a:cubicBezTo>
                    <a:pt x="17" y="294"/>
                    <a:pt x="19" y="296"/>
                    <a:pt x="21" y="298"/>
                  </a:cubicBezTo>
                  <a:cubicBezTo>
                    <a:pt x="22" y="299"/>
                    <a:pt x="23" y="300"/>
                    <a:pt x="24" y="300"/>
                  </a:cubicBezTo>
                  <a:cubicBezTo>
                    <a:pt x="25" y="301"/>
                    <a:pt x="26" y="301"/>
                    <a:pt x="28" y="301"/>
                  </a:cubicBezTo>
                  <a:cubicBezTo>
                    <a:pt x="29" y="301"/>
                    <a:pt x="30" y="302"/>
                    <a:pt x="32" y="302"/>
                  </a:cubicBezTo>
                  <a:cubicBezTo>
                    <a:pt x="35" y="303"/>
                    <a:pt x="38" y="305"/>
                    <a:pt x="42" y="307"/>
                  </a:cubicBezTo>
                  <a:cubicBezTo>
                    <a:pt x="45" y="308"/>
                    <a:pt x="48" y="310"/>
                    <a:pt x="51" y="310"/>
                  </a:cubicBezTo>
                  <a:cubicBezTo>
                    <a:pt x="53" y="311"/>
                    <a:pt x="57" y="311"/>
                    <a:pt x="63" y="311"/>
                  </a:cubicBezTo>
                  <a:cubicBezTo>
                    <a:pt x="69" y="311"/>
                    <a:pt x="75" y="311"/>
                    <a:pt x="81" y="309"/>
                  </a:cubicBezTo>
                  <a:cubicBezTo>
                    <a:pt x="86" y="308"/>
                    <a:pt x="91" y="305"/>
                    <a:pt x="94" y="300"/>
                  </a:cubicBezTo>
                  <a:cubicBezTo>
                    <a:pt x="93" y="299"/>
                    <a:pt x="93" y="299"/>
                    <a:pt x="93" y="299"/>
                  </a:cubicBezTo>
                  <a:cubicBezTo>
                    <a:pt x="92" y="301"/>
                    <a:pt x="92" y="301"/>
                    <a:pt x="92" y="301"/>
                  </a:cubicBezTo>
                  <a:cubicBezTo>
                    <a:pt x="92" y="301"/>
                    <a:pt x="110" y="308"/>
                    <a:pt x="133" y="308"/>
                  </a:cubicBezTo>
                  <a:cubicBezTo>
                    <a:pt x="144" y="308"/>
                    <a:pt x="157" y="307"/>
                    <a:pt x="168" y="301"/>
                  </a:cubicBezTo>
                  <a:cubicBezTo>
                    <a:pt x="186" y="293"/>
                    <a:pt x="195" y="278"/>
                    <a:pt x="200" y="265"/>
                  </a:cubicBezTo>
                  <a:cubicBezTo>
                    <a:pt x="205" y="252"/>
                    <a:pt x="205" y="242"/>
                    <a:pt x="205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4" y="243"/>
                    <a:pt x="204" y="243"/>
                    <a:pt x="204" y="243"/>
                  </a:cubicBezTo>
                  <a:cubicBezTo>
                    <a:pt x="205" y="243"/>
                    <a:pt x="217" y="235"/>
                    <a:pt x="225" y="220"/>
                  </a:cubicBezTo>
                  <a:cubicBezTo>
                    <a:pt x="223" y="219"/>
                    <a:pt x="223" y="219"/>
                    <a:pt x="223" y="219"/>
                  </a:cubicBezTo>
                  <a:cubicBezTo>
                    <a:pt x="222" y="220"/>
                    <a:pt x="222" y="220"/>
                    <a:pt x="222" y="220"/>
                  </a:cubicBezTo>
                  <a:cubicBezTo>
                    <a:pt x="230" y="223"/>
                    <a:pt x="238" y="224"/>
                    <a:pt x="246" y="224"/>
                  </a:cubicBezTo>
                  <a:cubicBezTo>
                    <a:pt x="249" y="224"/>
                    <a:pt x="252" y="224"/>
                    <a:pt x="254" y="224"/>
                  </a:cubicBezTo>
                  <a:cubicBezTo>
                    <a:pt x="274" y="221"/>
                    <a:pt x="288" y="210"/>
                    <a:pt x="296" y="200"/>
                  </a:cubicBezTo>
                  <a:cubicBezTo>
                    <a:pt x="305" y="189"/>
                    <a:pt x="308" y="180"/>
                    <a:pt x="308" y="179"/>
                  </a:cubicBezTo>
                  <a:cubicBezTo>
                    <a:pt x="307" y="179"/>
                    <a:pt x="307" y="179"/>
                    <a:pt x="307" y="179"/>
                  </a:cubicBezTo>
                  <a:cubicBezTo>
                    <a:pt x="307" y="181"/>
                    <a:pt x="307" y="181"/>
                    <a:pt x="307" y="181"/>
                  </a:cubicBezTo>
                  <a:cubicBezTo>
                    <a:pt x="307" y="181"/>
                    <a:pt x="314" y="179"/>
                    <a:pt x="322" y="174"/>
                  </a:cubicBezTo>
                  <a:cubicBezTo>
                    <a:pt x="330" y="169"/>
                    <a:pt x="340" y="161"/>
                    <a:pt x="347" y="148"/>
                  </a:cubicBezTo>
                  <a:cubicBezTo>
                    <a:pt x="354" y="134"/>
                    <a:pt x="357" y="121"/>
                    <a:pt x="357" y="108"/>
                  </a:cubicBezTo>
                  <a:cubicBezTo>
                    <a:pt x="357" y="98"/>
                    <a:pt x="355" y="90"/>
                    <a:pt x="353" y="82"/>
                  </a:cubicBezTo>
                  <a:cubicBezTo>
                    <a:pt x="351" y="82"/>
                    <a:pt x="351" y="82"/>
                    <a:pt x="351" y="82"/>
                  </a:cubicBezTo>
                  <a:cubicBezTo>
                    <a:pt x="349" y="83"/>
                    <a:pt x="349" y="83"/>
                    <a:pt x="349" y="83"/>
                  </a:cubicBezTo>
                  <a:cubicBezTo>
                    <a:pt x="351" y="91"/>
                    <a:pt x="353" y="99"/>
                    <a:pt x="353" y="108"/>
                  </a:cubicBezTo>
                  <a:cubicBezTo>
                    <a:pt x="353" y="120"/>
                    <a:pt x="350" y="133"/>
                    <a:pt x="343" y="147"/>
                  </a:cubicBezTo>
                  <a:cubicBezTo>
                    <a:pt x="337" y="158"/>
                    <a:pt x="328" y="165"/>
                    <a:pt x="320" y="170"/>
                  </a:cubicBezTo>
                  <a:cubicBezTo>
                    <a:pt x="316" y="173"/>
                    <a:pt x="313" y="174"/>
                    <a:pt x="310" y="175"/>
                  </a:cubicBezTo>
                  <a:cubicBezTo>
                    <a:pt x="309" y="176"/>
                    <a:pt x="308" y="176"/>
                    <a:pt x="307" y="177"/>
                  </a:cubicBezTo>
                  <a:cubicBezTo>
                    <a:pt x="306" y="177"/>
                    <a:pt x="306" y="177"/>
                    <a:pt x="306" y="177"/>
                  </a:cubicBezTo>
                  <a:cubicBezTo>
                    <a:pt x="306" y="177"/>
                    <a:pt x="306" y="177"/>
                    <a:pt x="306" y="177"/>
                  </a:cubicBezTo>
                  <a:cubicBezTo>
                    <a:pt x="305" y="177"/>
                    <a:pt x="305" y="177"/>
                    <a:pt x="305" y="177"/>
                  </a:cubicBezTo>
                  <a:cubicBezTo>
                    <a:pt x="305" y="178"/>
                    <a:pt x="305" y="178"/>
                    <a:pt x="305" y="178"/>
                  </a:cubicBezTo>
                  <a:cubicBezTo>
                    <a:pt x="304" y="178"/>
                    <a:pt x="304" y="178"/>
                    <a:pt x="304" y="178"/>
                  </a:cubicBezTo>
                  <a:cubicBezTo>
                    <a:pt x="304" y="180"/>
                    <a:pt x="300" y="190"/>
                    <a:pt x="291" y="199"/>
                  </a:cubicBezTo>
                  <a:cubicBezTo>
                    <a:pt x="283" y="209"/>
                    <a:pt x="271" y="218"/>
                    <a:pt x="254" y="220"/>
                  </a:cubicBezTo>
                  <a:cubicBezTo>
                    <a:pt x="251" y="220"/>
                    <a:pt x="249" y="220"/>
                    <a:pt x="246" y="220"/>
                  </a:cubicBezTo>
                  <a:cubicBezTo>
                    <a:pt x="238" y="220"/>
                    <a:pt x="231" y="219"/>
                    <a:pt x="224" y="217"/>
                  </a:cubicBezTo>
                  <a:cubicBezTo>
                    <a:pt x="222" y="216"/>
                    <a:pt x="222" y="216"/>
                    <a:pt x="222" y="216"/>
                  </a:cubicBezTo>
                  <a:cubicBezTo>
                    <a:pt x="221" y="218"/>
                    <a:pt x="221" y="218"/>
                    <a:pt x="221" y="218"/>
                  </a:cubicBezTo>
                  <a:cubicBezTo>
                    <a:pt x="217" y="225"/>
                    <a:pt x="213" y="230"/>
                    <a:pt x="209" y="234"/>
                  </a:cubicBezTo>
                  <a:cubicBezTo>
                    <a:pt x="207" y="236"/>
                    <a:pt x="205" y="238"/>
                    <a:pt x="204" y="239"/>
                  </a:cubicBezTo>
                  <a:cubicBezTo>
                    <a:pt x="203" y="239"/>
                    <a:pt x="203" y="239"/>
                    <a:pt x="203" y="240"/>
                  </a:cubicBezTo>
                  <a:cubicBezTo>
                    <a:pt x="202" y="240"/>
                    <a:pt x="202" y="240"/>
                    <a:pt x="202" y="240"/>
                  </a:cubicBezTo>
                  <a:cubicBezTo>
                    <a:pt x="202" y="240"/>
                    <a:pt x="202" y="240"/>
                    <a:pt x="202" y="240"/>
                  </a:cubicBezTo>
                  <a:cubicBezTo>
                    <a:pt x="201" y="241"/>
                    <a:pt x="201" y="241"/>
                    <a:pt x="201" y="241"/>
                  </a:cubicBezTo>
                  <a:cubicBezTo>
                    <a:pt x="201" y="242"/>
                    <a:pt x="201" y="242"/>
                    <a:pt x="201" y="242"/>
                  </a:cubicBezTo>
                  <a:cubicBezTo>
                    <a:pt x="201" y="242"/>
                    <a:pt x="201" y="242"/>
                    <a:pt x="201" y="242"/>
                  </a:cubicBezTo>
                  <a:cubicBezTo>
                    <a:pt x="201" y="244"/>
                    <a:pt x="200" y="254"/>
                    <a:pt x="196" y="266"/>
                  </a:cubicBezTo>
                  <a:cubicBezTo>
                    <a:pt x="191" y="277"/>
                    <a:pt x="182" y="290"/>
                    <a:pt x="167" y="297"/>
                  </a:cubicBezTo>
                  <a:cubicBezTo>
                    <a:pt x="156" y="303"/>
                    <a:pt x="144" y="304"/>
                    <a:pt x="133" y="304"/>
                  </a:cubicBezTo>
                  <a:cubicBezTo>
                    <a:pt x="122" y="304"/>
                    <a:pt x="112" y="303"/>
                    <a:pt x="105" y="301"/>
                  </a:cubicBezTo>
                  <a:cubicBezTo>
                    <a:pt x="101" y="300"/>
                    <a:pt x="98" y="299"/>
                    <a:pt x="96" y="298"/>
                  </a:cubicBezTo>
                  <a:cubicBezTo>
                    <a:pt x="95" y="298"/>
                    <a:pt x="95" y="298"/>
                    <a:pt x="94" y="298"/>
                  </a:cubicBezTo>
                  <a:cubicBezTo>
                    <a:pt x="94" y="297"/>
                    <a:pt x="93" y="297"/>
                    <a:pt x="93" y="297"/>
                  </a:cubicBezTo>
                  <a:cubicBezTo>
                    <a:pt x="92" y="297"/>
                    <a:pt x="92" y="297"/>
                    <a:pt x="92" y="297"/>
                  </a:cubicBezTo>
                  <a:cubicBezTo>
                    <a:pt x="91" y="298"/>
                    <a:pt x="91" y="298"/>
                    <a:pt x="91" y="298"/>
                  </a:cubicBezTo>
                  <a:cubicBezTo>
                    <a:pt x="89" y="302"/>
                    <a:pt x="85" y="304"/>
                    <a:pt x="80" y="305"/>
                  </a:cubicBezTo>
                  <a:cubicBezTo>
                    <a:pt x="74" y="307"/>
                    <a:pt x="68" y="307"/>
                    <a:pt x="63" y="307"/>
                  </a:cubicBezTo>
                  <a:cubicBezTo>
                    <a:pt x="58" y="307"/>
                    <a:pt x="53" y="307"/>
                    <a:pt x="51" y="306"/>
                  </a:cubicBezTo>
                  <a:cubicBezTo>
                    <a:pt x="49" y="306"/>
                    <a:pt x="45" y="304"/>
                    <a:pt x="40" y="302"/>
                  </a:cubicBezTo>
                  <a:cubicBezTo>
                    <a:pt x="38" y="300"/>
                    <a:pt x="36" y="299"/>
                    <a:pt x="34" y="299"/>
                  </a:cubicBezTo>
                  <a:cubicBezTo>
                    <a:pt x="32" y="298"/>
                    <a:pt x="30" y="297"/>
                    <a:pt x="28" y="297"/>
                  </a:cubicBezTo>
                  <a:cubicBezTo>
                    <a:pt x="27" y="297"/>
                    <a:pt x="27" y="297"/>
                    <a:pt x="26" y="297"/>
                  </a:cubicBezTo>
                  <a:cubicBezTo>
                    <a:pt x="24" y="296"/>
                    <a:pt x="20" y="292"/>
                    <a:pt x="17" y="287"/>
                  </a:cubicBezTo>
                  <a:cubicBezTo>
                    <a:pt x="14" y="282"/>
                    <a:pt x="12" y="275"/>
                    <a:pt x="12" y="269"/>
                  </a:cubicBezTo>
                  <a:cubicBezTo>
                    <a:pt x="12" y="265"/>
                    <a:pt x="13" y="261"/>
                    <a:pt x="14" y="258"/>
                  </a:cubicBezTo>
                  <a:cubicBezTo>
                    <a:pt x="16" y="253"/>
                    <a:pt x="21" y="248"/>
                    <a:pt x="27" y="241"/>
                  </a:cubicBezTo>
                  <a:cubicBezTo>
                    <a:pt x="28" y="240"/>
                    <a:pt x="28" y="240"/>
                    <a:pt x="28" y="240"/>
                  </a:cubicBezTo>
                  <a:cubicBezTo>
                    <a:pt x="26" y="238"/>
                    <a:pt x="26" y="238"/>
                    <a:pt x="26" y="238"/>
                  </a:cubicBezTo>
                  <a:cubicBezTo>
                    <a:pt x="22" y="236"/>
                    <a:pt x="16" y="232"/>
                    <a:pt x="12" y="225"/>
                  </a:cubicBezTo>
                  <a:cubicBezTo>
                    <a:pt x="8" y="219"/>
                    <a:pt x="4" y="211"/>
                    <a:pt x="4" y="200"/>
                  </a:cubicBezTo>
                  <a:cubicBezTo>
                    <a:pt x="4" y="199"/>
                    <a:pt x="4" y="199"/>
                    <a:pt x="4" y="198"/>
                  </a:cubicBezTo>
                  <a:cubicBezTo>
                    <a:pt x="4" y="185"/>
                    <a:pt x="13" y="172"/>
                    <a:pt x="22" y="162"/>
                  </a:cubicBezTo>
                  <a:cubicBezTo>
                    <a:pt x="27" y="158"/>
                    <a:pt x="31" y="154"/>
                    <a:pt x="35" y="151"/>
                  </a:cubicBezTo>
                  <a:cubicBezTo>
                    <a:pt x="36" y="150"/>
                    <a:pt x="38" y="149"/>
                    <a:pt x="39" y="148"/>
                  </a:cubicBezTo>
                  <a:cubicBezTo>
                    <a:pt x="39" y="148"/>
                    <a:pt x="40" y="147"/>
                    <a:pt x="40" y="147"/>
                  </a:cubicBezTo>
                  <a:cubicBezTo>
                    <a:pt x="40" y="147"/>
                    <a:pt x="40" y="147"/>
                    <a:pt x="40" y="147"/>
                  </a:cubicBezTo>
                  <a:cubicBezTo>
                    <a:pt x="41" y="147"/>
                    <a:pt x="41" y="147"/>
                    <a:pt x="41" y="147"/>
                  </a:cubicBezTo>
                  <a:cubicBezTo>
                    <a:pt x="41" y="146"/>
                    <a:pt x="41" y="146"/>
                    <a:pt x="41" y="146"/>
                  </a:cubicBezTo>
                  <a:cubicBezTo>
                    <a:pt x="44" y="129"/>
                    <a:pt x="53" y="117"/>
                    <a:pt x="64" y="108"/>
                  </a:cubicBezTo>
                  <a:cubicBezTo>
                    <a:pt x="74" y="100"/>
                    <a:pt x="88" y="95"/>
                    <a:pt x="103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12" y="95"/>
                    <a:pt x="120" y="97"/>
                    <a:pt x="127" y="100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5"/>
                    <a:pt x="129" y="92"/>
                    <a:pt x="129" y="90"/>
                  </a:cubicBezTo>
                  <a:cubicBezTo>
                    <a:pt x="129" y="84"/>
                    <a:pt x="130" y="78"/>
                    <a:pt x="132" y="72"/>
                  </a:cubicBezTo>
                  <a:cubicBezTo>
                    <a:pt x="139" y="55"/>
                    <a:pt x="151" y="47"/>
                    <a:pt x="162" y="42"/>
                  </a:cubicBezTo>
                  <a:cubicBezTo>
                    <a:pt x="168" y="40"/>
                    <a:pt x="173" y="38"/>
                    <a:pt x="177" y="37"/>
                  </a:cubicBezTo>
                  <a:cubicBezTo>
                    <a:pt x="179" y="37"/>
                    <a:pt x="180" y="37"/>
                    <a:pt x="181" y="37"/>
                  </a:cubicBezTo>
                  <a:cubicBezTo>
                    <a:pt x="182" y="37"/>
                    <a:pt x="182" y="37"/>
                    <a:pt x="182" y="37"/>
                  </a:cubicBezTo>
                  <a:cubicBezTo>
                    <a:pt x="183" y="37"/>
                    <a:pt x="183" y="37"/>
                    <a:pt x="183" y="37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184" y="36"/>
                    <a:pt x="184" y="36"/>
                    <a:pt x="184" y="36"/>
                  </a:cubicBezTo>
                  <a:cubicBezTo>
                    <a:pt x="197" y="14"/>
                    <a:pt x="217" y="4"/>
                    <a:pt x="238" y="4"/>
                  </a:cubicBezTo>
                  <a:cubicBezTo>
                    <a:pt x="245" y="4"/>
                    <a:pt x="252" y="5"/>
                    <a:pt x="259" y="7"/>
                  </a:cubicBezTo>
                  <a:cubicBezTo>
                    <a:pt x="272" y="12"/>
                    <a:pt x="282" y="21"/>
                    <a:pt x="289" y="29"/>
                  </a:cubicBezTo>
                  <a:cubicBezTo>
                    <a:pt x="293" y="33"/>
                    <a:pt x="295" y="36"/>
                    <a:pt x="297" y="39"/>
                  </a:cubicBezTo>
                  <a:cubicBezTo>
                    <a:pt x="298" y="40"/>
                    <a:pt x="299" y="42"/>
                    <a:pt x="299" y="42"/>
                  </a:cubicBezTo>
                  <a:cubicBezTo>
                    <a:pt x="299" y="43"/>
                    <a:pt x="299" y="43"/>
                    <a:pt x="300" y="43"/>
                  </a:cubicBezTo>
                  <a:cubicBezTo>
                    <a:pt x="300" y="43"/>
                    <a:pt x="300" y="43"/>
                    <a:pt x="300" y="43"/>
                  </a:cubicBezTo>
                  <a:cubicBezTo>
                    <a:pt x="300" y="44"/>
                    <a:pt x="300" y="44"/>
                    <a:pt x="300" y="44"/>
                  </a:cubicBezTo>
                  <a:cubicBezTo>
                    <a:pt x="301" y="44"/>
                    <a:pt x="301" y="44"/>
                    <a:pt x="301" y="44"/>
                  </a:cubicBezTo>
                  <a:cubicBezTo>
                    <a:pt x="325" y="48"/>
                    <a:pt x="343" y="65"/>
                    <a:pt x="349" y="83"/>
                  </a:cubicBezTo>
                  <a:lnTo>
                    <a:pt x="351" y="8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1721811" y="1830801"/>
              <a:ext cx="974168" cy="764412"/>
            </a:xfrm>
            <a:custGeom>
              <a:avLst/>
              <a:gdLst>
                <a:gd name="T0" fmla="*/ 72 w 292"/>
                <a:gd name="T1" fmla="*/ 211 h 229"/>
                <a:gd name="T2" fmla="*/ 130 w 292"/>
                <a:gd name="T3" fmla="*/ 166 h 229"/>
                <a:gd name="T4" fmla="*/ 149 w 292"/>
                <a:gd name="T5" fmla="*/ 173 h 229"/>
                <a:gd name="T6" fmla="*/ 182 w 292"/>
                <a:gd name="T7" fmla="*/ 164 h 229"/>
                <a:gd name="T8" fmla="*/ 267 w 292"/>
                <a:gd name="T9" fmla="*/ 137 h 229"/>
                <a:gd name="T10" fmla="*/ 280 w 292"/>
                <a:gd name="T11" fmla="*/ 111 h 229"/>
                <a:gd name="T12" fmla="*/ 239 w 292"/>
                <a:gd name="T13" fmla="*/ 16 h 229"/>
                <a:gd name="T14" fmla="*/ 191 w 292"/>
                <a:gd name="T15" fmla="*/ 0 h 229"/>
                <a:gd name="T16" fmla="*/ 141 w 292"/>
                <a:gd name="T17" fmla="*/ 43 h 229"/>
                <a:gd name="T18" fmla="*/ 109 w 292"/>
                <a:gd name="T19" fmla="*/ 86 h 229"/>
                <a:gd name="T20" fmla="*/ 134 w 292"/>
                <a:gd name="T21" fmla="*/ 121 h 229"/>
                <a:gd name="T22" fmla="*/ 182 w 292"/>
                <a:gd name="T23" fmla="*/ 143 h 229"/>
                <a:gd name="T24" fmla="*/ 210 w 292"/>
                <a:gd name="T25" fmla="*/ 127 h 229"/>
                <a:gd name="T26" fmla="*/ 201 w 292"/>
                <a:gd name="T27" fmla="*/ 39 h 229"/>
                <a:gd name="T28" fmla="*/ 188 w 292"/>
                <a:gd name="T29" fmla="*/ 103 h 229"/>
                <a:gd name="T30" fmla="*/ 206 w 292"/>
                <a:gd name="T31" fmla="*/ 67 h 229"/>
                <a:gd name="T32" fmla="*/ 170 w 292"/>
                <a:gd name="T33" fmla="*/ 81 h 229"/>
                <a:gd name="T34" fmla="*/ 147 w 292"/>
                <a:gd name="T35" fmla="*/ 99 h 229"/>
                <a:gd name="T36" fmla="*/ 102 w 292"/>
                <a:gd name="T37" fmla="*/ 161 h 229"/>
                <a:gd name="T38" fmla="*/ 13 w 292"/>
                <a:gd name="T39" fmla="*/ 201 h 229"/>
                <a:gd name="T40" fmla="*/ 5 w 292"/>
                <a:gd name="T41" fmla="*/ 219 h 229"/>
                <a:gd name="T42" fmla="*/ 6 w 292"/>
                <a:gd name="T43" fmla="*/ 219 h 229"/>
                <a:gd name="T44" fmla="*/ 23 w 292"/>
                <a:gd name="T45" fmla="*/ 209 h 229"/>
                <a:gd name="T46" fmla="*/ 6 w 292"/>
                <a:gd name="T47" fmla="*/ 219 h 229"/>
                <a:gd name="T48" fmla="*/ 88 w 292"/>
                <a:gd name="T49" fmla="*/ 184 h 229"/>
                <a:gd name="T50" fmla="*/ 132 w 292"/>
                <a:gd name="T51" fmla="*/ 118 h 229"/>
                <a:gd name="T52" fmla="*/ 174 w 292"/>
                <a:gd name="T53" fmla="*/ 83 h 229"/>
                <a:gd name="T54" fmla="*/ 190 w 292"/>
                <a:gd name="T55" fmla="*/ 62 h 229"/>
                <a:gd name="T56" fmla="*/ 206 w 292"/>
                <a:gd name="T57" fmla="*/ 89 h 229"/>
                <a:gd name="T58" fmla="*/ 167 w 292"/>
                <a:gd name="T59" fmla="*/ 77 h 229"/>
                <a:gd name="T60" fmla="*/ 233 w 292"/>
                <a:gd name="T61" fmla="*/ 82 h 229"/>
                <a:gd name="T62" fmla="*/ 195 w 292"/>
                <a:gd name="T63" fmla="*/ 128 h 229"/>
                <a:gd name="T64" fmla="*/ 192 w 292"/>
                <a:gd name="T65" fmla="*/ 129 h 229"/>
                <a:gd name="T66" fmla="*/ 143 w 292"/>
                <a:gd name="T67" fmla="*/ 129 h 229"/>
                <a:gd name="T68" fmla="*/ 137 w 292"/>
                <a:gd name="T69" fmla="*/ 119 h 229"/>
                <a:gd name="T70" fmla="*/ 124 w 292"/>
                <a:gd name="T71" fmla="*/ 111 h 229"/>
                <a:gd name="T72" fmla="*/ 137 w 292"/>
                <a:gd name="T73" fmla="*/ 47 h 229"/>
                <a:gd name="T74" fmla="*/ 142 w 292"/>
                <a:gd name="T75" fmla="*/ 45 h 229"/>
                <a:gd name="T76" fmla="*/ 191 w 292"/>
                <a:gd name="T77" fmla="*/ 4 h 229"/>
                <a:gd name="T78" fmla="*/ 229 w 292"/>
                <a:gd name="T79" fmla="*/ 20 h 229"/>
                <a:gd name="T80" fmla="*/ 239 w 292"/>
                <a:gd name="T81" fmla="*/ 20 h 229"/>
                <a:gd name="T82" fmla="*/ 277 w 292"/>
                <a:gd name="T83" fmla="*/ 109 h 229"/>
                <a:gd name="T84" fmla="*/ 268 w 292"/>
                <a:gd name="T85" fmla="*/ 117 h 229"/>
                <a:gd name="T86" fmla="*/ 263 w 292"/>
                <a:gd name="T87" fmla="*/ 138 h 229"/>
                <a:gd name="T88" fmla="*/ 185 w 292"/>
                <a:gd name="T89" fmla="*/ 163 h 229"/>
                <a:gd name="T90" fmla="*/ 181 w 292"/>
                <a:gd name="T91" fmla="*/ 163 h 229"/>
                <a:gd name="T92" fmla="*/ 141 w 292"/>
                <a:gd name="T93" fmla="*/ 165 h 229"/>
                <a:gd name="T94" fmla="*/ 117 w 292"/>
                <a:gd name="T95" fmla="*/ 171 h 229"/>
                <a:gd name="T96" fmla="*/ 32 w 292"/>
                <a:gd name="T97" fmla="*/ 209 h 229"/>
                <a:gd name="T98" fmla="*/ 23 w 292"/>
                <a:gd name="T99" fmla="*/ 2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229">
                  <a:moveTo>
                    <a:pt x="23" y="209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3" y="211"/>
                    <a:pt x="36" y="214"/>
                    <a:pt x="51" y="214"/>
                  </a:cubicBezTo>
                  <a:cubicBezTo>
                    <a:pt x="58" y="214"/>
                    <a:pt x="66" y="213"/>
                    <a:pt x="72" y="211"/>
                  </a:cubicBezTo>
                  <a:cubicBezTo>
                    <a:pt x="92" y="206"/>
                    <a:pt x="105" y="191"/>
                    <a:pt x="110" y="185"/>
                  </a:cubicBezTo>
                  <a:cubicBezTo>
                    <a:pt x="112" y="181"/>
                    <a:pt x="117" y="177"/>
                    <a:pt x="121" y="173"/>
                  </a:cubicBezTo>
                  <a:cubicBezTo>
                    <a:pt x="123" y="171"/>
                    <a:pt x="126" y="169"/>
                    <a:pt x="127" y="168"/>
                  </a:cubicBezTo>
                  <a:cubicBezTo>
                    <a:pt x="128" y="167"/>
                    <a:pt x="129" y="166"/>
                    <a:pt x="130" y="166"/>
                  </a:cubicBezTo>
                  <a:cubicBezTo>
                    <a:pt x="131" y="166"/>
                    <a:pt x="131" y="166"/>
                    <a:pt x="131" y="166"/>
                  </a:cubicBezTo>
                  <a:cubicBezTo>
                    <a:pt x="132" y="166"/>
                    <a:pt x="133" y="166"/>
                    <a:pt x="135" y="167"/>
                  </a:cubicBezTo>
                  <a:cubicBezTo>
                    <a:pt x="137" y="167"/>
                    <a:pt x="140" y="169"/>
                    <a:pt x="142" y="170"/>
                  </a:cubicBezTo>
                  <a:cubicBezTo>
                    <a:pt x="145" y="171"/>
                    <a:pt x="147" y="172"/>
                    <a:pt x="149" y="173"/>
                  </a:cubicBezTo>
                  <a:cubicBezTo>
                    <a:pt x="151" y="173"/>
                    <a:pt x="155" y="174"/>
                    <a:pt x="159" y="174"/>
                  </a:cubicBezTo>
                  <a:cubicBezTo>
                    <a:pt x="163" y="174"/>
                    <a:pt x="168" y="173"/>
                    <a:pt x="173" y="172"/>
                  </a:cubicBezTo>
                  <a:cubicBezTo>
                    <a:pt x="177" y="171"/>
                    <a:pt x="182" y="169"/>
                    <a:pt x="184" y="165"/>
                  </a:cubicBezTo>
                  <a:cubicBezTo>
                    <a:pt x="182" y="164"/>
                    <a:pt x="182" y="164"/>
                    <a:pt x="182" y="164"/>
                  </a:cubicBezTo>
                  <a:cubicBezTo>
                    <a:pt x="181" y="166"/>
                    <a:pt x="181" y="166"/>
                    <a:pt x="181" y="166"/>
                  </a:cubicBezTo>
                  <a:cubicBezTo>
                    <a:pt x="182" y="166"/>
                    <a:pt x="196" y="171"/>
                    <a:pt x="214" y="171"/>
                  </a:cubicBezTo>
                  <a:cubicBezTo>
                    <a:pt x="223" y="171"/>
                    <a:pt x="232" y="170"/>
                    <a:pt x="242" y="166"/>
                  </a:cubicBezTo>
                  <a:cubicBezTo>
                    <a:pt x="256" y="159"/>
                    <a:pt x="263" y="147"/>
                    <a:pt x="267" y="137"/>
                  </a:cubicBezTo>
                  <a:cubicBezTo>
                    <a:pt x="271" y="127"/>
                    <a:pt x="271" y="119"/>
                    <a:pt x="271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70" y="120"/>
                    <a:pt x="275" y="117"/>
                    <a:pt x="280" y="111"/>
                  </a:cubicBezTo>
                  <a:cubicBezTo>
                    <a:pt x="284" y="105"/>
                    <a:pt x="290" y="97"/>
                    <a:pt x="291" y="86"/>
                  </a:cubicBezTo>
                  <a:cubicBezTo>
                    <a:pt x="292" y="82"/>
                    <a:pt x="292" y="78"/>
                    <a:pt x="292" y="75"/>
                  </a:cubicBezTo>
                  <a:cubicBezTo>
                    <a:pt x="292" y="59"/>
                    <a:pt x="287" y="45"/>
                    <a:pt x="279" y="35"/>
                  </a:cubicBezTo>
                  <a:cubicBezTo>
                    <a:pt x="271" y="24"/>
                    <a:pt x="255" y="16"/>
                    <a:pt x="239" y="16"/>
                  </a:cubicBezTo>
                  <a:cubicBezTo>
                    <a:pt x="236" y="16"/>
                    <a:pt x="233" y="16"/>
                    <a:pt x="230" y="17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2" y="17"/>
                    <a:pt x="232" y="17"/>
                    <a:pt x="232" y="17"/>
                  </a:cubicBezTo>
                  <a:cubicBezTo>
                    <a:pt x="232" y="17"/>
                    <a:pt x="214" y="0"/>
                    <a:pt x="191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78" y="0"/>
                    <a:pt x="167" y="4"/>
                    <a:pt x="157" y="11"/>
                  </a:cubicBezTo>
                  <a:cubicBezTo>
                    <a:pt x="148" y="19"/>
                    <a:pt x="141" y="29"/>
                    <a:pt x="139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0" y="41"/>
                    <a:pt x="140" y="41"/>
                    <a:pt x="140" y="41"/>
                  </a:cubicBezTo>
                  <a:cubicBezTo>
                    <a:pt x="140" y="41"/>
                    <a:pt x="132" y="44"/>
                    <a:pt x="125" y="51"/>
                  </a:cubicBezTo>
                  <a:cubicBezTo>
                    <a:pt x="117" y="58"/>
                    <a:pt x="110" y="68"/>
                    <a:pt x="109" y="83"/>
                  </a:cubicBezTo>
                  <a:cubicBezTo>
                    <a:pt x="109" y="84"/>
                    <a:pt x="109" y="85"/>
                    <a:pt x="109" y="86"/>
                  </a:cubicBezTo>
                  <a:cubicBezTo>
                    <a:pt x="109" y="100"/>
                    <a:pt x="116" y="109"/>
                    <a:pt x="122" y="115"/>
                  </a:cubicBezTo>
                  <a:cubicBezTo>
                    <a:pt x="128" y="120"/>
                    <a:pt x="135" y="122"/>
                    <a:pt x="135" y="122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4" y="121"/>
                    <a:pt x="134" y="121"/>
                    <a:pt x="134" y="121"/>
                  </a:cubicBezTo>
                  <a:cubicBezTo>
                    <a:pt x="134" y="121"/>
                    <a:pt x="136" y="126"/>
                    <a:pt x="139" y="131"/>
                  </a:cubicBezTo>
                  <a:cubicBezTo>
                    <a:pt x="143" y="137"/>
                    <a:pt x="148" y="143"/>
                    <a:pt x="155" y="145"/>
                  </a:cubicBezTo>
                  <a:cubicBezTo>
                    <a:pt x="158" y="146"/>
                    <a:pt x="161" y="147"/>
                    <a:pt x="164" y="147"/>
                  </a:cubicBezTo>
                  <a:cubicBezTo>
                    <a:pt x="170" y="147"/>
                    <a:pt x="176" y="145"/>
                    <a:pt x="182" y="143"/>
                  </a:cubicBezTo>
                  <a:cubicBezTo>
                    <a:pt x="187" y="140"/>
                    <a:pt x="192" y="136"/>
                    <a:pt x="195" y="131"/>
                  </a:cubicBezTo>
                  <a:cubicBezTo>
                    <a:pt x="194" y="130"/>
                    <a:pt x="194" y="130"/>
                    <a:pt x="194" y="130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4" y="132"/>
                    <a:pt x="201" y="130"/>
                    <a:pt x="210" y="127"/>
                  </a:cubicBezTo>
                  <a:cubicBezTo>
                    <a:pt x="218" y="124"/>
                    <a:pt x="227" y="118"/>
                    <a:pt x="231" y="109"/>
                  </a:cubicBezTo>
                  <a:cubicBezTo>
                    <a:pt x="234" y="102"/>
                    <a:pt x="237" y="92"/>
                    <a:pt x="237" y="82"/>
                  </a:cubicBezTo>
                  <a:cubicBezTo>
                    <a:pt x="237" y="69"/>
                    <a:pt x="233" y="55"/>
                    <a:pt x="222" y="47"/>
                  </a:cubicBezTo>
                  <a:cubicBezTo>
                    <a:pt x="215" y="41"/>
                    <a:pt x="208" y="39"/>
                    <a:pt x="201" y="39"/>
                  </a:cubicBezTo>
                  <a:cubicBezTo>
                    <a:pt x="188" y="39"/>
                    <a:pt x="177" y="46"/>
                    <a:pt x="170" y="54"/>
                  </a:cubicBezTo>
                  <a:cubicBezTo>
                    <a:pt x="165" y="60"/>
                    <a:pt x="163" y="69"/>
                    <a:pt x="163" y="77"/>
                  </a:cubicBezTo>
                  <a:cubicBezTo>
                    <a:pt x="163" y="84"/>
                    <a:pt x="164" y="91"/>
                    <a:pt x="169" y="96"/>
                  </a:cubicBezTo>
                  <a:cubicBezTo>
                    <a:pt x="174" y="100"/>
                    <a:pt x="181" y="103"/>
                    <a:pt x="188" y="103"/>
                  </a:cubicBezTo>
                  <a:cubicBezTo>
                    <a:pt x="192" y="103"/>
                    <a:pt x="197" y="102"/>
                    <a:pt x="200" y="100"/>
                  </a:cubicBezTo>
                  <a:cubicBezTo>
                    <a:pt x="204" y="98"/>
                    <a:pt x="207" y="95"/>
                    <a:pt x="209" y="91"/>
                  </a:cubicBezTo>
                  <a:cubicBezTo>
                    <a:pt x="211" y="88"/>
                    <a:pt x="212" y="84"/>
                    <a:pt x="212" y="81"/>
                  </a:cubicBezTo>
                  <a:cubicBezTo>
                    <a:pt x="212" y="76"/>
                    <a:pt x="209" y="70"/>
                    <a:pt x="206" y="67"/>
                  </a:cubicBezTo>
                  <a:cubicBezTo>
                    <a:pt x="203" y="63"/>
                    <a:pt x="199" y="60"/>
                    <a:pt x="195" y="59"/>
                  </a:cubicBezTo>
                  <a:cubicBezTo>
                    <a:pt x="194" y="59"/>
                    <a:pt x="192" y="58"/>
                    <a:pt x="190" y="58"/>
                  </a:cubicBezTo>
                  <a:cubicBezTo>
                    <a:pt x="186" y="58"/>
                    <a:pt x="181" y="60"/>
                    <a:pt x="177" y="64"/>
                  </a:cubicBezTo>
                  <a:cubicBezTo>
                    <a:pt x="173" y="67"/>
                    <a:pt x="170" y="73"/>
                    <a:pt x="170" y="81"/>
                  </a:cubicBezTo>
                  <a:cubicBezTo>
                    <a:pt x="170" y="81"/>
                    <a:pt x="170" y="81"/>
                    <a:pt x="170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71" y="80"/>
                    <a:pt x="159" y="88"/>
                    <a:pt x="147" y="99"/>
                  </a:cubicBezTo>
                  <a:cubicBezTo>
                    <a:pt x="141" y="104"/>
                    <a:pt x="134" y="109"/>
                    <a:pt x="129" y="115"/>
                  </a:cubicBezTo>
                  <a:cubicBezTo>
                    <a:pt x="124" y="120"/>
                    <a:pt x="120" y="125"/>
                    <a:pt x="118" y="130"/>
                  </a:cubicBezTo>
                  <a:cubicBezTo>
                    <a:pt x="114" y="138"/>
                    <a:pt x="113" y="142"/>
                    <a:pt x="112" y="145"/>
                  </a:cubicBezTo>
                  <a:cubicBezTo>
                    <a:pt x="111" y="149"/>
                    <a:pt x="109" y="153"/>
                    <a:pt x="102" y="161"/>
                  </a:cubicBezTo>
                  <a:cubicBezTo>
                    <a:pt x="95" y="170"/>
                    <a:pt x="91" y="176"/>
                    <a:pt x="85" y="181"/>
                  </a:cubicBezTo>
                  <a:cubicBezTo>
                    <a:pt x="80" y="185"/>
                    <a:pt x="74" y="188"/>
                    <a:pt x="65" y="189"/>
                  </a:cubicBezTo>
                  <a:cubicBezTo>
                    <a:pt x="56" y="190"/>
                    <a:pt x="42" y="190"/>
                    <a:pt x="30" y="193"/>
                  </a:cubicBezTo>
                  <a:cubicBezTo>
                    <a:pt x="23" y="195"/>
                    <a:pt x="17" y="197"/>
                    <a:pt x="13" y="201"/>
                  </a:cubicBezTo>
                  <a:cubicBezTo>
                    <a:pt x="8" y="205"/>
                    <a:pt x="4" y="211"/>
                    <a:pt x="2" y="218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10" y="213"/>
                    <a:pt x="24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8" y="209"/>
                    <a:pt x="3" y="217"/>
                    <a:pt x="3" y="217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8" y="212"/>
                    <a:pt x="11" y="208"/>
                    <a:pt x="15" y="204"/>
                  </a:cubicBezTo>
                  <a:cubicBezTo>
                    <a:pt x="21" y="199"/>
                    <a:pt x="31" y="197"/>
                    <a:pt x="40" y="195"/>
                  </a:cubicBezTo>
                  <a:cubicBezTo>
                    <a:pt x="49" y="194"/>
                    <a:pt x="59" y="194"/>
                    <a:pt x="66" y="193"/>
                  </a:cubicBezTo>
                  <a:cubicBezTo>
                    <a:pt x="75" y="192"/>
                    <a:pt x="82" y="189"/>
                    <a:pt x="88" y="184"/>
                  </a:cubicBezTo>
                  <a:cubicBezTo>
                    <a:pt x="94" y="179"/>
                    <a:pt x="99" y="172"/>
                    <a:pt x="105" y="164"/>
                  </a:cubicBezTo>
                  <a:cubicBezTo>
                    <a:pt x="112" y="155"/>
                    <a:pt x="114" y="151"/>
                    <a:pt x="116" y="147"/>
                  </a:cubicBezTo>
                  <a:cubicBezTo>
                    <a:pt x="117" y="143"/>
                    <a:pt x="118" y="139"/>
                    <a:pt x="121" y="131"/>
                  </a:cubicBezTo>
                  <a:cubicBezTo>
                    <a:pt x="123" y="128"/>
                    <a:pt x="127" y="123"/>
                    <a:pt x="132" y="118"/>
                  </a:cubicBezTo>
                  <a:cubicBezTo>
                    <a:pt x="140" y="110"/>
                    <a:pt x="150" y="101"/>
                    <a:pt x="158" y="95"/>
                  </a:cubicBezTo>
                  <a:cubicBezTo>
                    <a:pt x="163" y="91"/>
                    <a:pt x="166" y="88"/>
                    <a:pt x="169" y="86"/>
                  </a:cubicBezTo>
                  <a:cubicBezTo>
                    <a:pt x="172" y="84"/>
                    <a:pt x="173" y="83"/>
                    <a:pt x="173" y="83"/>
                  </a:cubicBezTo>
                  <a:cubicBezTo>
                    <a:pt x="174" y="83"/>
                    <a:pt x="174" y="83"/>
                    <a:pt x="174" y="83"/>
                  </a:cubicBezTo>
                  <a:cubicBezTo>
                    <a:pt x="174" y="82"/>
                    <a:pt x="174" y="82"/>
                    <a:pt x="174" y="82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74"/>
                    <a:pt x="176" y="69"/>
                    <a:pt x="179" y="66"/>
                  </a:cubicBezTo>
                  <a:cubicBezTo>
                    <a:pt x="182" y="64"/>
                    <a:pt x="187" y="62"/>
                    <a:pt x="190" y="62"/>
                  </a:cubicBezTo>
                  <a:cubicBezTo>
                    <a:pt x="192" y="62"/>
                    <a:pt x="193" y="63"/>
                    <a:pt x="194" y="63"/>
                  </a:cubicBezTo>
                  <a:cubicBezTo>
                    <a:pt x="197" y="64"/>
                    <a:pt x="201" y="66"/>
                    <a:pt x="203" y="69"/>
                  </a:cubicBezTo>
                  <a:cubicBezTo>
                    <a:pt x="206" y="72"/>
                    <a:pt x="208" y="77"/>
                    <a:pt x="208" y="81"/>
                  </a:cubicBezTo>
                  <a:cubicBezTo>
                    <a:pt x="208" y="84"/>
                    <a:pt x="207" y="86"/>
                    <a:pt x="206" y="89"/>
                  </a:cubicBezTo>
                  <a:cubicBezTo>
                    <a:pt x="204" y="92"/>
                    <a:pt x="202" y="95"/>
                    <a:pt x="198" y="96"/>
                  </a:cubicBezTo>
                  <a:cubicBezTo>
                    <a:pt x="195" y="98"/>
                    <a:pt x="192" y="99"/>
                    <a:pt x="188" y="99"/>
                  </a:cubicBezTo>
                  <a:cubicBezTo>
                    <a:pt x="182" y="99"/>
                    <a:pt x="175" y="96"/>
                    <a:pt x="172" y="93"/>
                  </a:cubicBezTo>
                  <a:cubicBezTo>
                    <a:pt x="168" y="89"/>
                    <a:pt x="167" y="83"/>
                    <a:pt x="167" y="77"/>
                  </a:cubicBezTo>
                  <a:cubicBezTo>
                    <a:pt x="167" y="70"/>
                    <a:pt x="169" y="62"/>
                    <a:pt x="174" y="56"/>
                  </a:cubicBezTo>
                  <a:cubicBezTo>
                    <a:pt x="179" y="50"/>
                    <a:pt x="190" y="43"/>
                    <a:pt x="201" y="43"/>
                  </a:cubicBezTo>
                  <a:cubicBezTo>
                    <a:pt x="207" y="43"/>
                    <a:pt x="213" y="45"/>
                    <a:pt x="220" y="50"/>
                  </a:cubicBezTo>
                  <a:cubicBezTo>
                    <a:pt x="229" y="57"/>
                    <a:pt x="233" y="69"/>
                    <a:pt x="233" y="82"/>
                  </a:cubicBezTo>
                  <a:cubicBezTo>
                    <a:pt x="233" y="91"/>
                    <a:pt x="230" y="101"/>
                    <a:pt x="227" y="108"/>
                  </a:cubicBezTo>
                  <a:cubicBezTo>
                    <a:pt x="224" y="115"/>
                    <a:pt x="216" y="120"/>
                    <a:pt x="208" y="123"/>
                  </a:cubicBezTo>
                  <a:cubicBezTo>
                    <a:pt x="204" y="125"/>
                    <a:pt x="200" y="126"/>
                    <a:pt x="198" y="127"/>
                  </a:cubicBezTo>
                  <a:cubicBezTo>
                    <a:pt x="196" y="127"/>
                    <a:pt x="195" y="128"/>
                    <a:pt x="195" y="128"/>
                  </a:cubicBezTo>
                  <a:cubicBezTo>
                    <a:pt x="194" y="128"/>
                    <a:pt x="194" y="128"/>
                    <a:pt x="194" y="128"/>
                  </a:cubicBezTo>
                  <a:cubicBezTo>
                    <a:pt x="193" y="128"/>
                    <a:pt x="193" y="128"/>
                    <a:pt x="193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92" y="129"/>
                    <a:pt x="192" y="129"/>
                    <a:pt x="192" y="129"/>
                  </a:cubicBezTo>
                  <a:cubicBezTo>
                    <a:pt x="189" y="133"/>
                    <a:pt x="185" y="137"/>
                    <a:pt x="180" y="139"/>
                  </a:cubicBezTo>
                  <a:cubicBezTo>
                    <a:pt x="175" y="141"/>
                    <a:pt x="169" y="143"/>
                    <a:pt x="164" y="143"/>
                  </a:cubicBezTo>
                  <a:cubicBezTo>
                    <a:pt x="161" y="143"/>
                    <a:pt x="158" y="142"/>
                    <a:pt x="156" y="141"/>
                  </a:cubicBezTo>
                  <a:cubicBezTo>
                    <a:pt x="151" y="140"/>
                    <a:pt x="146" y="134"/>
                    <a:pt x="143" y="129"/>
                  </a:cubicBezTo>
                  <a:cubicBezTo>
                    <a:pt x="141" y="127"/>
                    <a:pt x="140" y="124"/>
                    <a:pt x="139" y="122"/>
                  </a:cubicBezTo>
                  <a:cubicBezTo>
                    <a:pt x="138" y="122"/>
                    <a:pt x="138" y="121"/>
                    <a:pt x="138" y="120"/>
                  </a:cubicBezTo>
                  <a:cubicBezTo>
                    <a:pt x="138" y="120"/>
                    <a:pt x="138" y="120"/>
                    <a:pt x="138" y="120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0" y="116"/>
                    <a:pt x="124" y="111"/>
                  </a:cubicBezTo>
                  <a:cubicBezTo>
                    <a:pt x="118" y="106"/>
                    <a:pt x="113" y="98"/>
                    <a:pt x="113" y="86"/>
                  </a:cubicBezTo>
                  <a:cubicBezTo>
                    <a:pt x="113" y="85"/>
                    <a:pt x="113" y="84"/>
                    <a:pt x="113" y="84"/>
                  </a:cubicBezTo>
                  <a:cubicBezTo>
                    <a:pt x="114" y="70"/>
                    <a:pt x="121" y="60"/>
                    <a:pt x="128" y="54"/>
                  </a:cubicBezTo>
                  <a:cubicBezTo>
                    <a:pt x="131" y="51"/>
                    <a:pt x="135" y="49"/>
                    <a:pt x="137" y="47"/>
                  </a:cubicBezTo>
                  <a:cubicBezTo>
                    <a:pt x="138" y="46"/>
                    <a:pt x="140" y="46"/>
                    <a:pt x="140" y="46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43" y="44"/>
                    <a:pt x="143" y="44"/>
                    <a:pt x="143" y="44"/>
                  </a:cubicBezTo>
                  <a:cubicBezTo>
                    <a:pt x="145" y="31"/>
                    <a:pt x="151" y="21"/>
                    <a:pt x="160" y="15"/>
                  </a:cubicBezTo>
                  <a:cubicBezTo>
                    <a:pt x="168" y="8"/>
                    <a:pt x="179" y="4"/>
                    <a:pt x="190" y="4"/>
                  </a:cubicBezTo>
                  <a:cubicBezTo>
                    <a:pt x="191" y="4"/>
                    <a:pt x="191" y="4"/>
                    <a:pt x="191" y="4"/>
                  </a:cubicBezTo>
                  <a:cubicBezTo>
                    <a:pt x="201" y="4"/>
                    <a:pt x="211" y="8"/>
                    <a:pt x="218" y="12"/>
                  </a:cubicBezTo>
                  <a:cubicBezTo>
                    <a:pt x="222" y="14"/>
                    <a:pt x="224" y="16"/>
                    <a:pt x="226" y="18"/>
                  </a:cubicBezTo>
                  <a:cubicBezTo>
                    <a:pt x="227" y="19"/>
                    <a:pt x="228" y="19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30" y="21"/>
                    <a:pt x="230" y="21"/>
                    <a:pt x="230" y="21"/>
                  </a:cubicBezTo>
                  <a:cubicBezTo>
                    <a:pt x="231" y="21"/>
                    <a:pt x="231" y="21"/>
                    <a:pt x="231" y="21"/>
                  </a:cubicBezTo>
                  <a:cubicBezTo>
                    <a:pt x="234" y="20"/>
                    <a:pt x="236" y="20"/>
                    <a:pt x="239" y="20"/>
                  </a:cubicBezTo>
                  <a:cubicBezTo>
                    <a:pt x="254" y="20"/>
                    <a:pt x="268" y="27"/>
                    <a:pt x="276" y="37"/>
                  </a:cubicBezTo>
                  <a:cubicBezTo>
                    <a:pt x="283" y="47"/>
                    <a:pt x="288" y="60"/>
                    <a:pt x="288" y="75"/>
                  </a:cubicBezTo>
                  <a:cubicBezTo>
                    <a:pt x="288" y="78"/>
                    <a:pt x="288" y="82"/>
                    <a:pt x="287" y="85"/>
                  </a:cubicBezTo>
                  <a:cubicBezTo>
                    <a:pt x="286" y="95"/>
                    <a:pt x="281" y="103"/>
                    <a:pt x="277" y="109"/>
                  </a:cubicBezTo>
                  <a:cubicBezTo>
                    <a:pt x="274" y="111"/>
                    <a:pt x="272" y="114"/>
                    <a:pt x="270" y="115"/>
                  </a:cubicBezTo>
                  <a:cubicBezTo>
                    <a:pt x="270" y="116"/>
                    <a:pt x="269" y="116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7" y="118"/>
                    <a:pt x="267" y="118"/>
                    <a:pt x="267" y="118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21"/>
                    <a:pt x="266" y="129"/>
                    <a:pt x="263" y="138"/>
                  </a:cubicBezTo>
                  <a:cubicBezTo>
                    <a:pt x="259" y="146"/>
                    <a:pt x="252" y="156"/>
                    <a:pt x="240" y="162"/>
                  </a:cubicBezTo>
                  <a:cubicBezTo>
                    <a:pt x="231" y="166"/>
                    <a:pt x="222" y="167"/>
                    <a:pt x="214" y="167"/>
                  </a:cubicBezTo>
                  <a:cubicBezTo>
                    <a:pt x="205" y="167"/>
                    <a:pt x="198" y="166"/>
                    <a:pt x="192" y="165"/>
                  </a:cubicBezTo>
                  <a:cubicBezTo>
                    <a:pt x="189" y="164"/>
                    <a:pt x="187" y="163"/>
                    <a:pt x="185" y="163"/>
                  </a:cubicBezTo>
                  <a:cubicBezTo>
                    <a:pt x="185" y="162"/>
                    <a:pt x="184" y="162"/>
                    <a:pt x="184" y="162"/>
                  </a:cubicBezTo>
                  <a:cubicBezTo>
                    <a:pt x="183" y="162"/>
                    <a:pt x="183" y="162"/>
                    <a:pt x="183" y="162"/>
                  </a:cubicBezTo>
                  <a:cubicBezTo>
                    <a:pt x="181" y="161"/>
                    <a:pt x="181" y="161"/>
                    <a:pt x="181" y="161"/>
                  </a:cubicBezTo>
                  <a:cubicBezTo>
                    <a:pt x="181" y="163"/>
                    <a:pt x="181" y="163"/>
                    <a:pt x="181" y="163"/>
                  </a:cubicBezTo>
                  <a:cubicBezTo>
                    <a:pt x="179" y="165"/>
                    <a:pt x="176" y="167"/>
                    <a:pt x="172" y="168"/>
                  </a:cubicBezTo>
                  <a:cubicBezTo>
                    <a:pt x="168" y="169"/>
                    <a:pt x="163" y="170"/>
                    <a:pt x="159" y="170"/>
                  </a:cubicBezTo>
                  <a:cubicBezTo>
                    <a:pt x="155" y="170"/>
                    <a:pt x="151" y="169"/>
                    <a:pt x="150" y="169"/>
                  </a:cubicBezTo>
                  <a:cubicBezTo>
                    <a:pt x="148" y="169"/>
                    <a:pt x="145" y="167"/>
                    <a:pt x="141" y="165"/>
                  </a:cubicBezTo>
                  <a:cubicBezTo>
                    <a:pt x="140" y="164"/>
                    <a:pt x="138" y="164"/>
                    <a:pt x="136" y="163"/>
                  </a:cubicBezTo>
                  <a:cubicBezTo>
                    <a:pt x="135" y="162"/>
                    <a:pt x="133" y="162"/>
                    <a:pt x="131" y="162"/>
                  </a:cubicBezTo>
                  <a:cubicBezTo>
                    <a:pt x="130" y="162"/>
                    <a:pt x="129" y="162"/>
                    <a:pt x="128" y="163"/>
                  </a:cubicBezTo>
                  <a:cubicBezTo>
                    <a:pt x="125" y="164"/>
                    <a:pt x="121" y="167"/>
                    <a:pt x="117" y="171"/>
                  </a:cubicBezTo>
                  <a:cubicBezTo>
                    <a:pt x="113" y="175"/>
                    <a:pt x="109" y="179"/>
                    <a:pt x="107" y="182"/>
                  </a:cubicBezTo>
                  <a:cubicBezTo>
                    <a:pt x="102" y="188"/>
                    <a:pt x="89" y="203"/>
                    <a:pt x="71" y="208"/>
                  </a:cubicBezTo>
                  <a:cubicBezTo>
                    <a:pt x="65" y="209"/>
                    <a:pt x="58" y="210"/>
                    <a:pt x="51" y="210"/>
                  </a:cubicBezTo>
                  <a:cubicBezTo>
                    <a:pt x="44" y="210"/>
                    <a:pt x="37" y="209"/>
                    <a:pt x="32" y="209"/>
                  </a:cubicBezTo>
                  <a:cubicBezTo>
                    <a:pt x="30" y="208"/>
                    <a:pt x="27" y="208"/>
                    <a:pt x="26" y="208"/>
                  </a:cubicBezTo>
                  <a:cubicBezTo>
                    <a:pt x="25" y="208"/>
                    <a:pt x="24" y="207"/>
                    <a:pt x="24" y="207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23" y="207"/>
                    <a:pt x="23" y="207"/>
                    <a:pt x="23" y="207"/>
                  </a:cubicBezTo>
                  <a:lnTo>
                    <a:pt x="23" y="2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2152584" y="1960315"/>
              <a:ext cx="360386" cy="357570"/>
            </a:xfrm>
            <a:custGeom>
              <a:avLst/>
              <a:gdLst>
                <a:gd name="T0" fmla="*/ 56 w 108"/>
                <a:gd name="T1" fmla="*/ 37 h 107"/>
                <a:gd name="T2" fmla="*/ 55 w 108"/>
                <a:gd name="T3" fmla="*/ 44 h 107"/>
                <a:gd name="T4" fmla="*/ 48 w 108"/>
                <a:gd name="T5" fmla="*/ 46 h 107"/>
                <a:gd name="T6" fmla="*/ 42 w 108"/>
                <a:gd name="T7" fmla="*/ 39 h 107"/>
                <a:gd name="T8" fmla="*/ 57 w 108"/>
                <a:gd name="T9" fmla="*/ 24 h 107"/>
                <a:gd name="T10" fmla="*/ 74 w 108"/>
                <a:gd name="T11" fmla="*/ 30 h 107"/>
                <a:gd name="T12" fmla="*/ 79 w 108"/>
                <a:gd name="T13" fmla="*/ 42 h 107"/>
                <a:gd name="T14" fmla="*/ 74 w 108"/>
                <a:gd name="T15" fmla="*/ 56 h 107"/>
                <a:gd name="T16" fmla="*/ 56 w 108"/>
                <a:gd name="T17" fmla="*/ 62 h 107"/>
                <a:gd name="T18" fmla="*/ 37 w 108"/>
                <a:gd name="T19" fmla="*/ 36 h 107"/>
                <a:gd name="T20" fmla="*/ 52 w 108"/>
                <a:gd name="T21" fmla="*/ 12 h 107"/>
                <a:gd name="T22" fmla="*/ 73 w 108"/>
                <a:gd name="T23" fmla="*/ 4 h 107"/>
                <a:gd name="T24" fmla="*/ 104 w 108"/>
                <a:gd name="T25" fmla="*/ 41 h 107"/>
                <a:gd name="T26" fmla="*/ 90 w 108"/>
                <a:gd name="T27" fmla="*/ 76 h 107"/>
                <a:gd name="T28" fmla="*/ 63 w 108"/>
                <a:gd name="T29" fmla="*/ 89 h 107"/>
                <a:gd name="T30" fmla="*/ 63 w 108"/>
                <a:gd name="T31" fmla="*/ 90 h 107"/>
                <a:gd name="T32" fmla="*/ 40 w 108"/>
                <a:gd name="T33" fmla="*/ 103 h 107"/>
                <a:gd name="T34" fmla="*/ 18 w 108"/>
                <a:gd name="T35" fmla="*/ 94 h 107"/>
                <a:gd name="T36" fmla="*/ 8 w 108"/>
                <a:gd name="T37" fmla="*/ 80 h 107"/>
                <a:gd name="T38" fmla="*/ 0 w 108"/>
                <a:gd name="T39" fmla="*/ 80 h 107"/>
                <a:gd name="T40" fmla="*/ 7 w 108"/>
                <a:gd name="T41" fmla="*/ 81 h 107"/>
                <a:gd name="T42" fmla="*/ 15 w 108"/>
                <a:gd name="T43" fmla="*/ 97 h 107"/>
                <a:gd name="T44" fmla="*/ 40 w 108"/>
                <a:gd name="T45" fmla="*/ 107 h 107"/>
                <a:gd name="T46" fmla="*/ 67 w 108"/>
                <a:gd name="T47" fmla="*/ 92 h 107"/>
                <a:gd name="T48" fmla="*/ 65 w 108"/>
                <a:gd name="T49" fmla="*/ 93 h 107"/>
                <a:gd name="T50" fmla="*/ 108 w 108"/>
                <a:gd name="T51" fmla="*/ 45 h 107"/>
                <a:gd name="T52" fmla="*/ 96 w 108"/>
                <a:gd name="T53" fmla="*/ 10 h 107"/>
                <a:gd name="T54" fmla="*/ 72 w 108"/>
                <a:gd name="T55" fmla="*/ 0 h 107"/>
                <a:gd name="T56" fmla="*/ 35 w 108"/>
                <a:gd name="T57" fmla="*/ 26 h 107"/>
                <a:gd name="T58" fmla="*/ 39 w 108"/>
                <a:gd name="T59" fmla="*/ 55 h 107"/>
                <a:gd name="T60" fmla="*/ 59 w 108"/>
                <a:gd name="T61" fmla="*/ 66 h 107"/>
                <a:gd name="T62" fmla="*/ 83 w 108"/>
                <a:gd name="T63" fmla="*/ 42 h 107"/>
                <a:gd name="T64" fmla="*/ 83 w 108"/>
                <a:gd name="T65" fmla="*/ 42 h 107"/>
                <a:gd name="T66" fmla="*/ 59 w 108"/>
                <a:gd name="T67" fmla="*/ 20 h 107"/>
                <a:gd name="T68" fmla="*/ 43 w 108"/>
                <a:gd name="T69" fmla="*/ 26 h 107"/>
                <a:gd name="T70" fmla="*/ 41 w 108"/>
                <a:gd name="T71" fmla="*/ 46 h 107"/>
                <a:gd name="T72" fmla="*/ 50 w 108"/>
                <a:gd name="T73" fmla="*/ 50 h 107"/>
                <a:gd name="T74" fmla="*/ 60 w 108"/>
                <a:gd name="T75" fmla="*/ 41 h 107"/>
                <a:gd name="T76" fmla="*/ 56 w 108"/>
                <a:gd name="T77" fmla="*/ 3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" h="107"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8"/>
                    <a:pt x="56" y="39"/>
                    <a:pt x="56" y="41"/>
                  </a:cubicBezTo>
                  <a:cubicBezTo>
                    <a:pt x="56" y="42"/>
                    <a:pt x="56" y="44"/>
                    <a:pt x="55" y="44"/>
                  </a:cubicBezTo>
                  <a:cubicBezTo>
                    <a:pt x="55" y="45"/>
                    <a:pt x="53" y="46"/>
                    <a:pt x="50" y="46"/>
                  </a:cubicBezTo>
                  <a:cubicBezTo>
                    <a:pt x="50" y="46"/>
                    <a:pt x="49" y="46"/>
                    <a:pt x="48" y="46"/>
                  </a:cubicBezTo>
                  <a:cubicBezTo>
                    <a:pt x="46" y="46"/>
                    <a:pt x="45" y="45"/>
                    <a:pt x="44" y="44"/>
                  </a:cubicBezTo>
                  <a:cubicBezTo>
                    <a:pt x="43" y="42"/>
                    <a:pt x="42" y="41"/>
                    <a:pt x="42" y="39"/>
                  </a:cubicBezTo>
                  <a:cubicBezTo>
                    <a:pt x="42" y="36"/>
                    <a:pt x="44" y="32"/>
                    <a:pt x="46" y="29"/>
                  </a:cubicBezTo>
                  <a:cubicBezTo>
                    <a:pt x="49" y="26"/>
                    <a:pt x="52" y="24"/>
                    <a:pt x="57" y="24"/>
                  </a:cubicBezTo>
                  <a:cubicBezTo>
                    <a:pt x="57" y="24"/>
                    <a:pt x="58" y="24"/>
                    <a:pt x="58" y="24"/>
                  </a:cubicBezTo>
                  <a:cubicBezTo>
                    <a:pt x="66" y="25"/>
                    <a:pt x="71" y="27"/>
                    <a:pt x="74" y="30"/>
                  </a:cubicBezTo>
                  <a:cubicBezTo>
                    <a:pt x="77" y="33"/>
                    <a:pt x="78" y="37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8" y="47"/>
                    <a:pt x="77" y="52"/>
                    <a:pt x="74" y="56"/>
                  </a:cubicBezTo>
                  <a:cubicBezTo>
                    <a:pt x="70" y="59"/>
                    <a:pt x="66" y="62"/>
                    <a:pt x="59" y="62"/>
                  </a:cubicBezTo>
                  <a:cubicBezTo>
                    <a:pt x="58" y="62"/>
                    <a:pt x="57" y="62"/>
                    <a:pt x="56" y="62"/>
                  </a:cubicBezTo>
                  <a:cubicBezTo>
                    <a:pt x="50" y="61"/>
                    <a:pt x="45" y="57"/>
                    <a:pt x="42" y="52"/>
                  </a:cubicBezTo>
                  <a:cubicBezTo>
                    <a:pt x="39" y="48"/>
                    <a:pt x="37" y="41"/>
                    <a:pt x="37" y="36"/>
                  </a:cubicBezTo>
                  <a:cubicBezTo>
                    <a:pt x="37" y="33"/>
                    <a:pt x="38" y="30"/>
                    <a:pt x="39" y="28"/>
                  </a:cubicBezTo>
                  <a:cubicBezTo>
                    <a:pt x="42" y="23"/>
                    <a:pt x="46" y="17"/>
                    <a:pt x="52" y="12"/>
                  </a:cubicBezTo>
                  <a:cubicBezTo>
                    <a:pt x="57" y="7"/>
                    <a:pt x="64" y="4"/>
                    <a:pt x="72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81" y="4"/>
                    <a:pt x="88" y="7"/>
                    <a:pt x="93" y="12"/>
                  </a:cubicBezTo>
                  <a:cubicBezTo>
                    <a:pt x="98" y="18"/>
                    <a:pt x="102" y="27"/>
                    <a:pt x="104" y="41"/>
                  </a:cubicBezTo>
                  <a:cubicBezTo>
                    <a:pt x="104" y="42"/>
                    <a:pt x="104" y="44"/>
                    <a:pt x="104" y="45"/>
                  </a:cubicBezTo>
                  <a:cubicBezTo>
                    <a:pt x="104" y="57"/>
                    <a:pt x="98" y="68"/>
                    <a:pt x="90" y="76"/>
                  </a:cubicBezTo>
                  <a:cubicBezTo>
                    <a:pt x="83" y="84"/>
                    <a:pt x="73" y="89"/>
                    <a:pt x="65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1" y="93"/>
                    <a:pt x="58" y="97"/>
                  </a:cubicBezTo>
                  <a:cubicBezTo>
                    <a:pt x="54" y="100"/>
                    <a:pt x="49" y="103"/>
                    <a:pt x="40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0" y="103"/>
                    <a:pt x="23" y="99"/>
                    <a:pt x="18" y="94"/>
                  </a:cubicBezTo>
                  <a:cubicBezTo>
                    <a:pt x="13" y="90"/>
                    <a:pt x="9" y="84"/>
                    <a:pt x="9" y="81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6" y="86"/>
                    <a:pt x="9" y="92"/>
                    <a:pt x="15" y="97"/>
                  </a:cubicBezTo>
                  <a:cubicBezTo>
                    <a:pt x="21" y="103"/>
                    <a:pt x="29" y="107"/>
                    <a:pt x="39" y="107"/>
                  </a:cubicBezTo>
                  <a:cubicBezTo>
                    <a:pt x="39" y="107"/>
                    <a:pt x="39" y="107"/>
                    <a:pt x="40" y="107"/>
                  </a:cubicBezTo>
                  <a:cubicBezTo>
                    <a:pt x="50" y="107"/>
                    <a:pt x="57" y="103"/>
                    <a:pt x="61" y="99"/>
                  </a:cubicBezTo>
                  <a:cubicBezTo>
                    <a:pt x="65" y="95"/>
                    <a:pt x="67" y="92"/>
                    <a:pt x="67" y="92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74" y="93"/>
                    <a:pt x="85" y="87"/>
                    <a:pt x="93" y="79"/>
                  </a:cubicBezTo>
                  <a:cubicBezTo>
                    <a:pt x="102" y="71"/>
                    <a:pt x="108" y="59"/>
                    <a:pt x="108" y="45"/>
                  </a:cubicBezTo>
                  <a:cubicBezTo>
                    <a:pt x="108" y="44"/>
                    <a:pt x="108" y="42"/>
                    <a:pt x="108" y="40"/>
                  </a:cubicBezTo>
                  <a:cubicBezTo>
                    <a:pt x="106" y="26"/>
                    <a:pt x="102" y="16"/>
                    <a:pt x="96" y="10"/>
                  </a:cubicBezTo>
                  <a:cubicBezTo>
                    <a:pt x="90" y="3"/>
                    <a:pt x="82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63" y="0"/>
                    <a:pt x="55" y="4"/>
                    <a:pt x="49" y="9"/>
                  </a:cubicBezTo>
                  <a:cubicBezTo>
                    <a:pt x="43" y="14"/>
                    <a:pt x="38" y="20"/>
                    <a:pt x="35" y="26"/>
                  </a:cubicBezTo>
                  <a:cubicBezTo>
                    <a:pt x="34" y="29"/>
                    <a:pt x="33" y="32"/>
                    <a:pt x="33" y="36"/>
                  </a:cubicBezTo>
                  <a:cubicBezTo>
                    <a:pt x="33" y="42"/>
                    <a:pt x="35" y="49"/>
                    <a:pt x="39" y="55"/>
                  </a:cubicBezTo>
                  <a:cubicBezTo>
                    <a:pt x="42" y="60"/>
                    <a:pt x="48" y="65"/>
                    <a:pt x="55" y="66"/>
                  </a:cubicBezTo>
                  <a:cubicBezTo>
                    <a:pt x="56" y="66"/>
                    <a:pt x="58" y="66"/>
                    <a:pt x="59" y="66"/>
                  </a:cubicBezTo>
                  <a:cubicBezTo>
                    <a:pt x="67" y="66"/>
                    <a:pt x="73" y="63"/>
                    <a:pt x="77" y="58"/>
                  </a:cubicBezTo>
                  <a:cubicBezTo>
                    <a:pt x="81" y="54"/>
                    <a:pt x="82" y="48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36"/>
                    <a:pt x="81" y="31"/>
                    <a:pt x="77" y="27"/>
                  </a:cubicBezTo>
                  <a:cubicBezTo>
                    <a:pt x="73" y="23"/>
                    <a:pt x="67" y="21"/>
                    <a:pt x="59" y="20"/>
                  </a:cubicBezTo>
                  <a:cubicBezTo>
                    <a:pt x="58" y="20"/>
                    <a:pt x="57" y="20"/>
                    <a:pt x="57" y="20"/>
                  </a:cubicBezTo>
                  <a:cubicBezTo>
                    <a:pt x="51" y="20"/>
                    <a:pt x="46" y="22"/>
                    <a:pt x="43" y="26"/>
                  </a:cubicBezTo>
                  <a:cubicBezTo>
                    <a:pt x="40" y="30"/>
                    <a:pt x="38" y="35"/>
                    <a:pt x="38" y="39"/>
                  </a:cubicBezTo>
                  <a:cubicBezTo>
                    <a:pt x="38" y="41"/>
                    <a:pt x="39" y="44"/>
                    <a:pt x="41" y="46"/>
                  </a:cubicBezTo>
                  <a:cubicBezTo>
                    <a:pt x="42" y="48"/>
                    <a:pt x="45" y="49"/>
                    <a:pt x="48" y="50"/>
                  </a:cubicBezTo>
                  <a:cubicBezTo>
                    <a:pt x="49" y="50"/>
                    <a:pt x="50" y="50"/>
                    <a:pt x="50" y="50"/>
                  </a:cubicBezTo>
                  <a:cubicBezTo>
                    <a:pt x="54" y="50"/>
                    <a:pt x="57" y="49"/>
                    <a:pt x="58" y="47"/>
                  </a:cubicBezTo>
                  <a:cubicBezTo>
                    <a:pt x="60" y="45"/>
                    <a:pt x="60" y="43"/>
                    <a:pt x="60" y="41"/>
                  </a:cubicBezTo>
                  <a:cubicBezTo>
                    <a:pt x="60" y="38"/>
                    <a:pt x="60" y="36"/>
                    <a:pt x="59" y="36"/>
                  </a:cubicBezTo>
                  <a:lnTo>
                    <a:pt x="56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2218749" y="1380319"/>
              <a:ext cx="460337" cy="450482"/>
            </a:xfrm>
            <a:custGeom>
              <a:avLst/>
              <a:gdLst>
                <a:gd name="T0" fmla="*/ 72 w 138"/>
                <a:gd name="T1" fmla="*/ 46 h 135"/>
                <a:gd name="T2" fmla="*/ 72 w 138"/>
                <a:gd name="T3" fmla="*/ 56 h 135"/>
                <a:gd name="T4" fmla="*/ 62 w 138"/>
                <a:gd name="T5" fmla="*/ 58 h 135"/>
                <a:gd name="T6" fmla="*/ 54 w 138"/>
                <a:gd name="T7" fmla="*/ 49 h 135"/>
                <a:gd name="T8" fmla="*/ 73 w 138"/>
                <a:gd name="T9" fmla="*/ 28 h 135"/>
                <a:gd name="T10" fmla="*/ 96 w 138"/>
                <a:gd name="T11" fmla="*/ 36 h 135"/>
                <a:gd name="T12" fmla="*/ 101 w 138"/>
                <a:gd name="T13" fmla="*/ 53 h 135"/>
                <a:gd name="T14" fmla="*/ 95 w 138"/>
                <a:gd name="T15" fmla="*/ 71 h 135"/>
                <a:gd name="T16" fmla="*/ 71 w 138"/>
                <a:gd name="T17" fmla="*/ 78 h 135"/>
                <a:gd name="T18" fmla="*/ 48 w 138"/>
                <a:gd name="T19" fmla="*/ 45 h 135"/>
                <a:gd name="T20" fmla="*/ 66 w 138"/>
                <a:gd name="T21" fmla="*/ 14 h 135"/>
                <a:gd name="T22" fmla="*/ 94 w 138"/>
                <a:gd name="T23" fmla="*/ 4 h 135"/>
                <a:gd name="T24" fmla="*/ 133 w 138"/>
                <a:gd name="T25" fmla="*/ 51 h 135"/>
                <a:gd name="T26" fmla="*/ 116 w 138"/>
                <a:gd name="T27" fmla="*/ 97 h 135"/>
                <a:gd name="T28" fmla="*/ 82 w 138"/>
                <a:gd name="T29" fmla="*/ 113 h 135"/>
                <a:gd name="T30" fmla="*/ 81 w 138"/>
                <a:gd name="T31" fmla="*/ 114 h 135"/>
                <a:gd name="T32" fmla="*/ 51 w 138"/>
                <a:gd name="T33" fmla="*/ 131 h 135"/>
                <a:gd name="T34" fmla="*/ 23 w 138"/>
                <a:gd name="T35" fmla="*/ 120 h 135"/>
                <a:gd name="T36" fmla="*/ 11 w 138"/>
                <a:gd name="T37" fmla="*/ 101 h 135"/>
                <a:gd name="T38" fmla="*/ 0 w 138"/>
                <a:gd name="T39" fmla="*/ 101 h 135"/>
                <a:gd name="T40" fmla="*/ 9 w 138"/>
                <a:gd name="T41" fmla="*/ 103 h 135"/>
                <a:gd name="T42" fmla="*/ 20 w 138"/>
                <a:gd name="T43" fmla="*/ 123 h 135"/>
                <a:gd name="T44" fmla="*/ 52 w 138"/>
                <a:gd name="T45" fmla="*/ 135 h 135"/>
                <a:gd name="T46" fmla="*/ 85 w 138"/>
                <a:gd name="T47" fmla="*/ 116 h 135"/>
                <a:gd name="T48" fmla="*/ 83 w 138"/>
                <a:gd name="T49" fmla="*/ 117 h 135"/>
                <a:gd name="T50" fmla="*/ 138 w 138"/>
                <a:gd name="T51" fmla="*/ 57 h 135"/>
                <a:gd name="T52" fmla="*/ 123 w 138"/>
                <a:gd name="T53" fmla="*/ 12 h 135"/>
                <a:gd name="T54" fmla="*/ 92 w 138"/>
                <a:gd name="T55" fmla="*/ 0 h 135"/>
                <a:gd name="T56" fmla="*/ 46 w 138"/>
                <a:gd name="T57" fmla="*/ 32 h 135"/>
                <a:gd name="T58" fmla="*/ 51 w 138"/>
                <a:gd name="T59" fmla="*/ 68 h 135"/>
                <a:gd name="T60" fmla="*/ 76 w 138"/>
                <a:gd name="T61" fmla="*/ 83 h 135"/>
                <a:gd name="T62" fmla="*/ 105 w 138"/>
                <a:gd name="T63" fmla="*/ 53 h 135"/>
                <a:gd name="T64" fmla="*/ 105 w 138"/>
                <a:gd name="T65" fmla="*/ 53 h 135"/>
                <a:gd name="T66" fmla="*/ 75 w 138"/>
                <a:gd name="T67" fmla="*/ 25 h 135"/>
                <a:gd name="T68" fmla="*/ 56 w 138"/>
                <a:gd name="T69" fmla="*/ 33 h 135"/>
                <a:gd name="T70" fmla="*/ 53 w 138"/>
                <a:gd name="T71" fmla="*/ 57 h 135"/>
                <a:gd name="T72" fmla="*/ 65 w 138"/>
                <a:gd name="T73" fmla="*/ 62 h 135"/>
                <a:gd name="T74" fmla="*/ 77 w 138"/>
                <a:gd name="T75" fmla="*/ 51 h 135"/>
                <a:gd name="T76" fmla="*/ 72 w 138"/>
                <a:gd name="T77" fmla="*/ 46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8" h="135">
                  <a:moveTo>
                    <a:pt x="72" y="46"/>
                  </a:moveTo>
                  <a:cubicBezTo>
                    <a:pt x="72" y="46"/>
                    <a:pt x="72" y="46"/>
                    <a:pt x="72" y="46"/>
                  </a:cubicBezTo>
                  <a:cubicBezTo>
                    <a:pt x="72" y="47"/>
                    <a:pt x="73" y="49"/>
                    <a:pt x="73" y="51"/>
                  </a:cubicBezTo>
                  <a:cubicBezTo>
                    <a:pt x="73" y="53"/>
                    <a:pt x="73" y="55"/>
                    <a:pt x="72" y="56"/>
                  </a:cubicBezTo>
                  <a:cubicBezTo>
                    <a:pt x="71" y="57"/>
                    <a:pt x="69" y="58"/>
                    <a:pt x="65" y="58"/>
                  </a:cubicBezTo>
                  <a:cubicBezTo>
                    <a:pt x="64" y="58"/>
                    <a:pt x="63" y="58"/>
                    <a:pt x="62" y="58"/>
                  </a:cubicBezTo>
                  <a:cubicBezTo>
                    <a:pt x="59" y="58"/>
                    <a:pt x="57" y="57"/>
                    <a:pt x="56" y="55"/>
                  </a:cubicBezTo>
                  <a:cubicBezTo>
                    <a:pt x="55" y="53"/>
                    <a:pt x="54" y="51"/>
                    <a:pt x="54" y="49"/>
                  </a:cubicBezTo>
                  <a:cubicBezTo>
                    <a:pt x="54" y="44"/>
                    <a:pt x="56" y="39"/>
                    <a:pt x="59" y="35"/>
                  </a:cubicBezTo>
                  <a:cubicBezTo>
                    <a:pt x="63" y="31"/>
                    <a:pt x="67" y="28"/>
                    <a:pt x="73" y="28"/>
                  </a:cubicBezTo>
                  <a:cubicBezTo>
                    <a:pt x="73" y="28"/>
                    <a:pt x="74" y="29"/>
                    <a:pt x="75" y="29"/>
                  </a:cubicBezTo>
                  <a:cubicBezTo>
                    <a:pt x="85" y="30"/>
                    <a:pt x="92" y="33"/>
                    <a:pt x="96" y="36"/>
                  </a:cubicBezTo>
                  <a:cubicBezTo>
                    <a:pt x="100" y="40"/>
                    <a:pt x="101" y="45"/>
                    <a:pt x="101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9"/>
                    <a:pt x="99" y="66"/>
                    <a:pt x="95" y="71"/>
                  </a:cubicBezTo>
                  <a:cubicBezTo>
                    <a:pt x="91" y="75"/>
                    <a:pt x="85" y="79"/>
                    <a:pt x="76" y="79"/>
                  </a:cubicBezTo>
                  <a:cubicBezTo>
                    <a:pt x="75" y="79"/>
                    <a:pt x="73" y="79"/>
                    <a:pt x="71" y="78"/>
                  </a:cubicBezTo>
                  <a:cubicBezTo>
                    <a:pt x="64" y="77"/>
                    <a:pt x="58" y="73"/>
                    <a:pt x="54" y="66"/>
                  </a:cubicBezTo>
                  <a:cubicBezTo>
                    <a:pt x="50" y="60"/>
                    <a:pt x="48" y="52"/>
                    <a:pt x="48" y="45"/>
                  </a:cubicBezTo>
                  <a:cubicBezTo>
                    <a:pt x="48" y="41"/>
                    <a:pt x="48" y="37"/>
                    <a:pt x="50" y="34"/>
                  </a:cubicBezTo>
                  <a:cubicBezTo>
                    <a:pt x="53" y="28"/>
                    <a:pt x="59" y="20"/>
                    <a:pt x="66" y="14"/>
                  </a:cubicBezTo>
                  <a:cubicBezTo>
                    <a:pt x="73" y="8"/>
                    <a:pt x="82" y="4"/>
                    <a:pt x="92" y="4"/>
                  </a:cubicBezTo>
                  <a:cubicBezTo>
                    <a:pt x="93" y="4"/>
                    <a:pt x="93" y="4"/>
                    <a:pt x="94" y="4"/>
                  </a:cubicBezTo>
                  <a:cubicBezTo>
                    <a:pt x="105" y="4"/>
                    <a:pt x="113" y="7"/>
                    <a:pt x="120" y="14"/>
                  </a:cubicBezTo>
                  <a:cubicBezTo>
                    <a:pt x="127" y="22"/>
                    <a:pt x="131" y="33"/>
                    <a:pt x="133" y="51"/>
                  </a:cubicBezTo>
                  <a:cubicBezTo>
                    <a:pt x="134" y="53"/>
                    <a:pt x="134" y="55"/>
                    <a:pt x="134" y="57"/>
                  </a:cubicBezTo>
                  <a:cubicBezTo>
                    <a:pt x="134" y="72"/>
                    <a:pt x="126" y="86"/>
                    <a:pt x="116" y="97"/>
                  </a:cubicBezTo>
                  <a:cubicBezTo>
                    <a:pt x="106" y="107"/>
                    <a:pt x="93" y="113"/>
                    <a:pt x="83" y="113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5"/>
                    <a:pt x="79" y="119"/>
                    <a:pt x="75" y="123"/>
                  </a:cubicBezTo>
                  <a:cubicBezTo>
                    <a:pt x="70" y="127"/>
                    <a:pt x="63" y="131"/>
                    <a:pt x="51" y="131"/>
                  </a:cubicBezTo>
                  <a:cubicBezTo>
                    <a:pt x="51" y="131"/>
                    <a:pt x="50" y="131"/>
                    <a:pt x="50" y="131"/>
                  </a:cubicBezTo>
                  <a:cubicBezTo>
                    <a:pt x="39" y="131"/>
                    <a:pt x="30" y="126"/>
                    <a:pt x="23" y="120"/>
                  </a:cubicBezTo>
                  <a:cubicBezTo>
                    <a:pt x="16" y="114"/>
                    <a:pt x="12" y="106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8" y="108"/>
                    <a:pt x="13" y="116"/>
                    <a:pt x="20" y="123"/>
                  </a:cubicBezTo>
                  <a:cubicBezTo>
                    <a:pt x="27" y="130"/>
                    <a:pt x="37" y="135"/>
                    <a:pt x="50" y="135"/>
                  </a:cubicBezTo>
                  <a:cubicBezTo>
                    <a:pt x="50" y="135"/>
                    <a:pt x="51" y="135"/>
                    <a:pt x="52" y="135"/>
                  </a:cubicBezTo>
                  <a:cubicBezTo>
                    <a:pt x="64" y="135"/>
                    <a:pt x="73" y="130"/>
                    <a:pt x="78" y="125"/>
                  </a:cubicBezTo>
                  <a:cubicBezTo>
                    <a:pt x="83" y="120"/>
                    <a:pt x="85" y="116"/>
                    <a:pt x="85" y="116"/>
                  </a:cubicBezTo>
                  <a:cubicBezTo>
                    <a:pt x="83" y="115"/>
                    <a:pt x="83" y="115"/>
                    <a:pt x="83" y="115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95" y="117"/>
                    <a:pt x="108" y="110"/>
                    <a:pt x="119" y="99"/>
                  </a:cubicBezTo>
                  <a:cubicBezTo>
                    <a:pt x="130" y="89"/>
                    <a:pt x="138" y="74"/>
                    <a:pt x="138" y="57"/>
                  </a:cubicBezTo>
                  <a:cubicBezTo>
                    <a:pt x="138" y="55"/>
                    <a:pt x="138" y="52"/>
                    <a:pt x="137" y="50"/>
                  </a:cubicBezTo>
                  <a:cubicBezTo>
                    <a:pt x="135" y="32"/>
                    <a:pt x="130" y="20"/>
                    <a:pt x="123" y="12"/>
                  </a:cubicBezTo>
                  <a:cubicBezTo>
                    <a:pt x="116" y="3"/>
                    <a:pt x="105" y="0"/>
                    <a:pt x="94" y="0"/>
                  </a:cubicBezTo>
                  <a:cubicBezTo>
                    <a:pt x="93" y="0"/>
                    <a:pt x="93" y="0"/>
                    <a:pt x="92" y="0"/>
                  </a:cubicBezTo>
                  <a:cubicBezTo>
                    <a:pt x="81" y="0"/>
                    <a:pt x="71" y="4"/>
                    <a:pt x="64" y="11"/>
                  </a:cubicBezTo>
                  <a:cubicBezTo>
                    <a:pt x="56" y="17"/>
                    <a:pt x="50" y="25"/>
                    <a:pt x="46" y="32"/>
                  </a:cubicBezTo>
                  <a:cubicBezTo>
                    <a:pt x="44" y="36"/>
                    <a:pt x="44" y="40"/>
                    <a:pt x="44" y="45"/>
                  </a:cubicBezTo>
                  <a:cubicBezTo>
                    <a:pt x="44" y="53"/>
                    <a:pt x="46" y="61"/>
                    <a:pt x="51" y="68"/>
                  </a:cubicBezTo>
                  <a:cubicBezTo>
                    <a:pt x="55" y="75"/>
                    <a:pt x="62" y="81"/>
                    <a:pt x="71" y="82"/>
                  </a:cubicBezTo>
                  <a:cubicBezTo>
                    <a:pt x="73" y="83"/>
                    <a:pt x="75" y="83"/>
                    <a:pt x="76" y="83"/>
                  </a:cubicBezTo>
                  <a:cubicBezTo>
                    <a:pt x="86" y="83"/>
                    <a:pt x="93" y="79"/>
                    <a:pt x="98" y="73"/>
                  </a:cubicBezTo>
                  <a:cubicBezTo>
                    <a:pt x="103" y="68"/>
                    <a:pt x="105" y="60"/>
                    <a:pt x="105" y="53"/>
                  </a:cubicBezTo>
                  <a:cubicBezTo>
                    <a:pt x="105" y="53"/>
                    <a:pt x="105" y="53"/>
                    <a:pt x="105" y="53"/>
                  </a:cubicBezTo>
                  <a:cubicBezTo>
                    <a:pt x="105" y="53"/>
                    <a:pt x="105" y="53"/>
                    <a:pt x="105" y="53"/>
                  </a:cubicBezTo>
                  <a:cubicBezTo>
                    <a:pt x="105" y="45"/>
                    <a:pt x="103" y="38"/>
                    <a:pt x="98" y="34"/>
                  </a:cubicBezTo>
                  <a:cubicBezTo>
                    <a:pt x="94" y="29"/>
                    <a:pt x="86" y="26"/>
                    <a:pt x="75" y="25"/>
                  </a:cubicBezTo>
                  <a:cubicBezTo>
                    <a:pt x="74" y="25"/>
                    <a:pt x="74" y="24"/>
                    <a:pt x="73" y="24"/>
                  </a:cubicBezTo>
                  <a:cubicBezTo>
                    <a:pt x="66" y="24"/>
                    <a:pt x="60" y="28"/>
                    <a:pt x="56" y="33"/>
                  </a:cubicBezTo>
                  <a:cubicBezTo>
                    <a:pt x="52" y="37"/>
                    <a:pt x="50" y="43"/>
                    <a:pt x="50" y="49"/>
                  </a:cubicBezTo>
                  <a:cubicBezTo>
                    <a:pt x="50" y="52"/>
                    <a:pt x="51" y="55"/>
                    <a:pt x="53" y="57"/>
                  </a:cubicBezTo>
                  <a:cubicBezTo>
                    <a:pt x="55" y="60"/>
                    <a:pt x="58" y="62"/>
                    <a:pt x="61" y="62"/>
                  </a:cubicBezTo>
                  <a:cubicBezTo>
                    <a:pt x="63" y="62"/>
                    <a:pt x="64" y="62"/>
                    <a:pt x="65" y="62"/>
                  </a:cubicBezTo>
                  <a:cubicBezTo>
                    <a:pt x="70" y="62"/>
                    <a:pt x="73" y="61"/>
                    <a:pt x="75" y="59"/>
                  </a:cubicBezTo>
                  <a:cubicBezTo>
                    <a:pt x="77" y="56"/>
                    <a:pt x="77" y="54"/>
                    <a:pt x="77" y="51"/>
                  </a:cubicBezTo>
                  <a:cubicBezTo>
                    <a:pt x="77" y="48"/>
                    <a:pt x="76" y="45"/>
                    <a:pt x="76" y="45"/>
                  </a:cubicBezTo>
                  <a:lnTo>
                    <a:pt x="7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556611" y="1086097"/>
              <a:ext cx="536355" cy="396987"/>
            </a:xfrm>
            <a:custGeom>
              <a:avLst/>
              <a:gdLst>
                <a:gd name="T0" fmla="*/ 98 w 161"/>
                <a:gd name="T1" fmla="*/ 40 h 119"/>
                <a:gd name="T2" fmla="*/ 95 w 161"/>
                <a:gd name="T3" fmla="*/ 48 h 119"/>
                <a:gd name="T4" fmla="*/ 84 w 161"/>
                <a:gd name="T5" fmla="*/ 47 h 119"/>
                <a:gd name="T6" fmla="*/ 79 w 161"/>
                <a:gd name="T7" fmla="*/ 40 h 119"/>
                <a:gd name="T8" fmla="*/ 99 w 161"/>
                <a:gd name="T9" fmla="*/ 22 h 119"/>
                <a:gd name="T10" fmla="*/ 121 w 161"/>
                <a:gd name="T11" fmla="*/ 34 h 119"/>
                <a:gd name="T12" fmla="*/ 123 w 161"/>
                <a:gd name="T13" fmla="*/ 55 h 119"/>
                <a:gd name="T14" fmla="*/ 100 w 161"/>
                <a:gd name="T15" fmla="*/ 73 h 119"/>
                <a:gd name="T16" fmla="*/ 76 w 161"/>
                <a:gd name="T17" fmla="*/ 59 h 119"/>
                <a:gd name="T18" fmla="*/ 81 w 161"/>
                <a:gd name="T19" fmla="*/ 21 h 119"/>
                <a:gd name="T20" fmla="*/ 132 w 161"/>
                <a:gd name="T21" fmla="*/ 6 h 119"/>
                <a:gd name="T22" fmla="*/ 157 w 161"/>
                <a:gd name="T23" fmla="*/ 43 h 119"/>
                <a:gd name="T24" fmla="*/ 132 w 161"/>
                <a:gd name="T25" fmla="*/ 97 h 119"/>
                <a:gd name="T26" fmla="*/ 87 w 161"/>
                <a:gd name="T27" fmla="*/ 106 h 119"/>
                <a:gd name="T28" fmla="*/ 85 w 161"/>
                <a:gd name="T29" fmla="*/ 107 h 119"/>
                <a:gd name="T30" fmla="*/ 63 w 161"/>
                <a:gd name="T31" fmla="*/ 115 h 119"/>
                <a:gd name="T32" fmla="*/ 28 w 161"/>
                <a:gd name="T33" fmla="*/ 95 h 119"/>
                <a:gd name="T34" fmla="*/ 22 w 161"/>
                <a:gd name="T35" fmla="*/ 73 h 119"/>
                <a:gd name="T36" fmla="*/ 21 w 161"/>
                <a:gd name="T37" fmla="*/ 71 h 119"/>
                <a:gd name="T38" fmla="*/ 12 w 161"/>
                <a:gd name="T39" fmla="*/ 63 h 119"/>
                <a:gd name="T40" fmla="*/ 0 w 161"/>
                <a:gd name="T41" fmla="*/ 45 h 119"/>
                <a:gd name="T42" fmla="*/ 19 w 161"/>
                <a:gd name="T43" fmla="*/ 74 h 119"/>
                <a:gd name="T44" fmla="*/ 18 w 161"/>
                <a:gd name="T45" fmla="*/ 72 h 119"/>
                <a:gd name="T46" fmla="*/ 25 w 161"/>
                <a:gd name="T47" fmla="*/ 97 h 119"/>
                <a:gd name="T48" fmla="*/ 63 w 161"/>
                <a:gd name="T49" fmla="*/ 119 h 119"/>
                <a:gd name="T50" fmla="*/ 86 w 161"/>
                <a:gd name="T51" fmla="*/ 108 h 119"/>
                <a:gd name="T52" fmla="*/ 98 w 161"/>
                <a:gd name="T53" fmla="*/ 112 h 119"/>
                <a:gd name="T54" fmla="*/ 158 w 161"/>
                <a:gd name="T55" fmla="*/ 65 h 119"/>
                <a:gd name="T56" fmla="*/ 153 w 161"/>
                <a:gd name="T57" fmla="*/ 17 h 119"/>
                <a:gd name="T58" fmla="*/ 119 w 161"/>
                <a:gd name="T59" fmla="*/ 0 h 119"/>
                <a:gd name="T60" fmla="*/ 69 w 161"/>
                <a:gd name="T61" fmla="*/ 43 h 119"/>
                <a:gd name="T62" fmla="*/ 85 w 161"/>
                <a:gd name="T63" fmla="*/ 73 h 119"/>
                <a:gd name="T64" fmla="*/ 117 w 161"/>
                <a:gd name="T65" fmla="*/ 71 h 119"/>
                <a:gd name="T66" fmla="*/ 129 w 161"/>
                <a:gd name="T67" fmla="*/ 46 h 119"/>
                <a:gd name="T68" fmla="*/ 108 w 161"/>
                <a:gd name="T69" fmla="*/ 20 h 119"/>
                <a:gd name="T70" fmla="*/ 82 w 161"/>
                <a:gd name="T71" fmla="*/ 25 h 119"/>
                <a:gd name="T72" fmla="*/ 77 w 161"/>
                <a:gd name="T73" fmla="*/ 46 h 119"/>
                <a:gd name="T74" fmla="*/ 91 w 161"/>
                <a:gd name="T75" fmla="*/ 53 h 119"/>
                <a:gd name="T76" fmla="*/ 101 w 161"/>
                <a:gd name="T77" fmla="*/ 44 h 119"/>
                <a:gd name="T78" fmla="*/ 102 w 161"/>
                <a:gd name="T79" fmla="*/ 4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1" h="119">
                  <a:moveTo>
                    <a:pt x="98" y="40"/>
                  </a:move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3"/>
                    <a:pt x="97" y="45"/>
                  </a:cubicBezTo>
                  <a:cubicBezTo>
                    <a:pt x="96" y="46"/>
                    <a:pt x="96" y="47"/>
                    <a:pt x="95" y="48"/>
                  </a:cubicBezTo>
                  <a:cubicBezTo>
                    <a:pt x="94" y="49"/>
                    <a:pt x="93" y="49"/>
                    <a:pt x="91" y="49"/>
                  </a:cubicBezTo>
                  <a:cubicBezTo>
                    <a:pt x="89" y="49"/>
                    <a:pt x="87" y="49"/>
                    <a:pt x="84" y="47"/>
                  </a:cubicBezTo>
                  <a:cubicBezTo>
                    <a:pt x="82" y="47"/>
                    <a:pt x="81" y="45"/>
                    <a:pt x="80" y="44"/>
                  </a:cubicBezTo>
                  <a:cubicBezTo>
                    <a:pt x="80" y="43"/>
                    <a:pt x="79" y="42"/>
                    <a:pt x="79" y="40"/>
                  </a:cubicBezTo>
                  <a:cubicBezTo>
                    <a:pt x="79" y="36"/>
                    <a:pt x="81" y="32"/>
                    <a:pt x="85" y="28"/>
                  </a:cubicBezTo>
                  <a:cubicBezTo>
                    <a:pt x="89" y="25"/>
                    <a:pt x="94" y="22"/>
                    <a:pt x="99" y="22"/>
                  </a:cubicBezTo>
                  <a:cubicBezTo>
                    <a:pt x="101" y="22"/>
                    <a:pt x="104" y="23"/>
                    <a:pt x="106" y="24"/>
                  </a:cubicBezTo>
                  <a:cubicBezTo>
                    <a:pt x="113" y="27"/>
                    <a:pt x="118" y="31"/>
                    <a:pt x="121" y="34"/>
                  </a:cubicBezTo>
                  <a:cubicBezTo>
                    <a:pt x="124" y="38"/>
                    <a:pt x="125" y="42"/>
                    <a:pt x="125" y="46"/>
                  </a:cubicBezTo>
                  <a:cubicBezTo>
                    <a:pt x="125" y="49"/>
                    <a:pt x="124" y="52"/>
                    <a:pt x="123" y="55"/>
                  </a:cubicBezTo>
                  <a:cubicBezTo>
                    <a:pt x="122" y="60"/>
                    <a:pt x="119" y="65"/>
                    <a:pt x="115" y="68"/>
                  </a:cubicBezTo>
                  <a:cubicBezTo>
                    <a:pt x="111" y="71"/>
                    <a:pt x="106" y="73"/>
                    <a:pt x="100" y="73"/>
                  </a:cubicBezTo>
                  <a:cubicBezTo>
                    <a:pt x="96" y="73"/>
                    <a:pt x="92" y="72"/>
                    <a:pt x="87" y="70"/>
                  </a:cubicBezTo>
                  <a:cubicBezTo>
                    <a:pt x="82" y="67"/>
                    <a:pt x="78" y="63"/>
                    <a:pt x="76" y="59"/>
                  </a:cubicBezTo>
                  <a:cubicBezTo>
                    <a:pt x="74" y="54"/>
                    <a:pt x="73" y="49"/>
                    <a:pt x="73" y="43"/>
                  </a:cubicBezTo>
                  <a:cubicBezTo>
                    <a:pt x="73" y="34"/>
                    <a:pt x="76" y="25"/>
                    <a:pt x="81" y="21"/>
                  </a:cubicBezTo>
                  <a:cubicBezTo>
                    <a:pt x="89" y="13"/>
                    <a:pt x="104" y="4"/>
                    <a:pt x="119" y="4"/>
                  </a:cubicBezTo>
                  <a:cubicBezTo>
                    <a:pt x="123" y="4"/>
                    <a:pt x="127" y="5"/>
                    <a:pt x="132" y="6"/>
                  </a:cubicBezTo>
                  <a:cubicBezTo>
                    <a:pt x="140" y="9"/>
                    <a:pt x="146" y="13"/>
                    <a:pt x="150" y="19"/>
                  </a:cubicBezTo>
                  <a:cubicBezTo>
                    <a:pt x="154" y="25"/>
                    <a:pt x="157" y="33"/>
                    <a:pt x="157" y="43"/>
                  </a:cubicBezTo>
                  <a:cubicBezTo>
                    <a:pt x="157" y="49"/>
                    <a:pt x="156" y="56"/>
                    <a:pt x="154" y="64"/>
                  </a:cubicBezTo>
                  <a:cubicBezTo>
                    <a:pt x="151" y="78"/>
                    <a:pt x="143" y="89"/>
                    <a:pt x="132" y="97"/>
                  </a:cubicBezTo>
                  <a:cubicBezTo>
                    <a:pt x="121" y="104"/>
                    <a:pt x="108" y="108"/>
                    <a:pt x="98" y="108"/>
                  </a:cubicBezTo>
                  <a:cubicBezTo>
                    <a:pt x="94" y="108"/>
                    <a:pt x="90" y="107"/>
                    <a:pt x="87" y="106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4" y="107"/>
                    <a:pt x="77" y="115"/>
                    <a:pt x="63" y="115"/>
                  </a:cubicBezTo>
                  <a:cubicBezTo>
                    <a:pt x="59" y="115"/>
                    <a:pt x="55" y="115"/>
                    <a:pt x="51" y="113"/>
                  </a:cubicBezTo>
                  <a:cubicBezTo>
                    <a:pt x="40" y="110"/>
                    <a:pt x="33" y="103"/>
                    <a:pt x="28" y="95"/>
                  </a:cubicBezTo>
                  <a:cubicBezTo>
                    <a:pt x="24" y="87"/>
                    <a:pt x="22" y="79"/>
                    <a:pt x="22" y="74"/>
                  </a:cubicBezTo>
                  <a:cubicBezTo>
                    <a:pt x="22" y="74"/>
                    <a:pt x="22" y="73"/>
                    <a:pt x="22" y="73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0" y="70"/>
                    <a:pt x="16" y="68"/>
                    <a:pt x="12" y="63"/>
                  </a:cubicBezTo>
                  <a:cubicBezTo>
                    <a:pt x="8" y="59"/>
                    <a:pt x="4" y="53"/>
                    <a:pt x="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55"/>
                    <a:pt x="5" y="62"/>
                    <a:pt x="10" y="67"/>
                  </a:cubicBezTo>
                  <a:cubicBezTo>
                    <a:pt x="14" y="72"/>
                    <a:pt x="19" y="74"/>
                    <a:pt x="19" y="74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8" y="73"/>
                    <a:pt x="18" y="74"/>
                    <a:pt x="18" y="74"/>
                  </a:cubicBezTo>
                  <a:cubicBezTo>
                    <a:pt x="18" y="80"/>
                    <a:pt x="20" y="89"/>
                    <a:pt x="25" y="97"/>
                  </a:cubicBezTo>
                  <a:cubicBezTo>
                    <a:pt x="30" y="106"/>
                    <a:pt x="38" y="114"/>
                    <a:pt x="50" y="117"/>
                  </a:cubicBezTo>
                  <a:cubicBezTo>
                    <a:pt x="54" y="119"/>
                    <a:pt x="59" y="119"/>
                    <a:pt x="63" y="119"/>
                  </a:cubicBezTo>
                  <a:cubicBezTo>
                    <a:pt x="79" y="119"/>
                    <a:pt x="87" y="110"/>
                    <a:pt x="88" y="110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5" y="110"/>
                    <a:pt x="85" y="110"/>
                    <a:pt x="85" y="110"/>
                  </a:cubicBezTo>
                  <a:cubicBezTo>
                    <a:pt x="89" y="111"/>
                    <a:pt x="93" y="112"/>
                    <a:pt x="98" y="112"/>
                  </a:cubicBezTo>
                  <a:cubicBezTo>
                    <a:pt x="109" y="112"/>
                    <a:pt x="123" y="108"/>
                    <a:pt x="134" y="100"/>
                  </a:cubicBezTo>
                  <a:cubicBezTo>
                    <a:pt x="145" y="92"/>
                    <a:pt x="155" y="80"/>
                    <a:pt x="158" y="65"/>
                  </a:cubicBezTo>
                  <a:cubicBezTo>
                    <a:pt x="160" y="57"/>
                    <a:pt x="161" y="49"/>
                    <a:pt x="161" y="43"/>
                  </a:cubicBezTo>
                  <a:cubicBezTo>
                    <a:pt x="161" y="32"/>
                    <a:pt x="158" y="24"/>
                    <a:pt x="153" y="17"/>
                  </a:cubicBezTo>
                  <a:cubicBezTo>
                    <a:pt x="149" y="10"/>
                    <a:pt x="142" y="6"/>
                    <a:pt x="133" y="2"/>
                  </a:cubicBezTo>
                  <a:cubicBezTo>
                    <a:pt x="128" y="1"/>
                    <a:pt x="124" y="0"/>
                    <a:pt x="119" y="0"/>
                  </a:cubicBezTo>
                  <a:cubicBezTo>
                    <a:pt x="102" y="0"/>
                    <a:pt x="87" y="10"/>
                    <a:pt x="78" y="18"/>
                  </a:cubicBezTo>
                  <a:cubicBezTo>
                    <a:pt x="72" y="24"/>
                    <a:pt x="69" y="33"/>
                    <a:pt x="69" y="43"/>
                  </a:cubicBezTo>
                  <a:cubicBezTo>
                    <a:pt x="69" y="49"/>
                    <a:pt x="70" y="55"/>
                    <a:pt x="73" y="61"/>
                  </a:cubicBezTo>
                  <a:cubicBezTo>
                    <a:pt x="75" y="66"/>
                    <a:pt x="79" y="70"/>
                    <a:pt x="85" y="73"/>
                  </a:cubicBezTo>
                  <a:cubicBezTo>
                    <a:pt x="90" y="76"/>
                    <a:pt x="95" y="77"/>
                    <a:pt x="100" y="77"/>
                  </a:cubicBezTo>
                  <a:cubicBezTo>
                    <a:pt x="107" y="77"/>
                    <a:pt x="113" y="75"/>
                    <a:pt x="117" y="71"/>
                  </a:cubicBezTo>
                  <a:cubicBezTo>
                    <a:pt x="122" y="67"/>
                    <a:pt x="125" y="62"/>
                    <a:pt x="127" y="57"/>
                  </a:cubicBezTo>
                  <a:cubicBezTo>
                    <a:pt x="128" y="53"/>
                    <a:pt x="129" y="49"/>
                    <a:pt x="129" y="46"/>
                  </a:cubicBezTo>
                  <a:cubicBezTo>
                    <a:pt x="129" y="41"/>
                    <a:pt x="127" y="36"/>
                    <a:pt x="124" y="32"/>
                  </a:cubicBezTo>
                  <a:cubicBezTo>
                    <a:pt x="120" y="27"/>
                    <a:pt x="115" y="24"/>
                    <a:pt x="108" y="20"/>
                  </a:cubicBezTo>
                  <a:cubicBezTo>
                    <a:pt x="105" y="19"/>
                    <a:pt x="102" y="18"/>
                    <a:pt x="99" y="18"/>
                  </a:cubicBezTo>
                  <a:cubicBezTo>
                    <a:pt x="93" y="18"/>
                    <a:pt x="87" y="21"/>
                    <a:pt x="82" y="25"/>
                  </a:cubicBezTo>
                  <a:cubicBezTo>
                    <a:pt x="78" y="29"/>
                    <a:pt x="75" y="35"/>
                    <a:pt x="75" y="40"/>
                  </a:cubicBezTo>
                  <a:cubicBezTo>
                    <a:pt x="75" y="42"/>
                    <a:pt x="76" y="44"/>
                    <a:pt x="77" y="46"/>
                  </a:cubicBezTo>
                  <a:cubicBezTo>
                    <a:pt x="78" y="48"/>
                    <a:pt x="80" y="50"/>
                    <a:pt x="82" y="51"/>
                  </a:cubicBezTo>
                  <a:cubicBezTo>
                    <a:pt x="86" y="53"/>
                    <a:pt x="89" y="53"/>
                    <a:pt x="91" y="53"/>
                  </a:cubicBezTo>
                  <a:cubicBezTo>
                    <a:pt x="94" y="53"/>
                    <a:pt x="96" y="53"/>
                    <a:pt x="97" y="51"/>
                  </a:cubicBezTo>
                  <a:cubicBezTo>
                    <a:pt x="100" y="49"/>
                    <a:pt x="101" y="47"/>
                    <a:pt x="101" y="44"/>
                  </a:cubicBezTo>
                  <a:cubicBezTo>
                    <a:pt x="102" y="42"/>
                    <a:pt x="102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lnTo>
                    <a:pt x="98" y="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2439767" y="2434728"/>
              <a:ext cx="1958189" cy="1154361"/>
            </a:xfrm>
            <a:custGeom>
              <a:avLst/>
              <a:gdLst>
                <a:gd name="T0" fmla="*/ 8 w 587"/>
                <a:gd name="T1" fmla="*/ 0 h 346"/>
                <a:gd name="T2" fmla="*/ 0 w 587"/>
                <a:gd name="T3" fmla="*/ 0 h 346"/>
                <a:gd name="T4" fmla="*/ 99 w 587"/>
                <a:gd name="T5" fmla="*/ 261 h 346"/>
                <a:gd name="T6" fmla="*/ 318 w 587"/>
                <a:gd name="T7" fmla="*/ 346 h 346"/>
                <a:gd name="T8" fmla="*/ 318 w 587"/>
                <a:gd name="T9" fmla="*/ 346 h 346"/>
                <a:gd name="T10" fmla="*/ 587 w 587"/>
                <a:gd name="T11" fmla="*/ 215 h 346"/>
                <a:gd name="T12" fmla="*/ 580 w 587"/>
                <a:gd name="T13" fmla="*/ 210 h 346"/>
                <a:gd name="T14" fmla="*/ 318 w 587"/>
                <a:gd name="T15" fmla="*/ 338 h 346"/>
                <a:gd name="T16" fmla="*/ 104 w 587"/>
                <a:gd name="T17" fmla="*/ 255 h 346"/>
                <a:gd name="T18" fmla="*/ 8 w 587"/>
                <a:gd name="T19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7" h="346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7"/>
                    <a:pt x="39" y="204"/>
                    <a:pt x="99" y="261"/>
                  </a:cubicBezTo>
                  <a:cubicBezTo>
                    <a:pt x="158" y="318"/>
                    <a:pt x="238" y="346"/>
                    <a:pt x="318" y="346"/>
                  </a:cubicBezTo>
                  <a:cubicBezTo>
                    <a:pt x="318" y="346"/>
                    <a:pt x="318" y="346"/>
                    <a:pt x="318" y="346"/>
                  </a:cubicBezTo>
                  <a:cubicBezTo>
                    <a:pt x="420" y="346"/>
                    <a:pt x="523" y="301"/>
                    <a:pt x="587" y="215"/>
                  </a:cubicBezTo>
                  <a:cubicBezTo>
                    <a:pt x="580" y="210"/>
                    <a:pt x="580" y="210"/>
                    <a:pt x="580" y="210"/>
                  </a:cubicBezTo>
                  <a:cubicBezTo>
                    <a:pt x="518" y="294"/>
                    <a:pt x="418" y="338"/>
                    <a:pt x="318" y="338"/>
                  </a:cubicBezTo>
                  <a:cubicBezTo>
                    <a:pt x="240" y="338"/>
                    <a:pt x="162" y="311"/>
                    <a:pt x="104" y="255"/>
                  </a:cubicBezTo>
                  <a:cubicBezTo>
                    <a:pt x="46" y="200"/>
                    <a:pt x="8" y="116"/>
                    <a:pt x="8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336508" y="1439445"/>
              <a:ext cx="1254311" cy="1029070"/>
            </a:xfrm>
            <a:custGeom>
              <a:avLst/>
              <a:gdLst>
                <a:gd name="T0" fmla="*/ 47 w 376"/>
                <a:gd name="T1" fmla="*/ 0 h 308"/>
                <a:gd name="T2" fmla="*/ 0 w 376"/>
                <a:gd name="T3" fmla="*/ 3 h 308"/>
                <a:gd name="T4" fmla="*/ 2 w 376"/>
                <a:gd name="T5" fmla="*/ 11 h 308"/>
                <a:gd name="T6" fmla="*/ 47 w 376"/>
                <a:gd name="T7" fmla="*/ 8 h 308"/>
                <a:gd name="T8" fmla="*/ 47 w 376"/>
                <a:gd name="T9" fmla="*/ 8 h 308"/>
                <a:gd name="T10" fmla="*/ 267 w 376"/>
                <a:gd name="T11" fmla="*/ 89 h 308"/>
                <a:gd name="T12" fmla="*/ 368 w 376"/>
                <a:gd name="T13" fmla="*/ 308 h 308"/>
                <a:gd name="T14" fmla="*/ 376 w 376"/>
                <a:gd name="T15" fmla="*/ 308 h 308"/>
                <a:gd name="T16" fmla="*/ 272 w 376"/>
                <a:gd name="T17" fmla="*/ 83 h 308"/>
                <a:gd name="T18" fmla="*/ 47 w 376"/>
                <a:gd name="T19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6" h="308">
                  <a:moveTo>
                    <a:pt x="47" y="0"/>
                  </a:moveTo>
                  <a:cubicBezTo>
                    <a:pt x="32" y="0"/>
                    <a:pt x="16" y="1"/>
                    <a:pt x="0" y="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7" y="9"/>
                    <a:pt x="32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128" y="8"/>
                    <a:pt x="207" y="37"/>
                    <a:pt x="267" y="89"/>
                  </a:cubicBezTo>
                  <a:cubicBezTo>
                    <a:pt x="327" y="141"/>
                    <a:pt x="367" y="215"/>
                    <a:pt x="368" y="308"/>
                  </a:cubicBezTo>
                  <a:cubicBezTo>
                    <a:pt x="376" y="308"/>
                    <a:pt x="376" y="308"/>
                    <a:pt x="376" y="308"/>
                  </a:cubicBezTo>
                  <a:cubicBezTo>
                    <a:pt x="375" y="213"/>
                    <a:pt x="334" y="136"/>
                    <a:pt x="272" y="83"/>
                  </a:cubicBezTo>
                  <a:cubicBezTo>
                    <a:pt x="211" y="29"/>
                    <a:pt x="129" y="0"/>
                    <a:pt x="47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55" name="文本框 54"/>
          <p:cNvSpPr txBox="1"/>
          <p:nvPr/>
        </p:nvSpPr>
        <p:spPr>
          <a:xfrm>
            <a:off x="4669653" y="3107086"/>
            <a:ext cx="5313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dirty="0" smtClean="0">
                <a:solidFill>
                  <a:schemeClr val="bg1"/>
                </a:solidFill>
                <a:latin typeface="张海山锐谐体" panose="02000000000000000000" pitchFamily="2" charset="-122"/>
                <a:ea typeface="张海山锐谐体" panose="02000000000000000000" pitchFamily="2" charset="-122"/>
              </a:rPr>
              <a:t>点击此处添加文本</a:t>
            </a:r>
            <a:endParaRPr lang="zh-CN" altLang="en-US" sz="4800" dirty="0">
              <a:solidFill>
                <a:schemeClr val="bg1"/>
              </a:solidFill>
              <a:latin typeface="张海山锐谐体" panose="02000000000000000000" pitchFamily="2" charset="-122"/>
              <a:ea typeface="张海山锐谐体" panose="02000000000000000000" pitchFamily="2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9496021" y="3278703"/>
            <a:ext cx="974168" cy="764412"/>
            <a:chOff x="9496021" y="3278703"/>
            <a:chExt cx="974168" cy="764412"/>
          </a:xfrm>
        </p:grpSpPr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9496021" y="3278703"/>
              <a:ext cx="974168" cy="764412"/>
            </a:xfrm>
            <a:custGeom>
              <a:avLst/>
              <a:gdLst>
                <a:gd name="T0" fmla="*/ 72 w 292"/>
                <a:gd name="T1" fmla="*/ 211 h 229"/>
                <a:gd name="T2" fmla="*/ 130 w 292"/>
                <a:gd name="T3" fmla="*/ 166 h 229"/>
                <a:gd name="T4" fmla="*/ 149 w 292"/>
                <a:gd name="T5" fmla="*/ 173 h 229"/>
                <a:gd name="T6" fmla="*/ 182 w 292"/>
                <a:gd name="T7" fmla="*/ 164 h 229"/>
                <a:gd name="T8" fmla="*/ 267 w 292"/>
                <a:gd name="T9" fmla="*/ 137 h 229"/>
                <a:gd name="T10" fmla="*/ 280 w 292"/>
                <a:gd name="T11" fmla="*/ 111 h 229"/>
                <a:gd name="T12" fmla="*/ 239 w 292"/>
                <a:gd name="T13" fmla="*/ 16 h 229"/>
                <a:gd name="T14" fmla="*/ 191 w 292"/>
                <a:gd name="T15" fmla="*/ 0 h 229"/>
                <a:gd name="T16" fmla="*/ 141 w 292"/>
                <a:gd name="T17" fmla="*/ 43 h 229"/>
                <a:gd name="T18" fmla="*/ 109 w 292"/>
                <a:gd name="T19" fmla="*/ 86 h 229"/>
                <a:gd name="T20" fmla="*/ 134 w 292"/>
                <a:gd name="T21" fmla="*/ 121 h 229"/>
                <a:gd name="T22" fmla="*/ 182 w 292"/>
                <a:gd name="T23" fmla="*/ 143 h 229"/>
                <a:gd name="T24" fmla="*/ 210 w 292"/>
                <a:gd name="T25" fmla="*/ 127 h 229"/>
                <a:gd name="T26" fmla="*/ 201 w 292"/>
                <a:gd name="T27" fmla="*/ 39 h 229"/>
                <a:gd name="T28" fmla="*/ 188 w 292"/>
                <a:gd name="T29" fmla="*/ 103 h 229"/>
                <a:gd name="T30" fmla="*/ 206 w 292"/>
                <a:gd name="T31" fmla="*/ 67 h 229"/>
                <a:gd name="T32" fmla="*/ 170 w 292"/>
                <a:gd name="T33" fmla="*/ 81 h 229"/>
                <a:gd name="T34" fmla="*/ 147 w 292"/>
                <a:gd name="T35" fmla="*/ 99 h 229"/>
                <a:gd name="T36" fmla="*/ 102 w 292"/>
                <a:gd name="T37" fmla="*/ 161 h 229"/>
                <a:gd name="T38" fmla="*/ 13 w 292"/>
                <a:gd name="T39" fmla="*/ 201 h 229"/>
                <a:gd name="T40" fmla="*/ 5 w 292"/>
                <a:gd name="T41" fmla="*/ 219 h 229"/>
                <a:gd name="T42" fmla="*/ 6 w 292"/>
                <a:gd name="T43" fmla="*/ 219 h 229"/>
                <a:gd name="T44" fmla="*/ 23 w 292"/>
                <a:gd name="T45" fmla="*/ 209 h 229"/>
                <a:gd name="T46" fmla="*/ 6 w 292"/>
                <a:gd name="T47" fmla="*/ 219 h 229"/>
                <a:gd name="T48" fmla="*/ 88 w 292"/>
                <a:gd name="T49" fmla="*/ 184 h 229"/>
                <a:gd name="T50" fmla="*/ 132 w 292"/>
                <a:gd name="T51" fmla="*/ 118 h 229"/>
                <a:gd name="T52" fmla="*/ 174 w 292"/>
                <a:gd name="T53" fmla="*/ 83 h 229"/>
                <a:gd name="T54" fmla="*/ 190 w 292"/>
                <a:gd name="T55" fmla="*/ 62 h 229"/>
                <a:gd name="T56" fmla="*/ 206 w 292"/>
                <a:gd name="T57" fmla="*/ 89 h 229"/>
                <a:gd name="T58" fmla="*/ 167 w 292"/>
                <a:gd name="T59" fmla="*/ 77 h 229"/>
                <a:gd name="T60" fmla="*/ 233 w 292"/>
                <a:gd name="T61" fmla="*/ 82 h 229"/>
                <a:gd name="T62" fmla="*/ 195 w 292"/>
                <a:gd name="T63" fmla="*/ 128 h 229"/>
                <a:gd name="T64" fmla="*/ 192 w 292"/>
                <a:gd name="T65" fmla="*/ 129 h 229"/>
                <a:gd name="T66" fmla="*/ 143 w 292"/>
                <a:gd name="T67" fmla="*/ 129 h 229"/>
                <a:gd name="T68" fmla="*/ 137 w 292"/>
                <a:gd name="T69" fmla="*/ 119 h 229"/>
                <a:gd name="T70" fmla="*/ 124 w 292"/>
                <a:gd name="T71" fmla="*/ 111 h 229"/>
                <a:gd name="T72" fmla="*/ 137 w 292"/>
                <a:gd name="T73" fmla="*/ 47 h 229"/>
                <a:gd name="T74" fmla="*/ 142 w 292"/>
                <a:gd name="T75" fmla="*/ 45 h 229"/>
                <a:gd name="T76" fmla="*/ 191 w 292"/>
                <a:gd name="T77" fmla="*/ 4 h 229"/>
                <a:gd name="T78" fmla="*/ 229 w 292"/>
                <a:gd name="T79" fmla="*/ 20 h 229"/>
                <a:gd name="T80" fmla="*/ 239 w 292"/>
                <a:gd name="T81" fmla="*/ 20 h 229"/>
                <a:gd name="T82" fmla="*/ 277 w 292"/>
                <a:gd name="T83" fmla="*/ 109 h 229"/>
                <a:gd name="T84" fmla="*/ 268 w 292"/>
                <a:gd name="T85" fmla="*/ 117 h 229"/>
                <a:gd name="T86" fmla="*/ 263 w 292"/>
                <a:gd name="T87" fmla="*/ 138 h 229"/>
                <a:gd name="T88" fmla="*/ 185 w 292"/>
                <a:gd name="T89" fmla="*/ 163 h 229"/>
                <a:gd name="T90" fmla="*/ 181 w 292"/>
                <a:gd name="T91" fmla="*/ 163 h 229"/>
                <a:gd name="T92" fmla="*/ 141 w 292"/>
                <a:gd name="T93" fmla="*/ 165 h 229"/>
                <a:gd name="T94" fmla="*/ 117 w 292"/>
                <a:gd name="T95" fmla="*/ 171 h 229"/>
                <a:gd name="T96" fmla="*/ 32 w 292"/>
                <a:gd name="T97" fmla="*/ 209 h 229"/>
                <a:gd name="T98" fmla="*/ 23 w 292"/>
                <a:gd name="T99" fmla="*/ 2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229">
                  <a:moveTo>
                    <a:pt x="23" y="209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3" y="211"/>
                    <a:pt x="36" y="214"/>
                    <a:pt x="51" y="214"/>
                  </a:cubicBezTo>
                  <a:cubicBezTo>
                    <a:pt x="58" y="214"/>
                    <a:pt x="66" y="213"/>
                    <a:pt x="72" y="211"/>
                  </a:cubicBezTo>
                  <a:cubicBezTo>
                    <a:pt x="92" y="206"/>
                    <a:pt x="105" y="191"/>
                    <a:pt x="110" y="185"/>
                  </a:cubicBezTo>
                  <a:cubicBezTo>
                    <a:pt x="112" y="181"/>
                    <a:pt x="117" y="177"/>
                    <a:pt x="121" y="173"/>
                  </a:cubicBezTo>
                  <a:cubicBezTo>
                    <a:pt x="123" y="171"/>
                    <a:pt x="126" y="169"/>
                    <a:pt x="127" y="168"/>
                  </a:cubicBezTo>
                  <a:cubicBezTo>
                    <a:pt x="128" y="167"/>
                    <a:pt x="129" y="166"/>
                    <a:pt x="130" y="166"/>
                  </a:cubicBezTo>
                  <a:cubicBezTo>
                    <a:pt x="131" y="166"/>
                    <a:pt x="131" y="166"/>
                    <a:pt x="131" y="166"/>
                  </a:cubicBezTo>
                  <a:cubicBezTo>
                    <a:pt x="132" y="166"/>
                    <a:pt x="133" y="166"/>
                    <a:pt x="135" y="167"/>
                  </a:cubicBezTo>
                  <a:cubicBezTo>
                    <a:pt x="137" y="167"/>
                    <a:pt x="140" y="169"/>
                    <a:pt x="142" y="170"/>
                  </a:cubicBezTo>
                  <a:cubicBezTo>
                    <a:pt x="145" y="171"/>
                    <a:pt x="147" y="172"/>
                    <a:pt x="149" y="173"/>
                  </a:cubicBezTo>
                  <a:cubicBezTo>
                    <a:pt x="151" y="173"/>
                    <a:pt x="155" y="174"/>
                    <a:pt x="159" y="174"/>
                  </a:cubicBezTo>
                  <a:cubicBezTo>
                    <a:pt x="163" y="174"/>
                    <a:pt x="168" y="173"/>
                    <a:pt x="173" y="172"/>
                  </a:cubicBezTo>
                  <a:cubicBezTo>
                    <a:pt x="177" y="171"/>
                    <a:pt x="182" y="169"/>
                    <a:pt x="184" y="165"/>
                  </a:cubicBezTo>
                  <a:cubicBezTo>
                    <a:pt x="182" y="164"/>
                    <a:pt x="182" y="164"/>
                    <a:pt x="182" y="164"/>
                  </a:cubicBezTo>
                  <a:cubicBezTo>
                    <a:pt x="181" y="166"/>
                    <a:pt x="181" y="166"/>
                    <a:pt x="181" y="166"/>
                  </a:cubicBezTo>
                  <a:cubicBezTo>
                    <a:pt x="182" y="166"/>
                    <a:pt x="196" y="171"/>
                    <a:pt x="214" y="171"/>
                  </a:cubicBezTo>
                  <a:cubicBezTo>
                    <a:pt x="223" y="171"/>
                    <a:pt x="232" y="170"/>
                    <a:pt x="242" y="166"/>
                  </a:cubicBezTo>
                  <a:cubicBezTo>
                    <a:pt x="256" y="159"/>
                    <a:pt x="263" y="147"/>
                    <a:pt x="267" y="137"/>
                  </a:cubicBezTo>
                  <a:cubicBezTo>
                    <a:pt x="271" y="127"/>
                    <a:pt x="271" y="119"/>
                    <a:pt x="271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70" y="120"/>
                    <a:pt x="275" y="117"/>
                    <a:pt x="280" y="111"/>
                  </a:cubicBezTo>
                  <a:cubicBezTo>
                    <a:pt x="284" y="105"/>
                    <a:pt x="290" y="97"/>
                    <a:pt x="291" y="86"/>
                  </a:cubicBezTo>
                  <a:cubicBezTo>
                    <a:pt x="292" y="82"/>
                    <a:pt x="292" y="78"/>
                    <a:pt x="292" y="75"/>
                  </a:cubicBezTo>
                  <a:cubicBezTo>
                    <a:pt x="292" y="59"/>
                    <a:pt x="287" y="45"/>
                    <a:pt x="279" y="35"/>
                  </a:cubicBezTo>
                  <a:cubicBezTo>
                    <a:pt x="271" y="24"/>
                    <a:pt x="255" y="16"/>
                    <a:pt x="239" y="16"/>
                  </a:cubicBezTo>
                  <a:cubicBezTo>
                    <a:pt x="236" y="16"/>
                    <a:pt x="233" y="16"/>
                    <a:pt x="230" y="17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2" y="17"/>
                    <a:pt x="232" y="17"/>
                    <a:pt x="232" y="17"/>
                  </a:cubicBezTo>
                  <a:cubicBezTo>
                    <a:pt x="232" y="17"/>
                    <a:pt x="214" y="0"/>
                    <a:pt x="191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78" y="0"/>
                    <a:pt x="167" y="4"/>
                    <a:pt x="157" y="11"/>
                  </a:cubicBezTo>
                  <a:cubicBezTo>
                    <a:pt x="148" y="19"/>
                    <a:pt x="141" y="29"/>
                    <a:pt x="139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0" y="41"/>
                    <a:pt x="140" y="41"/>
                    <a:pt x="140" y="41"/>
                  </a:cubicBezTo>
                  <a:cubicBezTo>
                    <a:pt x="140" y="41"/>
                    <a:pt x="132" y="44"/>
                    <a:pt x="125" y="51"/>
                  </a:cubicBezTo>
                  <a:cubicBezTo>
                    <a:pt x="117" y="58"/>
                    <a:pt x="110" y="68"/>
                    <a:pt x="109" y="83"/>
                  </a:cubicBezTo>
                  <a:cubicBezTo>
                    <a:pt x="109" y="84"/>
                    <a:pt x="109" y="85"/>
                    <a:pt x="109" y="86"/>
                  </a:cubicBezTo>
                  <a:cubicBezTo>
                    <a:pt x="109" y="100"/>
                    <a:pt x="116" y="109"/>
                    <a:pt x="122" y="115"/>
                  </a:cubicBezTo>
                  <a:cubicBezTo>
                    <a:pt x="128" y="120"/>
                    <a:pt x="135" y="122"/>
                    <a:pt x="135" y="122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4" y="121"/>
                    <a:pt x="134" y="121"/>
                    <a:pt x="134" y="121"/>
                  </a:cubicBezTo>
                  <a:cubicBezTo>
                    <a:pt x="134" y="121"/>
                    <a:pt x="136" y="126"/>
                    <a:pt x="139" y="131"/>
                  </a:cubicBezTo>
                  <a:cubicBezTo>
                    <a:pt x="143" y="137"/>
                    <a:pt x="148" y="143"/>
                    <a:pt x="155" y="145"/>
                  </a:cubicBezTo>
                  <a:cubicBezTo>
                    <a:pt x="158" y="146"/>
                    <a:pt x="161" y="147"/>
                    <a:pt x="164" y="147"/>
                  </a:cubicBezTo>
                  <a:cubicBezTo>
                    <a:pt x="170" y="147"/>
                    <a:pt x="176" y="145"/>
                    <a:pt x="182" y="143"/>
                  </a:cubicBezTo>
                  <a:cubicBezTo>
                    <a:pt x="187" y="140"/>
                    <a:pt x="192" y="136"/>
                    <a:pt x="195" y="131"/>
                  </a:cubicBezTo>
                  <a:cubicBezTo>
                    <a:pt x="194" y="130"/>
                    <a:pt x="194" y="130"/>
                    <a:pt x="194" y="130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4" y="132"/>
                    <a:pt x="201" y="130"/>
                    <a:pt x="210" y="127"/>
                  </a:cubicBezTo>
                  <a:cubicBezTo>
                    <a:pt x="218" y="124"/>
                    <a:pt x="227" y="118"/>
                    <a:pt x="231" y="109"/>
                  </a:cubicBezTo>
                  <a:cubicBezTo>
                    <a:pt x="234" y="102"/>
                    <a:pt x="237" y="92"/>
                    <a:pt x="237" y="82"/>
                  </a:cubicBezTo>
                  <a:cubicBezTo>
                    <a:pt x="237" y="69"/>
                    <a:pt x="233" y="55"/>
                    <a:pt x="222" y="47"/>
                  </a:cubicBezTo>
                  <a:cubicBezTo>
                    <a:pt x="215" y="41"/>
                    <a:pt x="208" y="39"/>
                    <a:pt x="201" y="39"/>
                  </a:cubicBezTo>
                  <a:cubicBezTo>
                    <a:pt x="188" y="39"/>
                    <a:pt x="177" y="46"/>
                    <a:pt x="170" y="54"/>
                  </a:cubicBezTo>
                  <a:cubicBezTo>
                    <a:pt x="165" y="60"/>
                    <a:pt x="163" y="69"/>
                    <a:pt x="163" y="77"/>
                  </a:cubicBezTo>
                  <a:cubicBezTo>
                    <a:pt x="163" y="84"/>
                    <a:pt x="164" y="91"/>
                    <a:pt x="169" y="96"/>
                  </a:cubicBezTo>
                  <a:cubicBezTo>
                    <a:pt x="174" y="100"/>
                    <a:pt x="181" y="103"/>
                    <a:pt x="188" y="103"/>
                  </a:cubicBezTo>
                  <a:cubicBezTo>
                    <a:pt x="192" y="103"/>
                    <a:pt x="197" y="102"/>
                    <a:pt x="200" y="100"/>
                  </a:cubicBezTo>
                  <a:cubicBezTo>
                    <a:pt x="204" y="98"/>
                    <a:pt x="207" y="95"/>
                    <a:pt x="209" y="91"/>
                  </a:cubicBezTo>
                  <a:cubicBezTo>
                    <a:pt x="211" y="88"/>
                    <a:pt x="212" y="84"/>
                    <a:pt x="212" y="81"/>
                  </a:cubicBezTo>
                  <a:cubicBezTo>
                    <a:pt x="212" y="76"/>
                    <a:pt x="209" y="70"/>
                    <a:pt x="206" y="67"/>
                  </a:cubicBezTo>
                  <a:cubicBezTo>
                    <a:pt x="203" y="63"/>
                    <a:pt x="199" y="60"/>
                    <a:pt x="195" y="59"/>
                  </a:cubicBezTo>
                  <a:cubicBezTo>
                    <a:pt x="194" y="59"/>
                    <a:pt x="192" y="58"/>
                    <a:pt x="190" y="58"/>
                  </a:cubicBezTo>
                  <a:cubicBezTo>
                    <a:pt x="186" y="58"/>
                    <a:pt x="181" y="60"/>
                    <a:pt x="177" y="64"/>
                  </a:cubicBezTo>
                  <a:cubicBezTo>
                    <a:pt x="173" y="67"/>
                    <a:pt x="170" y="73"/>
                    <a:pt x="170" y="81"/>
                  </a:cubicBezTo>
                  <a:cubicBezTo>
                    <a:pt x="170" y="81"/>
                    <a:pt x="170" y="81"/>
                    <a:pt x="170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71" y="80"/>
                    <a:pt x="159" y="88"/>
                    <a:pt x="147" y="99"/>
                  </a:cubicBezTo>
                  <a:cubicBezTo>
                    <a:pt x="141" y="104"/>
                    <a:pt x="134" y="109"/>
                    <a:pt x="129" y="115"/>
                  </a:cubicBezTo>
                  <a:cubicBezTo>
                    <a:pt x="124" y="120"/>
                    <a:pt x="120" y="125"/>
                    <a:pt x="118" y="130"/>
                  </a:cubicBezTo>
                  <a:cubicBezTo>
                    <a:pt x="114" y="138"/>
                    <a:pt x="113" y="142"/>
                    <a:pt x="112" y="145"/>
                  </a:cubicBezTo>
                  <a:cubicBezTo>
                    <a:pt x="111" y="149"/>
                    <a:pt x="109" y="153"/>
                    <a:pt x="102" y="161"/>
                  </a:cubicBezTo>
                  <a:cubicBezTo>
                    <a:pt x="95" y="170"/>
                    <a:pt x="91" y="176"/>
                    <a:pt x="85" y="181"/>
                  </a:cubicBezTo>
                  <a:cubicBezTo>
                    <a:pt x="80" y="185"/>
                    <a:pt x="74" y="188"/>
                    <a:pt x="65" y="189"/>
                  </a:cubicBezTo>
                  <a:cubicBezTo>
                    <a:pt x="56" y="190"/>
                    <a:pt x="42" y="190"/>
                    <a:pt x="30" y="193"/>
                  </a:cubicBezTo>
                  <a:cubicBezTo>
                    <a:pt x="23" y="195"/>
                    <a:pt x="17" y="197"/>
                    <a:pt x="13" y="201"/>
                  </a:cubicBezTo>
                  <a:cubicBezTo>
                    <a:pt x="8" y="205"/>
                    <a:pt x="4" y="211"/>
                    <a:pt x="2" y="218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10" y="213"/>
                    <a:pt x="24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8" y="209"/>
                    <a:pt x="3" y="217"/>
                    <a:pt x="3" y="217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8" y="212"/>
                    <a:pt x="11" y="208"/>
                    <a:pt x="15" y="204"/>
                  </a:cubicBezTo>
                  <a:cubicBezTo>
                    <a:pt x="21" y="199"/>
                    <a:pt x="31" y="197"/>
                    <a:pt x="40" y="195"/>
                  </a:cubicBezTo>
                  <a:cubicBezTo>
                    <a:pt x="49" y="194"/>
                    <a:pt x="59" y="194"/>
                    <a:pt x="66" y="193"/>
                  </a:cubicBezTo>
                  <a:cubicBezTo>
                    <a:pt x="75" y="192"/>
                    <a:pt x="82" y="189"/>
                    <a:pt x="88" y="184"/>
                  </a:cubicBezTo>
                  <a:cubicBezTo>
                    <a:pt x="94" y="179"/>
                    <a:pt x="99" y="172"/>
                    <a:pt x="105" y="164"/>
                  </a:cubicBezTo>
                  <a:cubicBezTo>
                    <a:pt x="112" y="155"/>
                    <a:pt x="114" y="151"/>
                    <a:pt x="116" y="147"/>
                  </a:cubicBezTo>
                  <a:cubicBezTo>
                    <a:pt x="117" y="143"/>
                    <a:pt x="118" y="139"/>
                    <a:pt x="121" y="131"/>
                  </a:cubicBezTo>
                  <a:cubicBezTo>
                    <a:pt x="123" y="128"/>
                    <a:pt x="127" y="123"/>
                    <a:pt x="132" y="118"/>
                  </a:cubicBezTo>
                  <a:cubicBezTo>
                    <a:pt x="140" y="110"/>
                    <a:pt x="150" y="101"/>
                    <a:pt x="158" y="95"/>
                  </a:cubicBezTo>
                  <a:cubicBezTo>
                    <a:pt x="163" y="91"/>
                    <a:pt x="166" y="88"/>
                    <a:pt x="169" y="86"/>
                  </a:cubicBezTo>
                  <a:cubicBezTo>
                    <a:pt x="172" y="84"/>
                    <a:pt x="173" y="83"/>
                    <a:pt x="173" y="83"/>
                  </a:cubicBezTo>
                  <a:cubicBezTo>
                    <a:pt x="174" y="83"/>
                    <a:pt x="174" y="83"/>
                    <a:pt x="174" y="83"/>
                  </a:cubicBezTo>
                  <a:cubicBezTo>
                    <a:pt x="174" y="82"/>
                    <a:pt x="174" y="82"/>
                    <a:pt x="174" y="82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74"/>
                    <a:pt x="176" y="69"/>
                    <a:pt x="179" y="66"/>
                  </a:cubicBezTo>
                  <a:cubicBezTo>
                    <a:pt x="182" y="64"/>
                    <a:pt x="187" y="62"/>
                    <a:pt x="190" y="62"/>
                  </a:cubicBezTo>
                  <a:cubicBezTo>
                    <a:pt x="192" y="62"/>
                    <a:pt x="193" y="63"/>
                    <a:pt x="194" y="63"/>
                  </a:cubicBezTo>
                  <a:cubicBezTo>
                    <a:pt x="197" y="64"/>
                    <a:pt x="201" y="66"/>
                    <a:pt x="203" y="69"/>
                  </a:cubicBezTo>
                  <a:cubicBezTo>
                    <a:pt x="206" y="72"/>
                    <a:pt x="208" y="77"/>
                    <a:pt x="208" y="81"/>
                  </a:cubicBezTo>
                  <a:cubicBezTo>
                    <a:pt x="208" y="84"/>
                    <a:pt x="207" y="86"/>
                    <a:pt x="206" y="89"/>
                  </a:cubicBezTo>
                  <a:cubicBezTo>
                    <a:pt x="204" y="92"/>
                    <a:pt x="202" y="95"/>
                    <a:pt x="198" y="96"/>
                  </a:cubicBezTo>
                  <a:cubicBezTo>
                    <a:pt x="195" y="98"/>
                    <a:pt x="192" y="99"/>
                    <a:pt x="188" y="99"/>
                  </a:cubicBezTo>
                  <a:cubicBezTo>
                    <a:pt x="182" y="99"/>
                    <a:pt x="175" y="96"/>
                    <a:pt x="172" y="93"/>
                  </a:cubicBezTo>
                  <a:cubicBezTo>
                    <a:pt x="168" y="89"/>
                    <a:pt x="167" y="83"/>
                    <a:pt x="167" y="77"/>
                  </a:cubicBezTo>
                  <a:cubicBezTo>
                    <a:pt x="167" y="70"/>
                    <a:pt x="169" y="62"/>
                    <a:pt x="174" y="56"/>
                  </a:cubicBezTo>
                  <a:cubicBezTo>
                    <a:pt x="179" y="50"/>
                    <a:pt x="190" y="43"/>
                    <a:pt x="201" y="43"/>
                  </a:cubicBezTo>
                  <a:cubicBezTo>
                    <a:pt x="207" y="43"/>
                    <a:pt x="213" y="45"/>
                    <a:pt x="220" y="50"/>
                  </a:cubicBezTo>
                  <a:cubicBezTo>
                    <a:pt x="229" y="57"/>
                    <a:pt x="233" y="69"/>
                    <a:pt x="233" y="82"/>
                  </a:cubicBezTo>
                  <a:cubicBezTo>
                    <a:pt x="233" y="91"/>
                    <a:pt x="230" y="101"/>
                    <a:pt x="227" y="108"/>
                  </a:cubicBezTo>
                  <a:cubicBezTo>
                    <a:pt x="224" y="115"/>
                    <a:pt x="216" y="120"/>
                    <a:pt x="208" y="123"/>
                  </a:cubicBezTo>
                  <a:cubicBezTo>
                    <a:pt x="204" y="125"/>
                    <a:pt x="200" y="126"/>
                    <a:pt x="198" y="127"/>
                  </a:cubicBezTo>
                  <a:cubicBezTo>
                    <a:pt x="196" y="127"/>
                    <a:pt x="195" y="128"/>
                    <a:pt x="195" y="128"/>
                  </a:cubicBezTo>
                  <a:cubicBezTo>
                    <a:pt x="194" y="128"/>
                    <a:pt x="194" y="128"/>
                    <a:pt x="194" y="128"/>
                  </a:cubicBezTo>
                  <a:cubicBezTo>
                    <a:pt x="193" y="128"/>
                    <a:pt x="193" y="128"/>
                    <a:pt x="193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92" y="129"/>
                    <a:pt x="192" y="129"/>
                    <a:pt x="192" y="129"/>
                  </a:cubicBezTo>
                  <a:cubicBezTo>
                    <a:pt x="189" y="133"/>
                    <a:pt x="185" y="137"/>
                    <a:pt x="180" y="139"/>
                  </a:cubicBezTo>
                  <a:cubicBezTo>
                    <a:pt x="175" y="141"/>
                    <a:pt x="169" y="143"/>
                    <a:pt x="164" y="143"/>
                  </a:cubicBezTo>
                  <a:cubicBezTo>
                    <a:pt x="161" y="143"/>
                    <a:pt x="158" y="142"/>
                    <a:pt x="156" y="141"/>
                  </a:cubicBezTo>
                  <a:cubicBezTo>
                    <a:pt x="151" y="140"/>
                    <a:pt x="146" y="134"/>
                    <a:pt x="143" y="129"/>
                  </a:cubicBezTo>
                  <a:cubicBezTo>
                    <a:pt x="141" y="127"/>
                    <a:pt x="140" y="124"/>
                    <a:pt x="139" y="122"/>
                  </a:cubicBezTo>
                  <a:cubicBezTo>
                    <a:pt x="138" y="122"/>
                    <a:pt x="138" y="121"/>
                    <a:pt x="138" y="120"/>
                  </a:cubicBezTo>
                  <a:cubicBezTo>
                    <a:pt x="138" y="120"/>
                    <a:pt x="138" y="120"/>
                    <a:pt x="138" y="120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0" y="116"/>
                    <a:pt x="124" y="111"/>
                  </a:cubicBezTo>
                  <a:cubicBezTo>
                    <a:pt x="118" y="106"/>
                    <a:pt x="113" y="98"/>
                    <a:pt x="113" y="86"/>
                  </a:cubicBezTo>
                  <a:cubicBezTo>
                    <a:pt x="113" y="85"/>
                    <a:pt x="113" y="84"/>
                    <a:pt x="113" y="84"/>
                  </a:cubicBezTo>
                  <a:cubicBezTo>
                    <a:pt x="114" y="70"/>
                    <a:pt x="121" y="60"/>
                    <a:pt x="128" y="54"/>
                  </a:cubicBezTo>
                  <a:cubicBezTo>
                    <a:pt x="131" y="51"/>
                    <a:pt x="135" y="49"/>
                    <a:pt x="137" y="47"/>
                  </a:cubicBezTo>
                  <a:cubicBezTo>
                    <a:pt x="138" y="46"/>
                    <a:pt x="140" y="46"/>
                    <a:pt x="140" y="46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43" y="44"/>
                    <a:pt x="143" y="44"/>
                    <a:pt x="143" y="44"/>
                  </a:cubicBezTo>
                  <a:cubicBezTo>
                    <a:pt x="145" y="31"/>
                    <a:pt x="151" y="21"/>
                    <a:pt x="160" y="15"/>
                  </a:cubicBezTo>
                  <a:cubicBezTo>
                    <a:pt x="168" y="8"/>
                    <a:pt x="179" y="4"/>
                    <a:pt x="190" y="4"/>
                  </a:cubicBezTo>
                  <a:cubicBezTo>
                    <a:pt x="191" y="4"/>
                    <a:pt x="191" y="4"/>
                    <a:pt x="191" y="4"/>
                  </a:cubicBezTo>
                  <a:cubicBezTo>
                    <a:pt x="201" y="4"/>
                    <a:pt x="211" y="8"/>
                    <a:pt x="218" y="12"/>
                  </a:cubicBezTo>
                  <a:cubicBezTo>
                    <a:pt x="222" y="14"/>
                    <a:pt x="224" y="16"/>
                    <a:pt x="226" y="18"/>
                  </a:cubicBezTo>
                  <a:cubicBezTo>
                    <a:pt x="227" y="19"/>
                    <a:pt x="228" y="19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30" y="21"/>
                    <a:pt x="230" y="21"/>
                    <a:pt x="230" y="21"/>
                  </a:cubicBezTo>
                  <a:cubicBezTo>
                    <a:pt x="231" y="21"/>
                    <a:pt x="231" y="21"/>
                    <a:pt x="231" y="21"/>
                  </a:cubicBezTo>
                  <a:cubicBezTo>
                    <a:pt x="234" y="20"/>
                    <a:pt x="236" y="20"/>
                    <a:pt x="239" y="20"/>
                  </a:cubicBezTo>
                  <a:cubicBezTo>
                    <a:pt x="254" y="20"/>
                    <a:pt x="268" y="27"/>
                    <a:pt x="276" y="37"/>
                  </a:cubicBezTo>
                  <a:cubicBezTo>
                    <a:pt x="283" y="47"/>
                    <a:pt x="288" y="60"/>
                    <a:pt x="288" y="75"/>
                  </a:cubicBezTo>
                  <a:cubicBezTo>
                    <a:pt x="288" y="78"/>
                    <a:pt x="288" y="82"/>
                    <a:pt x="287" y="85"/>
                  </a:cubicBezTo>
                  <a:cubicBezTo>
                    <a:pt x="286" y="95"/>
                    <a:pt x="281" y="103"/>
                    <a:pt x="277" y="109"/>
                  </a:cubicBezTo>
                  <a:cubicBezTo>
                    <a:pt x="274" y="111"/>
                    <a:pt x="272" y="114"/>
                    <a:pt x="270" y="115"/>
                  </a:cubicBezTo>
                  <a:cubicBezTo>
                    <a:pt x="270" y="116"/>
                    <a:pt x="269" y="116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7" y="118"/>
                    <a:pt x="267" y="118"/>
                    <a:pt x="267" y="118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21"/>
                    <a:pt x="266" y="129"/>
                    <a:pt x="263" y="138"/>
                  </a:cubicBezTo>
                  <a:cubicBezTo>
                    <a:pt x="259" y="146"/>
                    <a:pt x="252" y="156"/>
                    <a:pt x="240" y="162"/>
                  </a:cubicBezTo>
                  <a:cubicBezTo>
                    <a:pt x="231" y="166"/>
                    <a:pt x="222" y="167"/>
                    <a:pt x="214" y="167"/>
                  </a:cubicBezTo>
                  <a:cubicBezTo>
                    <a:pt x="205" y="167"/>
                    <a:pt x="198" y="166"/>
                    <a:pt x="192" y="165"/>
                  </a:cubicBezTo>
                  <a:cubicBezTo>
                    <a:pt x="189" y="164"/>
                    <a:pt x="187" y="163"/>
                    <a:pt x="185" y="163"/>
                  </a:cubicBezTo>
                  <a:cubicBezTo>
                    <a:pt x="185" y="162"/>
                    <a:pt x="184" y="162"/>
                    <a:pt x="184" y="162"/>
                  </a:cubicBezTo>
                  <a:cubicBezTo>
                    <a:pt x="183" y="162"/>
                    <a:pt x="183" y="162"/>
                    <a:pt x="183" y="162"/>
                  </a:cubicBezTo>
                  <a:cubicBezTo>
                    <a:pt x="181" y="161"/>
                    <a:pt x="181" y="161"/>
                    <a:pt x="181" y="161"/>
                  </a:cubicBezTo>
                  <a:cubicBezTo>
                    <a:pt x="181" y="163"/>
                    <a:pt x="181" y="163"/>
                    <a:pt x="181" y="163"/>
                  </a:cubicBezTo>
                  <a:cubicBezTo>
                    <a:pt x="179" y="165"/>
                    <a:pt x="176" y="167"/>
                    <a:pt x="172" y="168"/>
                  </a:cubicBezTo>
                  <a:cubicBezTo>
                    <a:pt x="168" y="169"/>
                    <a:pt x="163" y="170"/>
                    <a:pt x="159" y="170"/>
                  </a:cubicBezTo>
                  <a:cubicBezTo>
                    <a:pt x="155" y="170"/>
                    <a:pt x="151" y="169"/>
                    <a:pt x="150" y="169"/>
                  </a:cubicBezTo>
                  <a:cubicBezTo>
                    <a:pt x="148" y="169"/>
                    <a:pt x="145" y="167"/>
                    <a:pt x="141" y="165"/>
                  </a:cubicBezTo>
                  <a:cubicBezTo>
                    <a:pt x="140" y="164"/>
                    <a:pt x="138" y="164"/>
                    <a:pt x="136" y="163"/>
                  </a:cubicBezTo>
                  <a:cubicBezTo>
                    <a:pt x="135" y="162"/>
                    <a:pt x="133" y="162"/>
                    <a:pt x="131" y="162"/>
                  </a:cubicBezTo>
                  <a:cubicBezTo>
                    <a:pt x="130" y="162"/>
                    <a:pt x="129" y="162"/>
                    <a:pt x="128" y="163"/>
                  </a:cubicBezTo>
                  <a:cubicBezTo>
                    <a:pt x="125" y="164"/>
                    <a:pt x="121" y="167"/>
                    <a:pt x="117" y="171"/>
                  </a:cubicBezTo>
                  <a:cubicBezTo>
                    <a:pt x="113" y="175"/>
                    <a:pt x="109" y="179"/>
                    <a:pt x="107" y="182"/>
                  </a:cubicBezTo>
                  <a:cubicBezTo>
                    <a:pt x="102" y="188"/>
                    <a:pt x="89" y="203"/>
                    <a:pt x="71" y="208"/>
                  </a:cubicBezTo>
                  <a:cubicBezTo>
                    <a:pt x="65" y="209"/>
                    <a:pt x="58" y="210"/>
                    <a:pt x="51" y="210"/>
                  </a:cubicBezTo>
                  <a:cubicBezTo>
                    <a:pt x="44" y="210"/>
                    <a:pt x="37" y="209"/>
                    <a:pt x="32" y="209"/>
                  </a:cubicBezTo>
                  <a:cubicBezTo>
                    <a:pt x="30" y="208"/>
                    <a:pt x="27" y="208"/>
                    <a:pt x="26" y="208"/>
                  </a:cubicBezTo>
                  <a:cubicBezTo>
                    <a:pt x="25" y="208"/>
                    <a:pt x="24" y="207"/>
                    <a:pt x="24" y="207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23" y="207"/>
                    <a:pt x="23" y="207"/>
                    <a:pt x="23" y="207"/>
                  </a:cubicBezTo>
                  <a:lnTo>
                    <a:pt x="23" y="2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19"/>
            <p:cNvSpPr>
              <a:spLocks/>
            </p:cNvSpPr>
            <p:nvPr/>
          </p:nvSpPr>
          <p:spPr bwMode="auto">
            <a:xfrm>
              <a:off x="9926794" y="3408217"/>
              <a:ext cx="360386" cy="357570"/>
            </a:xfrm>
            <a:custGeom>
              <a:avLst/>
              <a:gdLst>
                <a:gd name="T0" fmla="*/ 56 w 108"/>
                <a:gd name="T1" fmla="*/ 37 h 107"/>
                <a:gd name="T2" fmla="*/ 55 w 108"/>
                <a:gd name="T3" fmla="*/ 44 h 107"/>
                <a:gd name="T4" fmla="*/ 48 w 108"/>
                <a:gd name="T5" fmla="*/ 46 h 107"/>
                <a:gd name="T6" fmla="*/ 42 w 108"/>
                <a:gd name="T7" fmla="*/ 39 h 107"/>
                <a:gd name="T8" fmla="*/ 57 w 108"/>
                <a:gd name="T9" fmla="*/ 24 h 107"/>
                <a:gd name="T10" fmla="*/ 74 w 108"/>
                <a:gd name="T11" fmla="*/ 30 h 107"/>
                <a:gd name="T12" fmla="*/ 79 w 108"/>
                <a:gd name="T13" fmla="*/ 42 h 107"/>
                <a:gd name="T14" fmla="*/ 74 w 108"/>
                <a:gd name="T15" fmla="*/ 56 h 107"/>
                <a:gd name="T16" fmla="*/ 56 w 108"/>
                <a:gd name="T17" fmla="*/ 62 h 107"/>
                <a:gd name="T18" fmla="*/ 37 w 108"/>
                <a:gd name="T19" fmla="*/ 36 h 107"/>
                <a:gd name="T20" fmla="*/ 52 w 108"/>
                <a:gd name="T21" fmla="*/ 12 h 107"/>
                <a:gd name="T22" fmla="*/ 73 w 108"/>
                <a:gd name="T23" fmla="*/ 4 h 107"/>
                <a:gd name="T24" fmla="*/ 104 w 108"/>
                <a:gd name="T25" fmla="*/ 41 h 107"/>
                <a:gd name="T26" fmla="*/ 90 w 108"/>
                <a:gd name="T27" fmla="*/ 76 h 107"/>
                <a:gd name="T28" fmla="*/ 63 w 108"/>
                <a:gd name="T29" fmla="*/ 89 h 107"/>
                <a:gd name="T30" fmla="*/ 63 w 108"/>
                <a:gd name="T31" fmla="*/ 90 h 107"/>
                <a:gd name="T32" fmla="*/ 40 w 108"/>
                <a:gd name="T33" fmla="*/ 103 h 107"/>
                <a:gd name="T34" fmla="*/ 18 w 108"/>
                <a:gd name="T35" fmla="*/ 94 h 107"/>
                <a:gd name="T36" fmla="*/ 8 w 108"/>
                <a:gd name="T37" fmla="*/ 80 h 107"/>
                <a:gd name="T38" fmla="*/ 0 w 108"/>
                <a:gd name="T39" fmla="*/ 80 h 107"/>
                <a:gd name="T40" fmla="*/ 7 w 108"/>
                <a:gd name="T41" fmla="*/ 81 h 107"/>
                <a:gd name="T42" fmla="*/ 15 w 108"/>
                <a:gd name="T43" fmla="*/ 97 h 107"/>
                <a:gd name="T44" fmla="*/ 40 w 108"/>
                <a:gd name="T45" fmla="*/ 107 h 107"/>
                <a:gd name="T46" fmla="*/ 67 w 108"/>
                <a:gd name="T47" fmla="*/ 92 h 107"/>
                <a:gd name="T48" fmla="*/ 65 w 108"/>
                <a:gd name="T49" fmla="*/ 93 h 107"/>
                <a:gd name="T50" fmla="*/ 108 w 108"/>
                <a:gd name="T51" fmla="*/ 45 h 107"/>
                <a:gd name="T52" fmla="*/ 96 w 108"/>
                <a:gd name="T53" fmla="*/ 10 h 107"/>
                <a:gd name="T54" fmla="*/ 72 w 108"/>
                <a:gd name="T55" fmla="*/ 0 h 107"/>
                <a:gd name="T56" fmla="*/ 35 w 108"/>
                <a:gd name="T57" fmla="*/ 26 h 107"/>
                <a:gd name="T58" fmla="*/ 39 w 108"/>
                <a:gd name="T59" fmla="*/ 55 h 107"/>
                <a:gd name="T60" fmla="*/ 59 w 108"/>
                <a:gd name="T61" fmla="*/ 66 h 107"/>
                <a:gd name="T62" fmla="*/ 83 w 108"/>
                <a:gd name="T63" fmla="*/ 42 h 107"/>
                <a:gd name="T64" fmla="*/ 83 w 108"/>
                <a:gd name="T65" fmla="*/ 42 h 107"/>
                <a:gd name="T66" fmla="*/ 59 w 108"/>
                <a:gd name="T67" fmla="*/ 20 h 107"/>
                <a:gd name="T68" fmla="*/ 43 w 108"/>
                <a:gd name="T69" fmla="*/ 26 h 107"/>
                <a:gd name="T70" fmla="*/ 41 w 108"/>
                <a:gd name="T71" fmla="*/ 46 h 107"/>
                <a:gd name="T72" fmla="*/ 50 w 108"/>
                <a:gd name="T73" fmla="*/ 50 h 107"/>
                <a:gd name="T74" fmla="*/ 60 w 108"/>
                <a:gd name="T75" fmla="*/ 41 h 107"/>
                <a:gd name="T76" fmla="*/ 56 w 108"/>
                <a:gd name="T77" fmla="*/ 3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" h="107"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8"/>
                    <a:pt x="56" y="39"/>
                    <a:pt x="56" y="41"/>
                  </a:cubicBezTo>
                  <a:cubicBezTo>
                    <a:pt x="56" y="42"/>
                    <a:pt x="56" y="44"/>
                    <a:pt x="55" y="44"/>
                  </a:cubicBezTo>
                  <a:cubicBezTo>
                    <a:pt x="55" y="45"/>
                    <a:pt x="53" y="46"/>
                    <a:pt x="50" y="46"/>
                  </a:cubicBezTo>
                  <a:cubicBezTo>
                    <a:pt x="50" y="46"/>
                    <a:pt x="49" y="46"/>
                    <a:pt x="48" y="46"/>
                  </a:cubicBezTo>
                  <a:cubicBezTo>
                    <a:pt x="46" y="46"/>
                    <a:pt x="45" y="45"/>
                    <a:pt x="44" y="44"/>
                  </a:cubicBezTo>
                  <a:cubicBezTo>
                    <a:pt x="43" y="42"/>
                    <a:pt x="42" y="41"/>
                    <a:pt x="42" y="39"/>
                  </a:cubicBezTo>
                  <a:cubicBezTo>
                    <a:pt x="42" y="36"/>
                    <a:pt x="44" y="32"/>
                    <a:pt x="46" y="29"/>
                  </a:cubicBezTo>
                  <a:cubicBezTo>
                    <a:pt x="49" y="26"/>
                    <a:pt x="52" y="24"/>
                    <a:pt x="57" y="24"/>
                  </a:cubicBezTo>
                  <a:cubicBezTo>
                    <a:pt x="57" y="24"/>
                    <a:pt x="58" y="24"/>
                    <a:pt x="58" y="24"/>
                  </a:cubicBezTo>
                  <a:cubicBezTo>
                    <a:pt x="66" y="25"/>
                    <a:pt x="71" y="27"/>
                    <a:pt x="74" y="30"/>
                  </a:cubicBezTo>
                  <a:cubicBezTo>
                    <a:pt x="77" y="33"/>
                    <a:pt x="78" y="37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8" y="47"/>
                    <a:pt x="77" y="52"/>
                    <a:pt x="74" y="56"/>
                  </a:cubicBezTo>
                  <a:cubicBezTo>
                    <a:pt x="70" y="59"/>
                    <a:pt x="66" y="62"/>
                    <a:pt x="59" y="62"/>
                  </a:cubicBezTo>
                  <a:cubicBezTo>
                    <a:pt x="58" y="62"/>
                    <a:pt x="57" y="62"/>
                    <a:pt x="56" y="62"/>
                  </a:cubicBezTo>
                  <a:cubicBezTo>
                    <a:pt x="50" y="61"/>
                    <a:pt x="45" y="57"/>
                    <a:pt x="42" y="52"/>
                  </a:cubicBezTo>
                  <a:cubicBezTo>
                    <a:pt x="39" y="48"/>
                    <a:pt x="37" y="41"/>
                    <a:pt x="37" y="36"/>
                  </a:cubicBezTo>
                  <a:cubicBezTo>
                    <a:pt x="37" y="33"/>
                    <a:pt x="38" y="30"/>
                    <a:pt x="39" y="28"/>
                  </a:cubicBezTo>
                  <a:cubicBezTo>
                    <a:pt x="42" y="23"/>
                    <a:pt x="46" y="17"/>
                    <a:pt x="52" y="12"/>
                  </a:cubicBezTo>
                  <a:cubicBezTo>
                    <a:pt x="57" y="7"/>
                    <a:pt x="64" y="4"/>
                    <a:pt x="72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81" y="4"/>
                    <a:pt x="88" y="7"/>
                    <a:pt x="93" y="12"/>
                  </a:cubicBezTo>
                  <a:cubicBezTo>
                    <a:pt x="98" y="18"/>
                    <a:pt x="102" y="27"/>
                    <a:pt x="104" y="41"/>
                  </a:cubicBezTo>
                  <a:cubicBezTo>
                    <a:pt x="104" y="42"/>
                    <a:pt x="104" y="44"/>
                    <a:pt x="104" y="45"/>
                  </a:cubicBezTo>
                  <a:cubicBezTo>
                    <a:pt x="104" y="57"/>
                    <a:pt x="98" y="68"/>
                    <a:pt x="90" y="76"/>
                  </a:cubicBezTo>
                  <a:cubicBezTo>
                    <a:pt x="83" y="84"/>
                    <a:pt x="73" y="89"/>
                    <a:pt x="65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1" y="93"/>
                    <a:pt x="58" y="97"/>
                  </a:cubicBezTo>
                  <a:cubicBezTo>
                    <a:pt x="54" y="100"/>
                    <a:pt x="49" y="103"/>
                    <a:pt x="40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0" y="103"/>
                    <a:pt x="23" y="99"/>
                    <a:pt x="18" y="94"/>
                  </a:cubicBezTo>
                  <a:cubicBezTo>
                    <a:pt x="13" y="90"/>
                    <a:pt x="9" y="84"/>
                    <a:pt x="9" y="81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6" y="86"/>
                    <a:pt x="9" y="92"/>
                    <a:pt x="15" y="97"/>
                  </a:cubicBezTo>
                  <a:cubicBezTo>
                    <a:pt x="21" y="103"/>
                    <a:pt x="29" y="107"/>
                    <a:pt x="39" y="107"/>
                  </a:cubicBezTo>
                  <a:cubicBezTo>
                    <a:pt x="39" y="107"/>
                    <a:pt x="39" y="107"/>
                    <a:pt x="40" y="107"/>
                  </a:cubicBezTo>
                  <a:cubicBezTo>
                    <a:pt x="50" y="107"/>
                    <a:pt x="57" y="103"/>
                    <a:pt x="61" y="99"/>
                  </a:cubicBezTo>
                  <a:cubicBezTo>
                    <a:pt x="65" y="95"/>
                    <a:pt x="67" y="92"/>
                    <a:pt x="67" y="92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74" y="93"/>
                    <a:pt x="85" y="87"/>
                    <a:pt x="93" y="79"/>
                  </a:cubicBezTo>
                  <a:cubicBezTo>
                    <a:pt x="102" y="71"/>
                    <a:pt x="108" y="59"/>
                    <a:pt x="108" y="45"/>
                  </a:cubicBezTo>
                  <a:cubicBezTo>
                    <a:pt x="108" y="44"/>
                    <a:pt x="108" y="42"/>
                    <a:pt x="108" y="40"/>
                  </a:cubicBezTo>
                  <a:cubicBezTo>
                    <a:pt x="106" y="26"/>
                    <a:pt x="102" y="16"/>
                    <a:pt x="96" y="10"/>
                  </a:cubicBezTo>
                  <a:cubicBezTo>
                    <a:pt x="90" y="3"/>
                    <a:pt x="82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63" y="0"/>
                    <a:pt x="55" y="4"/>
                    <a:pt x="49" y="9"/>
                  </a:cubicBezTo>
                  <a:cubicBezTo>
                    <a:pt x="43" y="14"/>
                    <a:pt x="38" y="20"/>
                    <a:pt x="35" y="26"/>
                  </a:cubicBezTo>
                  <a:cubicBezTo>
                    <a:pt x="34" y="29"/>
                    <a:pt x="33" y="32"/>
                    <a:pt x="33" y="36"/>
                  </a:cubicBezTo>
                  <a:cubicBezTo>
                    <a:pt x="33" y="42"/>
                    <a:pt x="35" y="49"/>
                    <a:pt x="39" y="55"/>
                  </a:cubicBezTo>
                  <a:cubicBezTo>
                    <a:pt x="42" y="60"/>
                    <a:pt x="48" y="65"/>
                    <a:pt x="55" y="66"/>
                  </a:cubicBezTo>
                  <a:cubicBezTo>
                    <a:pt x="56" y="66"/>
                    <a:pt x="58" y="66"/>
                    <a:pt x="59" y="66"/>
                  </a:cubicBezTo>
                  <a:cubicBezTo>
                    <a:pt x="67" y="66"/>
                    <a:pt x="73" y="63"/>
                    <a:pt x="77" y="58"/>
                  </a:cubicBezTo>
                  <a:cubicBezTo>
                    <a:pt x="81" y="54"/>
                    <a:pt x="82" y="48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36"/>
                    <a:pt x="81" y="31"/>
                    <a:pt x="77" y="27"/>
                  </a:cubicBezTo>
                  <a:cubicBezTo>
                    <a:pt x="73" y="23"/>
                    <a:pt x="67" y="21"/>
                    <a:pt x="59" y="20"/>
                  </a:cubicBezTo>
                  <a:cubicBezTo>
                    <a:pt x="58" y="20"/>
                    <a:pt x="57" y="20"/>
                    <a:pt x="57" y="20"/>
                  </a:cubicBezTo>
                  <a:cubicBezTo>
                    <a:pt x="51" y="20"/>
                    <a:pt x="46" y="22"/>
                    <a:pt x="43" y="26"/>
                  </a:cubicBezTo>
                  <a:cubicBezTo>
                    <a:pt x="40" y="30"/>
                    <a:pt x="38" y="35"/>
                    <a:pt x="38" y="39"/>
                  </a:cubicBezTo>
                  <a:cubicBezTo>
                    <a:pt x="38" y="41"/>
                    <a:pt x="39" y="44"/>
                    <a:pt x="41" y="46"/>
                  </a:cubicBezTo>
                  <a:cubicBezTo>
                    <a:pt x="42" y="48"/>
                    <a:pt x="45" y="49"/>
                    <a:pt x="48" y="50"/>
                  </a:cubicBezTo>
                  <a:cubicBezTo>
                    <a:pt x="49" y="50"/>
                    <a:pt x="50" y="50"/>
                    <a:pt x="50" y="50"/>
                  </a:cubicBezTo>
                  <a:cubicBezTo>
                    <a:pt x="54" y="50"/>
                    <a:pt x="57" y="49"/>
                    <a:pt x="58" y="47"/>
                  </a:cubicBezTo>
                  <a:cubicBezTo>
                    <a:pt x="60" y="45"/>
                    <a:pt x="60" y="43"/>
                    <a:pt x="60" y="41"/>
                  </a:cubicBezTo>
                  <a:cubicBezTo>
                    <a:pt x="60" y="38"/>
                    <a:pt x="60" y="36"/>
                    <a:pt x="59" y="36"/>
                  </a:cubicBezTo>
                  <a:lnTo>
                    <a:pt x="56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47" name="文本框 46"/>
          <p:cNvSpPr txBox="1"/>
          <p:nvPr/>
        </p:nvSpPr>
        <p:spPr>
          <a:xfrm>
            <a:off x="2859279" y="2367593"/>
            <a:ext cx="1199192" cy="1637157"/>
          </a:xfrm>
          <a:custGeom>
            <a:avLst/>
            <a:gdLst/>
            <a:ahLst/>
            <a:cxnLst/>
            <a:rect l="l" t="t" r="r" b="b"/>
            <a:pathLst>
              <a:path w="420624" h="574243">
                <a:moveTo>
                  <a:pt x="0" y="0"/>
                </a:moveTo>
                <a:lnTo>
                  <a:pt x="338937" y="0"/>
                </a:lnTo>
                <a:cubicBezTo>
                  <a:pt x="362077" y="635"/>
                  <a:pt x="381330" y="9271"/>
                  <a:pt x="396697" y="25908"/>
                </a:cubicBezTo>
                <a:cubicBezTo>
                  <a:pt x="412064" y="42545"/>
                  <a:pt x="420039" y="63373"/>
                  <a:pt x="420624" y="88392"/>
                </a:cubicBezTo>
                <a:lnTo>
                  <a:pt x="420624" y="190805"/>
                </a:lnTo>
                <a:cubicBezTo>
                  <a:pt x="420192" y="213843"/>
                  <a:pt x="413435" y="233452"/>
                  <a:pt x="400355" y="249631"/>
                </a:cubicBezTo>
                <a:cubicBezTo>
                  <a:pt x="387274" y="265811"/>
                  <a:pt x="370459" y="275666"/>
                  <a:pt x="349910" y="279197"/>
                </a:cubicBezTo>
                <a:cubicBezTo>
                  <a:pt x="370459" y="282448"/>
                  <a:pt x="387274" y="292100"/>
                  <a:pt x="400355" y="308153"/>
                </a:cubicBezTo>
                <a:cubicBezTo>
                  <a:pt x="413435" y="324206"/>
                  <a:pt x="420192" y="343611"/>
                  <a:pt x="420624" y="366370"/>
                </a:cubicBezTo>
                <a:lnTo>
                  <a:pt x="420624" y="485851"/>
                </a:lnTo>
                <a:cubicBezTo>
                  <a:pt x="420039" y="511137"/>
                  <a:pt x="412064" y="532041"/>
                  <a:pt x="396697" y="548564"/>
                </a:cubicBezTo>
                <a:cubicBezTo>
                  <a:pt x="381330" y="565087"/>
                  <a:pt x="362077" y="573646"/>
                  <a:pt x="338937" y="574243"/>
                </a:cubicBezTo>
                <a:lnTo>
                  <a:pt x="0" y="574243"/>
                </a:lnTo>
                <a:lnTo>
                  <a:pt x="0" y="538887"/>
                </a:lnTo>
                <a:lnTo>
                  <a:pt x="276758" y="538887"/>
                </a:lnTo>
                <a:cubicBezTo>
                  <a:pt x="291795" y="538506"/>
                  <a:pt x="304393" y="532867"/>
                  <a:pt x="314553" y="521970"/>
                </a:cubicBezTo>
                <a:cubicBezTo>
                  <a:pt x="324713" y="511074"/>
                  <a:pt x="329996" y="497205"/>
                  <a:pt x="330403" y="480365"/>
                </a:cubicBezTo>
                <a:lnTo>
                  <a:pt x="330403" y="364541"/>
                </a:lnTo>
                <a:cubicBezTo>
                  <a:pt x="329996" y="348260"/>
                  <a:pt x="324713" y="334645"/>
                  <a:pt x="314553" y="323698"/>
                </a:cubicBezTo>
                <a:cubicBezTo>
                  <a:pt x="304393" y="312750"/>
                  <a:pt x="291795" y="307061"/>
                  <a:pt x="276758" y="306629"/>
                </a:cubicBezTo>
                <a:lnTo>
                  <a:pt x="20726" y="306629"/>
                </a:lnTo>
                <a:lnTo>
                  <a:pt x="20726" y="271272"/>
                </a:lnTo>
                <a:lnTo>
                  <a:pt x="276758" y="271272"/>
                </a:lnTo>
                <a:cubicBezTo>
                  <a:pt x="291795" y="270866"/>
                  <a:pt x="304393" y="265125"/>
                  <a:pt x="314553" y="254051"/>
                </a:cubicBezTo>
                <a:cubicBezTo>
                  <a:pt x="324713" y="242977"/>
                  <a:pt x="329996" y="229007"/>
                  <a:pt x="330403" y="212141"/>
                </a:cubicBezTo>
                <a:lnTo>
                  <a:pt x="330403" y="93879"/>
                </a:lnTo>
                <a:cubicBezTo>
                  <a:pt x="329996" y="77305"/>
                  <a:pt x="324713" y="63513"/>
                  <a:pt x="314553" y="52502"/>
                </a:cubicBezTo>
                <a:cubicBezTo>
                  <a:pt x="304393" y="41491"/>
                  <a:pt x="291795" y="35776"/>
                  <a:pt x="276758" y="35357"/>
                </a:cubicBezTo>
                <a:lnTo>
                  <a:pt x="0" y="35357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4800" b="1" spc="1500">
                <a:solidFill>
                  <a:schemeClr val="bg1"/>
                </a:solidFill>
                <a:latin typeface="造字工房朗倩（非商用）常规体" pitchFamily="50" charset="-122"/>
                <a:ea typeface="造字工房朗倩（非商用）常规体" pitchFamily="50" charset="-122"/>
              </a:defRPr>
            </a:lvl1pPr>
          </a:lstStyle>
          <a:p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74871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3" name="组合 2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5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4" name="文本框 3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pic>
        <p:nvPicPr>
          <p:cNvPr id="76" name="图片 75"/>
          <p:cNvPicPr>
            <a:picLocks noChangeAspect="1"/>
          </p:cNvPicPr>
          <p:nvPr/>
        </p:nvPicPr>
        <p:blipFill>
          <a:blip r:embed="rId2" cstate="print"/>
          <a:srcRect l="6970" r="3876" b="1097"/>
          <a:stretch>
            <a:fillRect/>
          </a:stretch>
        </p:blipFill>
        <p:spPr>
          <a:xfrm>
            <a:off x="4376106" y="2078966"/>
            <a:ext cx="3572336" cy="3531808"/>
          </a:xfrm>
          <a:custGeom>
            <a:avLst/>
            <a:gdLst>
              <a:gd name="connsiteX0" fmla="*/ 1409707 w 3572336"/>
              <a:gd name="connsiteY0" fmla="*/ 0 h 3531808"/>
              <a:gd name="connsiteX1" fmla="*/ 2162629 w 3572336"/>
              <a:gd name="connsiteY1" fmla="*/ 0 h 3531808"/>
              <a:gd name="connsiteX2" fmla="*/ 2317320 w 3572336"/>
              <a:gd name="connsiteY2" fmla="*/ 39775 h 3531808"/>
              <a:gd name="connsiteX3" fmla="*/ 3572336 w 3572336"/>
              <a:gd name="connsiteY3" fmla="*/ 1745640 h 3531808"/>
              <a:gd name="connsiteX4" fmla="*/ 1786168 w 3572336"/>
              <a:gd name="connsiteY4" fmla="*/ 3531808 h 3531808"/>
              <a:gd name="connsiteX5" fmla="*/ 0 w 3572336"/>
              <a:gd name="connsiteY5" fmla="*/ 1745640 h 3531808"/>
              <a:gd name="connsiteX6" fmla="*/ 1255016 w 3572336"/>
              <a:gd name="connsiteY6" fmla="*/ 39775 h 3531808"/>
              <a:gd name="connsiteX7" fmla="*/ 1409707 w 3572336"/>
              <a:gd name="connsiteY7" fmla="*/ 0 h 3531808"/>
              <a:gd name="connsiteX8" fmla="*/ 1786168 w 3572336"/>
              <a:gd name="connsiteY8" fmla="*/ 201131 h 3531808"/>
              <a:gd name="connsiteX9" fmla="*/ 241660 w 3572336"/>
              <a:gd name="connsiteY9" fmla="*/ 1745640 h 3531808"/>
              <a:gd name="connsiteX10" fmla="*/ 1786168 w 3572336"/>
              <a:gd name="connsiteY10" fmla="*/ 3290149 h 3531808"/>
              <a:gd name="connsiteX11" fmla="*/ 3330677 w 3572336"/>
              <a:gd name="connsiteY11" fmla="*/ 1745640 h 3531808"/>
              <a:gd name="connsiteX12" fmla="*/ 1786168 w 3572336"/>
              <a:gd name="connsiteY12" fmla="*/ 201131 h 3531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572336" h="3531808">
                <a:moveTo>
                  <a:pt x="1409707" y="0"/>
                </a:moveTo>
                <a:lnTo>
                  <a:pt x="2162629" y="0"/>
                </a:lnTo>
                <a:lnTo>
                  <a:pt x="2317320" y="39775"/>
                </a:lnTo>
                <a:cubicBezTo>
                  <a:pt x="3044413" y="265924"/>
                  <a:pt x="3572336" y="944131"/>
                  <a:pt x="3572336" y="1745640"/>
                </a:cubicBezTo>
                <a:cubicBezTo>
                  <a:pt x="3572336" y="2732114"/>
                  <a:pt x="2772642" y="3531808"/>
                  <a:pt x="1786168" y="3531808"/>
                </a:cubicBezTo>
                <a:cubicBezTo>
                  <a:pt x="799695" y="3531808"/>
                  <a:pt x="0" y="2732114"/>
                  <a:pt x="0" y="1745640"/>
                </a:cubicBezTo>
                <a:cubicBezTo>
                  <a:pt x="0" y="944131"/>
                  <a:pt x="527924" y="265924"/>
                  <a:pt x="1255016" y="39775"/>
                </a:cubicBezTo>
                <a:lnTo>
                  <a:pt x="1409707" y="0"/>
                </a:lnTo>
                <a:close/>
                <a:moveTo>
                  <a:pt x="1786168" y="201131"/>
                </a:moveTo>
                <a:cubicBezTo>
                  <a:pt x="933160" y="201131"/>
                  <a:pt x="241660" y="892632"/>
                  <a:pt x="241660" y="1745640"/>
                </a:cubicBezTo>
                <a:cubicBezTo>
                  <a:pt x="241660" y="2598649"/>
                  <a:pt x="933160" y="3290149"/>
                  <a:pt x="1786168" y="3290149"/>
                </a:cubicBezTo>
                <a:cubicBezTo>
                  <a:pt x="2639177" y="3290149"/>
                  <a:pt x="3330677" y="2598649"/>
                  <a:pt x="3330677" y="1745640"/>
                </a:cubicBezTo>
                <a:cubicBezTo>
                  <a:pt x="3330677" y="892632"/>
                  <a:pt x="2639177" y="201131"/>
                  <a:pt x="1786168" y="201131"/>
                </a:cubicBezTo>
                <a:close/>
              </a:path>
            </a:pathLst>
          </a:custGeom>
        </p:spPr>
      </p:pic>
      <p:pic>
        <p:nvPicPr>
          <p:cNvPr id="75" name="图片 74"/>
          <p:cNvPicPr>
            <a:picLocks noChangeAspect="1"/>
          </p:cNvPicPr>
          <p:nvPr/>
        </p:nvPicPr>
        <p:blipFill>
          <a:blip r:embed="rId2" cstate="print"/>
          <a:srcRect l="42152" t="-1135" r="39058" b="100000"/>
          <a:stretch>
            <a:fillRect/>
          </a:stretch>
        </p:blipFill>
        <p:spPr>
          <a:xfrm>
            <a:off x="5785813" y="2038438"/>
            <a:ext cx="752922" cy="40528"/>
          </a:xfrm>
          <a:custGeom>
            <a:avLst/>
            <a:gdLst>
              <a:gd name="connsiteX0" fmla="*/ 376461 w 752922"/>
              <a:gd name="connsiteY0" fmla="*/ 0 h 40528"/>
              <a:gd name="connsiteX1" fmla="*/ 736436 w 752922"/>
              <a:gd name="connsiteY1" fmla="*/ 36289 h 40528"/>
              <a:gd name="connsiteX2" fmla="*/ 752922 w 752922"/>
              <a:gd name="connsiteY2" fmla="*/ 40528 h 40528"/>
              <a:gd name="connsiteX3" fmla="*/ 0 w 752922"/>
              <a:gd name="connsiteY3" fmla="*/ 40528 h 40528"/>
              <a:gd name="connsiteX4" fmla="*/ 16486 w 752922"/>
              <a:gd name="connsiteY4" fmla="*/ 36289 h 40528"/>
              <a:gd name="connsiteX5" fmla="*/ 376461 w 752922"/>
              <a:gd name="connsiteY5" fmla="*/ 0 h 40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2922" h="40528">
                <a:moveTo>
                  <a:pt x="376461" y="0"/>
                </a:moveTo>
                <a:cubicBezTo>
                  <a:pt x="499770" y="0"/>
                  <a:pt x="620161" y="12495"/>
                  <a:pt x="736436" y="36289"/>
                </a:cubicBezTo>
                <a:lnTo>
                  <a:pt x="752922" y="40528"/>
                </a:lnTo>
                <a:lnTo>
                  <a:pt x="0" y="40528"/>
                </a:lnTo>
                <a:lnTo>
                  <a:pt x="16486" y="36289"/>
                </a:lnTo>
                <a:cubicBezTo>
                  <a:pt x="132761" y="12495"/>
                  <a:pt x="253152" y="0"/>
                  <a:pt x="376461" y="0"/>
                </a:cubicBezTo>
                <a:close/>
              </a:path>
            </a:pathLst>
          </a:custGeom>
        </p:spPr>
      </p:pic>
      <p:pic>
        <p:nvPicPr>
          <p:cNvPr id="73" name="图片 72"/>
          <p:cNvPicPr>
            <a:picLocks noChangeAspect="1"/>
          </p:cNvPicPr>
          <p:nvPr/>
        </p:nvPicPr>
        <p:blipFill>
          <a:blip r:embed="rId3" cstate="print">
            <a:lum bright="-2000"/>
          </a:blip>
          <a:srcRect l="13001" t="5632" r="9907" b="7864"/>
          <a:stretch>
            <a:fillRect/>
          </a:stretch>
        </p:blipFill>
        <p:spPr>
          <a:xfrm>
            <a:off x="4617767" y="2280097"/>
            <a:ext cx="3089017" cy="3089018"/>
          </a:xfrm>
          <a:custGeom>
            <a:avLst/>
            <a:gdLst>
              <a:gd name="connsiteX0" fmla="*/ 1544508 w 3089017"/>
              <a:gd name="connsiteY0" fmla="*/ 0 h 3089018"/>
              <a:gd name="connsiteX1" fmla="*/ 3089017 w 3089017"/>
              <a:gd name="connsiteY1" fmla="*/ 1544509 h 3089018"/>
              <a:gd name="connsiteX2" fmla="*/ 1544508 w 3089017"/>
              <a:gd name="connsiteY2" fmla="*/ 3089018 h 3089018"/>
              <a:gd name="connsiteX3" fmla="*/ 0 w 3089017"/>
              <a:gd name="connsiteY3" fmla="*/ 1544509 h 3089018"/>
              <a:gd name="connsiteX4" fmla="*/ 1544508 w 3089017"/>
              <a:gd name="connsiteY4" fmla="*/ 0 h 3089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89017" h="3089018">
                <a:moveTo>
                  <a:pt x="1544508" y="0"/>
                </a:moveTo>
                <a:cubicBezTo>
                  <a:pt x="2397517" y="0"/>
                  <a:pt x="3089017" y="691501"/>
                  <a:pt x="3089017" y="1544509"/>
                </a:cubicBezTo>
                <a:cubicBezTo>
                  <a:pt x="3089017" y="2397518"/>
                  <a:pt x="2397517" y="3089018"/>
                  <a:pt x="1544508" y="3089018"/>
                </a:cubicBezTo>
                <a:cubicBezTo>
                  <a:pt x="691500" y="3089018"/>
                  <a:pt x="0" y="2397518"/>
                  <a:pt x="0" y="1544509"/>
                </a:cubicBezTo>
                <a:cubicBezTo>
                  <a:pt x="0" y="691501"/>
                  <a:pt x="691500" y="0"/>
                  <a:pt x="1544508" y="0"/>
                </a:cubicBezTo>
                <a:close/>
              </a:path>
            </a:pathLst>
          </a:custGeom>
        </p:spPr>
      </p:pic>
      <p:grpSp>
        <p:nvGrpSpPr>
          <p:cNvPr id="97" name="组合 96"/>
          <p:cNvGrpSpPr/>
          <p:nvPr/>
        </p:nvGrpSpPr>
        <p:grpSpPr>
          <a:xfrm>
            <a:off x="3527201" y="3394153"/>
            <a:ext cx="953452" cy="953452"/>
            <a:chOff x="3322330" y="3945706"/>
            <a:chExt cx="953452" cy="953452"/>
          </a:xfrm>
        </p:grpSpPr>
        <p:sp>
          <p:nvSpPr>
            <p:cNvPr id="45" name="任意多边形 44"/>
            <p:cNvSpPr/>
            <p:nvPr/>
          </p:nvSpPr>
          <p:spPr>
            <a:xfrm>
              <a:off x="3322330" y="3945706"/>
              <a:ext cx="953452" cy="953452"/>
            </a:xfrm>
            <a:custGeom>
              <a:avLst/>
              <a:gdLst>
                <a:gd name="connsiteX0" fmla="*/ 1998369 w 3996738"/>
                <a:gd name="connsiteY0" fmla="*/ 0 h 3996738"/>
                <a:gd name="connsiteX1" fmla="*/ 3996738 w 3996738"/>
                <a:gd name="connsiteY1" fmla="*/ 1998369 h 3996738"/>
                <a:gd name="connsiteX2" fmla="*/ 1998369 w 3996738"/>
                <a:gd name="connsiteY2" fmla="*/ 3996738 h 3996738"/>
                <a:gd name="connsiteX3" fmla="*/ 0 w 3996738"/>
                <a:gd name="connsiteY3" fmla="*/ 1998369 h 3996738"/>
                <a:gd name="connsiteX4" fmla="*/ 1998369 w 3996738"/>
                <a:gd name="connsiteY4" fmla="*/ 0 h 3996738"/>
                <a:gd name="connsiteX5" fmla="*/ 1998369 w 3996738"/>
                <a:gd name="connsiteY5" fmla="*/ 270369 h 3996738"/>
                <a:gd name="connsiteX6" fmla="*/ 270369 w 3996738"/>
                <a:gd name="connsiteY6" fmla="*/ 1998369 h 3996738"/>
                <a:gd name="connsiteX7" fmla="*/ 1998369 w 3996738"/>
                <a:gd name="connsiteY7" fmla="*/ 3726369 h 3996738"/>
                <a:gd name="connsiteX8" fmla="*/ 3726369 w 3996738"/>
                <a:gd name="connsiteY8" fmla="*/ 1998369 h 3996738"/>
                <a:gd name="connsiteX9" fmla="*/ 1998369 w 3996738"/>
                <a:gd name="connsiteY9" fmla="*/ 270369 h 399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96738" h="3996738">
                  <a:moveTo>
                    <a:pt x="1998369" y="0"/>
                  </a:moveTo>
                  <a:cubicBezTo>
                    <a:pt x="3102038" y="0"/>
                    <a:pt x="3996738" y="894700"/>
                    <a:pt x="3996738" y="1998369"/>
                  </a:cubicBezTo>
                  <a:cubicBezTo>
                    <a:pt x="3996738" y="3102038"/>
                    <a:pt x="3102038" y="3996738"/>
                    <a:pt x="1998369" y="3996738"/>
                  </a:cubicBezTo>
                  <a:cubicBezTo>
                    <a:pt x="894700" y="3996738"/>
                    <a:pt x="0" y="3102038"/>
                    <a:pt x="0" y="1998369"/>
                  </a:cubicBezTo>
                  <a:cubicBezTo>
                    <a:pt x="0" y="894700"/>
                    <a:pt x="894700" y="0"/>
                    <a:pt x="1998369" y="0"/>
                  </a:cubicBezTo>
                  <a:close/>
                  <a:moveTo>
                    <a:pt x="1998369" y="270369"/>
                  </a:moveTo>
                  <a:cubicBezTo>
                    <a:pt x="1044021" y="270369"/>
                    <a:pt x="270369" y="1044021"/>
                    <a:pt x="270369" y="1998369"/>
                  </a:cubicBezTo>
                  <a:cubicBezTo>
                    <a:pt x="270369" y="2952717"/>
                    <a:pt x="1044021" y="3726369"/>
                    <a:pt x="1998369" y="3726369"/>
                  </a:cubicBezTo>
                  <a:cubicBezTo>
                    <a:pt x="2952717" y="3726369"/>
                    <a:pt x="3726369" y="2952717"/>
                    <a:pt x="3726369" y="1998369"/>
                  </a:cubicBezTo>
                  <a:cubicBezTo>
                    <a:pt x="3726369" y="1044021"/>
                    <a:pt x="2952717" y="270369"/>
                    <a:pt x="1998369" y="270369"/>
                  </a:cubicBezTo>
                  <a:close/>
                </a:path>
              </a:pathLst>
            </a:custGeom>
            <a:solidFill>
              <a:schemeClr val="bg1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91" name="组合 90"/>
            <p:cNvGrpSpPr/>
            <p:nvPr/>
          </p:nvGrpSpPr>
          <p:grpSpPr>
            <a:xfrm>
              <a:off x="3623236" y="4181233"/>
              <a:ext cx="365213" cy="543658"/>
              <a:chOff x="1445730" y="3881077"/>
              <a:chExt cx="1153179" cy="1716629"/>
            </a:xfrm>
          </p:grpSpPr>
          <p:sp>
            <p:nvSpPr>
              <p:cNvPr id="79" name="Freeform 5"/>
              <p:cNvSpPr>
                <a:spLocks/>
              </p:cNvSpPr>
              <p:nvPr/>
            </p:nvSpPr>
            <p:spPr bwMode="auto">
              <a:xfrm>
                <a:off x="1445730" y="4088166"/>
                <a:ext cx="290134" cy="400512"/>
              </a:xfrm>
              <a:custGeom>
                <a:avLst/>
                <a:gdLst>
                  <a:gd name="T0" fmla="*/ 0 w 268"/>
                  <a:gd name="T1" fmla="*/ 232 h 370"/>
                  <a:gd name="T2" fmla="*/ 134 w 268"/>
                  <a:gd name="T3" fmla="*/ 370 h 370"/>
                  <a:gd name="T4" fmla="*/ 268 w 268"/>
                  <a:gd name="T5" fmla="*/ 232 h 370"/>
                  <a:gd name="T6" fmla="*/ 184 w 268"/>
                  <a:gd name="T7" fmla="*/ 105 h 370"/>
                  <a:gd name="T8" fmla="*/ 193 w 268"/>
                  <a:gd name="T9" fmla="*/ 94 h 370"/>
                  <a:gd name="T10" fmla="*/ 228 w 268"/>
                  <a:gd name="T11" fmla="*/ 44 h 370"/>
                  <a:gd name="T12" fmla="*/ 187 w 268"/>
                  <a:gd name="T13" fmla="*/ 48 h 370"/>
                  <a:gd name="T14" fmla="*/ 38 w 268"/>
                  <a:gd name="T15" fmla="*/ 19 h 370"/>
                  <a:gd name="T16" fmla="*/ 91 w 268"/>
                  <a:gd name="T17" fmla="*/ 94 h 370"/>
                  <a:gd name="T18" fmla="*/ 97 w 268"/>
                  <a:gd name="T19" fmla="*/ 101 h 370"/>
                  <a:gd name="T20" fmla="*/ 0 w 268"/>
                  <a:gd name="T21" fmla="*/ 232 h 3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8" h="370">
                    <a:moveTo>
                      <a:pt x="0" y="232"/>
                    </a:moveTo>
                    <a:cubicBezTo>
                      <a:pt x="0" y="308"/>
                      <a:pt x="60" y="370"/>
                      <a:pt x="134" y="370"/>
                    </a:cubicBezTo>
                    <a:cubicBezTo>
                      <a:pt x="208" y="370"/>
                      <a:pt x="268" y="308"/>
                      <a:pt x="268" y="232"/>
                    </a:cubicBezTo>
                    <a:cubicBezTo>
                      <a:pt x="268" y="175"/>
                      <a:pt x="233" y="126"/>
                      <a:pt x="184" y="105"/>
                    </a:cubicBezTo>
                    <a:cubicBezTo>
                      <a:pt x="193" y="94"/>
                      <a:pt x="193" y="94"/>
                      <a:pt x="193" y="94"/>
                    </a:cubicBezTo>
                    <a:cubicBezTo>
                      <a:pt x="193" y="94"/>
                      <a:pt x="225" y="47"/>
                      <a:pt x="228" y="44"/>
                    </a:cubicBezTo>
                    <a:cubicBezTo>
                      <a:pt x="233" y="36"/>
                      <a:pt x="241" y="0"/>
                      <a:pt x="187" y="48"/>
                    </a:cubicBezTo>
                    <a:cubicBezTo>
                      <a:pt x="134" y="97"/>
                      <a:pt x="42" y="7"/>
                      <a:pt x="38" y="19"/>
                    </a:cubicBezTo>
                    <a:cubicBezTo>
                      <a:pt x="35" y="31"/>
                      <a:pt x="91" y="94"/>
                      <a:pt x="91" y="94"/>
                    </a:cubicBezTo>
                    <a:cubicBezTo>
                      <a:pt x="97" y="101"/>
                      <a:pt x="97" y="101"/>
                      <a:pt x="97" y="101"/>
                    </a:cubicBezTo>
                    <a:cubicBezTo>
                      <a:pt x="41" y="117"/>
                      <a:pt x="0" y="170"/>
                      <a:pt x="0" y="23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" name="Freeform 6"/>
              <p:cNvSpPr>
                <a:spLocks/>
              </p:cNvSpPr>
              <p:nvPr/>
            </p:nvSpPr>
            <p:spPr bwMode="auto">
              <a:xfrm>
                <a:off x="1539288" y="4249001"/>
                <a:ext cx="108275" cy="167143"/>
              </a:xfrm>
              <a:custGeom>
                <a:avLst/>
                <a:gdLst>
                  <a:gd name="T0" fmla="*/ 42 w 100"/>
                  <a:gd name="T1" fmla="*/ 87 h 155"/>
                  <a:gd name="T2" fmla="*/ 1 w 100"/>
                  <a:gd name="T3" fmla="*/ 52 h 155"/>
                  <a:gd name="T4" fmla="*/ 39 w 100"/>
                  <a:gd name="T5" fmla="*/ 18 h 155"/>
                  <a:gd name="T6" fmla="*/ 39 w 100"/>
                  <a:gd name="T7" fmla="*/ 0 h 155"/>
                  <a:gd name="T8" fmla="*/ 61 w 100"/>
                  <a:gd name="T9" fmla="*/ 0 h 155"/>
                  <a:gd name="T10" fmla="*/ 61 w 100"/>
                  <a:gd name="T11" fmla="*/ 17 h 155"/>
                  <a:gd name="T12" fmla="*/ 94 w 100"/>
                  <a:gd name="T13" fmla="*/ 23 h 155"/>
                  <a:gd name="T14" fmla="*/ 87 w 100"/>
                  <a:gd name="T15" fmla="*/ 45 h 155"/>
                  <a:gd name="T16" fmla="*/ 55 w 100"/>
                  <a:gd name="T17" fmla="*/ 38 h 155"/>
                  <a:gd name="T18" fmla="*/ 36 w 100"/>
                  <a:gd name="T19" fmla="*/ 49 h 155"/>
                  <a:gd name="T20" fmla="*/ 62 w 100"/>
                  <a:gd name="T21" fmla="*/ 65 h 155"/>
                  <a:gd name="T22" fmla="*/ 100 w 100"/>
                  <a:gd name="T23" fmla="*/ 101 h 155"/>
                  <a:gd name="T24" fmla="*/ 60 w 100"/>
                  <a:gd name="T25" fmla="*/ 136 h 155"/>
                  <a:gd name="T26" fmla="*/ 60 w 100"/>
                  <a:gd name="T27" fmla="*/ 155 h 155"/>
                  <a:gd name="T28" fmla="*/ 38 w 100"/>
                  <a:gd name="T29" fmla="*/ 155 h 155"/>
                  <a:gd name="T30" fmla="*/ 38 w 100"/>
                  <a:gd name="T31" fmla="*/ 137 h 155"/>
                  <a:gd name="T32" fmla="*/ 0 w 100"/>
                  <a:gd name="T33" fmla="*/ 129 h 155"/>
                  <a:gd name="T34" fmla="*/ 7 w 100"/>
                  <a:gd name="T35" fmla="*/ 107 h 155"/>
                  <a:gd name="T36" fmla="*/ 44 w 100"/>
                  <a:gd name="T37" fmla="*/ 115 h 155"/>
                  <a:gd name="T38" fmla="*/ 65 w 100"/>
                  <a:gd name="T39" fmla="*/ 103 h 155"/>
                  <a:gd name="T40" fmla="*/ 42 w 100"/>
                  <a:gd name="T41" fmla="*/ 87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0" h="155">
                    <a:moveTo>
                      <a:pt x="42" y="87"/>
                    </a:moveTo>
                    <a:cubicBezTo>
                      <a:pt x="18" y="80"/>
                      <a:pt x="1" y="71"/>
                      <a:pt x="1" y="52"/>
                    </a:cubicBezTo>
                    <a:cubicBezTo>
                      <a:pt x="1" y="35"/>
                      <a:pt x="15" y="22"/>
                      <a:pt x="39" y="18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61" y="17"/>
                      <a:pt x="61" y="17"/>
                      <a:pt x="61" y="17"/>
                    </a:cubicBezTo>
                    <a:cubicBezTo>
                      <a:pt x="76" y="18"/>
                      <a:pt x="86" y="20"/>
                      <a:pt x="94" y="23"/>
                    </a:cubicBezTo>
                    <a:cubicBezTo>
                      <a:pt x="87" y="45"/>
                      <a:pt x="87" y="45"/>
                      <a:pt x="87" y="45"/>
                    </a:cubicBezTo>
                    <a:cubicBezTo>
                      <a:pt x="81" y="43"/>
                      <a:pt x="71" y="38"/>
                      <a:pt x="55" y="38"/>
                    </a:cubicBezTo>
                    <a:cubicBezTo>
                      <a:pt x="40" y="38"/>
                      <a:pt x="36" y="44"/>
                      <a:pt x="36" y="49"/>
                    </a:cubicBezTo>
                    <a:cubicBezTo>
                      <a:pt x="36" y="55"/>
                      <a:pt x="43" y="59"/>
                      <a:pt x="62" y="65"/>
                    </a:cubicBezTo>
                    <a:cubicBezTo>
                      <a:pt x="89" y="73"/>
                      <a:pt x="100" y="83"/>
                      <a:pt x="100" y="101"/>
                    </a:cubicBezTo>
                    <a:cubicBezTo>
                      <a:pt x="100" y="117"/>
                      <a:pt x="86" y="132"/>
                      <a:pt x="60" y="136"/>
                    </a:cubicBezTo>
                    <a:cubicBezTo>
                      <a:pt x="60" y="155"/>
                      <a:pt x="60" y="155"/>
                      <a:pt x="60" y="155"/>
                    </a:cubicBezTo>
                    <a:cubicBezTo>
                      <a:pt x="38" y="155"/>
                      <a:pt x="38" y="155"/>
                      <a:pt x="38" y="155"/>
                    </a:cubicBezTo>
                    <a:cubicBezTo>
                      <a:pt x="38" y="137"/>
                      <a:pt x="38" y="137"/>
                      <a:pt x="38" y="137"/>
                    </a:cubicBezTo>
                    <a:cubicBezTo>
                      <a:pt x="23" y="136"/>
                      <a:pt x="8" y="133"/>
                      <a:pt x="0" y="129"/>
                    </a:cubicBezTo>
                    <a:cubicBezTo>
                      <a:pt x="7" y="107"/>
                      <a:pt x="7" y="107"/>
                      <a:pt x="7" y="107"/>
                    </a:cubicBezTo>
                    <a:cubicBezTo>
                      <a:pt x="16" y="111"/>
                      <a:pt x="29" y="115"/>
                      <a:pt x="44" y="115"/>
                    </a:cubicBezTo>
                    <a:cubicBezTo>
                      <a:pt x="57" y="115"/>
                      <a:pt x="65" y="111"/>
                      <a:pt x="65" y="103"/>
                    </a:cubicBezTo>
                    <a:cubicBezTo>
                      <a:pt x="65" y="96"/>
                      <a:pt x="58" y="92"/>
                      <a:pt x="42" y="87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" name="Line 7"/>
              <p:cNvSpPr>
                <a:spLocks noChangeShapeType="1"/>
              </p:cNvSpPr>
              <p:nvPr/>
            </p:nvSpPr>
            <p:spPr bwMode="auto">
              <a:xfrm>
                <a:off x="1585541" y="4342559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" name="Line 8"/>
              <p:cNvSpPr>
                <a:spLocks noChangeShapeType="1"/>
              </p:cNvSpPr>
              <p:nvPr/>
            </p:nvSpPr>
            <p:spPr bwMode="auto">
              <a:xfrm>
                <a:off x="1585541" y="4342559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" name="Freeform 9"/>
              <p:cNvSpPr>
                <a:spLocks noEditPoints="1"/>
              </p:cNvSpPr>
              <p:nvPr/>
            </p:nvSpPr>
            <p:spPr bwMode="auto">
              <a:xfrm>
                <a:off x="2280392" y="4171211"/>
                <a:ext cx="318517" cy="317466"/>
              </a:xfrm>
              <a:custGeom>
                <a:avLst/>
                <a:gdLst>
                  <a:gd name="T0" fmla="*/ 147 w 294"/>
                  <a:gd name="T1" fmla="*/ 0 h 294"/>
                  <a:gd name="T2" fmla="*/ 0 w 294"/>
                  <a:gd name="T3" fmla="*/ 147 h 294"/>
                  <a:gd name="T4" fmla="*/ 147 w 294"/>
                  <a:gd name="T5" fmla="*/ 294 h 294"/>
                  <a:gd name="T6" fmla="*/ 294 w 294"/>
                  <a:gd name="T7" fmla="*/ 147 h 294"/>
                  <a:gd name="T8" fmla="*/ 147 w 294"/>
                  <a:gd name="T9" fmla="*/ 0 h 294"/>
                  <a:gd name="T10" fmla="*/ 147 w 294"/>
                  <a:gd name="T11" fmla="*/ 261 h 294"/>
                  <a:gd name="T12" fmla="*/ 33 w 294"/>
                  <a:gd name="T13" fmla="*/ 147 h 294"/>
                  <a:gd name="T14" fmla="*/ 147 w 294"/>
                  <a:gd name="T15" fmla="*/ 32 h 294"/>
                  <a:gd name="T16" fmla="*/ 262 w 294"/>
                  <a:gd name="T17" fmla="*/ 147 h 294"/>
                  <a:gd name="T18" fmla="*/ 147 w 294"/>
                  <a:gd name="T19" fmla="*/ 261 h 294"/>
                  <a:gd name="T20" fmla="*/ 147 w 294"/>
                  <a:gd name="T21" fmla="*/ 261 h 294"/>
                  <a:gd name="T22" fmla="*/ 147 w 294"/>
                  <a:gd name="T23" fmla="*/ 261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94" h="294">
                    <a:moveTo>
                      <a:pt x="147" y="0"/>
                    </a:moveTo>
                    <a:cubicBezTo>
                      <a:pt x="66" y="0"/>
                      <a:pt x="0" y="66"/>
                      <a:pt x="0" y="147"/>
                    </a:cubicBezTo>
                    <a:cubicBezTo>
                      <a:pt x="0" y="228"/>
                      <a:pt x="66" y="294"/>
                      <a:pt x="147" y="294"/>
                    </a:cubicBezTo>
                    <a:cubicBezTo>
                      <a:pt x="228" y="294"/>
                      <a:pt x="294" y="228"/>
                      <a:pt x="294" y="147"/>
                    </a:cubicBezTo>
                    <a:cubicBezTo>
                      <a:pt x="294" y="66"/>
                      <a:pt x="228" y="0"/>
                      <a:pt x="147" y="0"/>
                    </a:cubicBezTo>
                    <a:close/>
                    <a:moveTo>
                      <a:pt x="147" y="261"/>
                    </a:moveTo>
                    <a:cubicBezTo>
                      <a:pt x="84" y="261"/>
                      <a:pt x="33" y="210"/>
                      <a:pt x="33" y="147"/>
                    </a:cubicBezTo>
                    <a:cubicBezTo>
                      <a:pt x="33" y="83"/>
                      <a:pt x="84" y="32"/>
                      <a:pt x="147" y="32"/>
                    </a:cubicBezTo>
                    <a:cubicBezTo>
                      <a:pt x="210" y="32"/>
                      <a:pt x="262" y="83"/>
                      <a:pt x="262" y="147"/>
                    </a:cubicBezTo>
                    <a:cubicBezTo>
                      <a:pt x="262" y="210"/>
                      <a:pt x="210" y="261"/>
                      <a:pt x="147" y="261"/>
                    </a:cubicBezTo>
                    <a:close/>
                    <a:moveTo>
                      <a:pt x="147" y="261"/>
                    </a:moveTo>
                    <a:cubicBezTo>
                      <a:pt x="147" y="261"/>
                      <a:pt x="147" y="261"/>
                      <a:pt x="147" y="26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" name="Freeform 10"/>
              <p:cNvSpPr>
                <a:spLocks noEditPoints="1"/>
              </p:cNvSpPr>
              <p:nvPr/>
            </p:nvSpPr>
            <p:spPr bwMode="auto">
              <a:xfrm>
                <a:off x="2334004" y="4273179"/>
                <a:ext cx="213396" cy="81995"/>
              </a:xfrm>
              <a:custGeom>
                <a:avLst/>
                <a:gdLst>
                  <a:gd name="T0" fmla="*/ 192 w 197"/>
                  <a:gd name="T1" fmla="*/ 11 h 76"/>
                  <a:gd name="T2" fmla="*/ 170 w 197"/>
                  <a:gd name="T3" fmla="*/ 4 h 76"/>
                  <a:gd name="T4" fmla="*/ 102 w 197"/>
                  <a:gd name="T5" fmla="*/ 41 h 76"/>
                  <a:gd name="T6" fmla="*/ 25 w 197"/>
                  <a:gd name="T7" fmla="*/ 4 h 76"/>
                  <a:gd name="T8" fmla="*/ 4 w 197"/>
                  <a:gd name="T9" fmla="*/ 11 h 76"/>
                  <a:gd name="T10" fmla="*/ 11 w 197"/>
                  <a:gd name="T11" fmla="*/ 33 h 76"/>
                  <a:gd name="T12" fmla="*/ 95 w 197"/>
                  <a:gd name="T13" fmla="*/ 74 h 76"/>
                  <a:gd name="T14" fmla="*/ 102 w 197"/>
                  <a:gd name="T15" fmla="*/ 76 h 76"/>
                  <a:gd name="T16" fmla="*/ 110 w 197"/>
                  <a:gd name="T17" fmla="*/ 74 h 76"/>
                  <a:gd name="T18" fmla="*/ 186 w 197"/>
                  <a:gd name="T19" fmla="*/ 33 h 76"/>
                  <a:gd name="T20" fmla="*/ 192 w 197"/>
                  <a:gd name="T21" fmla="*/ 11 h 76"/>
                  <a:gd name="T22" fmla="*/ 192 w 197"/>
                  <a:gd name="T23" fmla="*/ 11 h 76"/>
                  <a:gd name="T24" fmla="*/ 192 w 197"/>
                  <a:gd name="T25" fmla="*/ 1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7" h="76">
                    <a:moveTo>
                      <a:pt x="192" y="11"/>
                    </a:moveTo>
                    <a:cubicBezTo>
                      <a:pt x="188" y="3"/>
                      <a:pt x="178" y="0"/>
                      <a:pt x="170" y="4"/>
                    </a:cubicBezTo>
                    <a:cubicBezTo>
                      <a:pt x="102" y="41"/>
                      <a:pt x="102" y="41"/>
                      <a:pt x="102" y="41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17" y="0"/>
                      <a:pt x="7" y="3"/>
                      <a:pt x="4" y="11"/>
                    </a:cubicBezTo>
                    <a:cubicBezTo>
                      <a:pt x="0" y="20"/>
                      <a:pt x="3" y="29"/>
                      <a:pt x="11" y="33"/>
                    </a:cubicBezTo>
                    <a:cubicBezTo>
                      <a:pt x="95" y="74"/>
                      <a:pt x="95" y="74"/>
                      <a:pt x="95" y="74"/>
                    </a:cubicBezTo>
                    <a:cubicBezTo>
                      <a:pt x="97" y="76"/>
                      <a:pt x="100" y="76"/>
                      <a:pt x="102" y="76"/>
                    </a:cubicBezTo>
                    <a:cubicBezTo>
                      <a:pt x="105" y="76"/>
                      <a:pt x="108" y="75"/>
                      <a:pt x="110" y="74"/>
                    </a:cubicBezTo>
                    <a:cubicBezTo>
                      <a:pt x="186" y="33"/>
                      <a:pt x="186" y="33"/>
                      <a:pt x="186" y="33"/>
                    </a:cubicBezTo>
                    <a:cubicBezTo>
                      <a:pt x="194" y="29"/>
                      <a:pt x="197" y="19"/>
                      <a:pt x="192" y="11"/>
                    </a:cubicBezTo>
                    <a:close/>
                    <a:moveTo>
                      <a:pt x="192" y="11"/>
                    </a:moveTo>
                    <a:cubicBezTo>
                      <a:pt x="192" y="11"/>
                      <a:pt x="192" y="11"/>
                      <a:pt x="192" y="11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" name="Freeform 11"/>
              <p:cNvSpPr>
                <a:spLocks/>
              </p:cNvSpPr>
              <p:nvPr/>
            </p:nvSpPr>
            <p:spPr bwMode="auto">
              <a:xfrm>
                <a:off x="1833627" y="3881077"/>
                <a:ext cx="350053" cy="354258"/>
              </a:xfrm>
              <a:custGeom>
                <a:avLst/>
                <a:gdLst>
                  <a:gd name="T0" fmla="*/ 161 w 323"/>
                  <a:gd name="T1" fmla="*/ 328 h 328"/>
                  <a:gd name="T2" fmla="*/ 323 w 323"/>
                  <a:gd name="T3" fmla="*/ 164 h 328"/>
                  <a:gd name="T4" fmla="*/ 161 w 323"/>
                  <a:gd name="T5" fmla="*/ 0 h 328"/>
                  <a:gd name="T6" fmla="*/ 0 w 323"/>
                  <a:gd name="T7" fmla="*/ 164 h 328"/>
                  <a:gd name="T8" fmla="*/ 161 w 323"/>
                  <a:gd name="T9" fmla="*/ 328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3" h="328">
                    <a:moveTo>
                      <a:pt x="161" y="328"/>
                    </a:moveTo>
                    <a:cubicBezTo>
                      <a:pt x="251" y="327"/>
                      <a:pt x="323" y="254"/>
                      <a:pt x="323" y="164"/>
                    </a:cubicBezTo>
                    <a:cubicBezTo>
                      <a:pt x="323" y="75"/>
                      <a:pt x="251" y="2"/>
                      <a:pt x="161" y="0"/>
                    </a:cubicBezTo>
                    <a:cubicBezTo>
                      <a:pt x="72" y="2"/>
                      <a:pt x="0" y="75"/>
                      <a:pt x="0" y="164"/>
                    </a:cubicBezTo>
                    <a:cubicBezTo>
                      <a:pt x="0" y="254"/>
                      <a:pt x="72" y="327"/>
                      <a:pt x="161" y="32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" name="Line 12"/>
              <p:cNvSpPr>
                <a:spLocks noChangeShapeType="1"/>
              </p:cNvSpPr>
              <p:nvPr/>
            </p:nvSpPr>
            <p:spPr bwMode="auto">
              <a:xfrm>
                <a:off x="2008128" y="4235335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" name="Line 13"/>
              <p:cNvSpPr>
                <a:spLocks noChangeShapeType="1"/>
              </p:cNvSpPr>
              <p:nvPr/>
            </p:nvSpPr>
            <p:spPr bwMode="auto">
              <a:xfrm>
                <a:off x="2008128" y="4235335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" name="Freeform 14"/>
              <p:cNvSpPr>
                <a:spLocks/>
              </p:cNvSpPr>
              <p:nvPr/>
            </p:nvSpPr>
            <p:spPr bwMode="auto">
              <a:xfrm>
                <a:off x="1486727" y="4246899"/>
                <a:ext cx="1043853" cy="1350807"/>
              </a:xfrm>
              <a:custGeom>
                <a:avLst/>
                <a:gdLst>
                  <a:gd name="T0" fmla="*/ 901 w 965"/>
                  <a:gd name="T1" fmla="*/ 261 h 1250"/>
                  <a:gd name="T2" fmla="*/ 769 w 965"/>
                  <a:gd name="T3" fmla="*/ 256 h 1250"/>
                  <a:gd name="T4" fmla="*/ 740 w 965"/>
                  <a:gd name="T5" fmla="*/ 213 h 1250"/>
                  <a:gd name="T6" fmla="*/ 623 w 965"/>
                  <a:gd name="T7" fmla="*/ 62 h 1250"/>
                  <a:gd name="T8" fmla="*/ 524 w 965"/>
                  <a:gd name="T9" fmla="*/ 0 h 1250"/>
                  <a:gd name="T10" fmla="*/ 524 w 965"/>
                  <a:gd name="T11" fmla="*/ 0 h 1250"/>
                  <a:gd name="T12" fmla="*/ 484 w 965"/>
                  <a:gd name="T13" fmla="*/ 41 h 1250"/>
                  <a:gd name="T14" fmla="*/ 482 w 965"/>
                  <a:gd name="T15" fmla="*/ 40 h 1250"/>
                  <a:gd name="T16" fmla="*/ 524 w 965"/>
                  <a:gd name="T17" fmla="*/ 312 h 1250"/>
                  <a:gd name="T18" fmla="*/ 484 w 965"/>
                  <a:gd name="T19" fmla="*/ 366 h 1250"/>
                  <a:gd name="T20" fmla="*/ 484 w 965"/>
                  <a:gd name="T21" fmla="*/ 366 h 1250"/>
                  <a:gd name="T22" fmla="*/ 482 w 965"/>
                  <a:gd name="T23" fmla="*/ 365 h 1250"/>
                  <a:gd name="T24" fmla="*/ 481 w 965"/>
                  <a:gd name="T25" fmla="*/ 366 h 1250"/>
                  <a:gd name="T26" fmla="*/ 481 w 965"/>
                  <a:gd name="T27" fmla="*/ 366 h 1250"/>
                  <a:gd name="T28" fmla="*/ 441 w 965"/>
                  <a:gd name="T29" fmla="*/ 312 h 1250"/>
                  <a:gd name="T30" fmla="*/ 482 w 965"/>
                  <a:gd name="T31" fmla="*/ 40 h 1250"/>
                  <a:gd name="T32" fmla="*/ 481 w 965"/>
                  <a:gd name="T33" fmla="*/ 41 h 1250"/>
                  <a:gd name="T34" fmla="*/ 441 w 965"/>
                  <a:gd name="T35" fmla="*/ 0 h 1250"/>
                  <a:gd name="T36" fmla="*/ 441 w 965"/>
                  <a:gd name="T37" fmla="*/ 0 h 1250"/>
                  <a:gd name="T38" fmla="*/ 342 w 965"/>
                  <a:gd name="T39" fmla="*/ 62 h 1250"/>
                  <a:gd name="T40" fmla="*/ 225 w 965"/>
                  <a:gd name="T41" fmla="*/ 213 h 1250"/>
                  <a:gd name="T42" fmla="*/ 196 w 965"/>
                  <a:gd name="T43" fmla="*/ 256 h 1250"/>
                  <a:gd name="T44" fmla="*/ 64 w 965"/>
                  <a:gd name="T45" fmla="*/ 261 h 1250"/>
                  <a:gd name="T46" fmla="*/ 0 w 965"/>
                  <a:gd name="T47" fmla="*/ 325 h 1250"/>
                  <a:gd name="T48" fmla="*/ 64 w 965"/>
                  <a:gd name="T49" fmla="*/ 389 h 1250"/>
                  <a:gd name="T50" fmla="*/ 64 w 965"/>
                  <a:gd name="T51" fmla="*/ 389 h 1250"/>
                  <a:gd name="T52" fmla="*/ 256 w 965"/>
                  <a:gd name="T53" fmla="*/ 371 h 1250"/>
                  <a:gd name="T54" fmla="*/ 313 w 965"/>
                  <a:gd name="T55" fmla="*/ 311 h 1250"/>
                  <a:gd name="T56" fmla="*/ 313 w 965"/>
                  <a:gd name="T57" fmla="*/ 500 h 1250"/>
                  <a:gd name="T58" fmla="*/ 328 w 965"/>
                  <a:gd name="T59" fmla="*/ 564 h 1250"/>
                  <a:gd name="T60" fmla="*/ 327 w 965"/>
                  <a:gd name="T61" fmla="*/ 1174 h 1250"/>
                  <a:gd name="T62" fmla="*/ 398 w 965"/>
                  <a:gd name="T63" fmla="*/ 1250 h 1250"/>
                  <a:gd name="T64" fmla="*/ 474 w 965"/>
                  <a:gd name="T65" fmla="*/ 1174 h 1250"/>
                  <a:gd name="T66" fmla="*/ 474 w 965"/>
                  <a:gd name="T67" fmla="*/ 650 h 1250"/>
                  <a:gd name="T68" fmla="*/ 482 w 965"/>
                  <a:gd name="T69" fmla="*/ 650 h 1250"/>
                  <a:gd name="T70" fmla="*/ 491 w 965"/>
                  <a:gd name="T71" fmla="*/ 650 h 1250"/>
                  <a:gd name="T72" fmla="*/ 491 w 965"/>
                  <a:gd name="T73" fmla="*/ 1174 h 1250"/>
                  <a:gd name="T74" fmla="*/ 566 w 965"/>
                  <a:gd name="T75" fmla="*/ 1250 h 1250"/>
                  <a:gd name="T76" fmla="*/ 638 w 965"/>
                  <a:gd name="T77" fmla="*/ 1174 h 1250"/>
                  <a:gd name="T78" fmla="*/ 637 w 965"/>
                  <a:gd name="T79" fmla="*/ 564 h 1250"/>
                  <a:gd name="T80" fmla="*/ 652 w 965"/>
                  <a:gd name="T81" fmla="*/ 500 h 1250"/>
                  <a:gd name="T82" fmla="*/ 652 w 965"/>
                  <a:gd name="T83" fmla="*/ 311 h 1250"/>
                  <a:gd name="T84" fmla="*/ 709 w 965"/>
                  <a:gd name="T85" fmla="*/ 371 h 1250"/>
                  <a:gd name="T86" fmla="*/ 901 w 965"/>
                  <a:gd name="T87" fmla="*/ 389 h 1250"/>
                  <a:gd name="T88" fmla="*/ 901 w 965"/>
                  <a:gd name="T89" fmla="*/ 389 h 1250"/>
                  <a:gd name="T90" fmla="*/ 965 w 965"/>
                  <a:gd name="T91" fmla="*/ 325 h 1250"/>
                  <a:gd name="T92" fmla="*/ 901 w 965"/>
                  <a:gd name="T93" fmla="*/ 261 h 1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965" h="1250">
                    <a:moveTo>
                      <a:pt x="901" y="261"/>
                    </a:moveTo>
                    <a:cubicBezTo>
                      <a:pt x="854" y="261"/>
                      <a:pt x="795" y="259"/>
                      <a:pt x="769" y="256"/>
                    </a:cubicBezTo>
                    <a:cubicBezTo>
                      <a:pt x="761" y="245"/>
                      <a:pt x="749" y="227"/>
                      <a:pt x="740" y="213"/>
                    </a:cubicBezTo>
                    <a:cubicBezTo>
                      <a:pt x="706" y="162"/>
                      <a:pt x="667" y="103"/>
                      <a:pt x="623" y="62"/>
                    </a:cubicBezTo>
                    <a:cubicBezTo>
                      <a:pt x="591" y="31"/>
                      <a:pt x="562" y="10"/>
                      <a:pt x="524" y="0"/>
                    </a:cubicBezTo>
                    <a:cubicBezTo>
                      <a:pt x="524" y="0"/>
                      <a:pt x="524" y="0"/>
                      <a:pt x="524" y="0"/>
                    </a:cubicBezTo>
                    <a:cubicBezTo>
                      <a:pt x="484" y="41"/>
                      <a:pt x="484" y="41"/>
                      <a:pt x="484" y="41"/>
                    </a:cubicBezTo>
                    <a:cubicBezTo>
                      <a:pt x="482" y="40"/>
                      <a:pt x="482" y="40"/>
                      <a:pt x="482" y="40"/>
                    </a:cubicBezTo>
                    <a:cubicBezTo>
                      <a:pt x="524" y="312"/>
                      <a:pt x="524" y="312"/>
                      <a:pt x="524" y="312"/>
                    </a:cubicBezTo>
                    <a:cubicBezTo>
                      <a:pt x="484" y="366"/>
                      <a:pt x="484" y="366"/>
                      <a:pt x="484" y="366"/>
                    </a:cubicBezTo>
                    <a:cubicBezTo>
                      <a:pt x="484" y="366"/>
                      <a:pt x="484" y="366"/>
                      <a:pt x="484" y="366"/>
                    </a:cubicBezTo>
                    <a:cubicBezTo>
                      <a:pt x="482" y="365"/>
                      <a:pt x="482" y="365"/>
                      <a:pt x="482" y="365"/>
                    </a:cubicBezTo>
                    <a:cubicBezTo>
                      <a:pt x="481" y="366"/>
                      <a:pt x="481" y="366"/>
                      <a:pt x="481" y="366"/>
                    </a:cubicBezTo>
                    <a:cubicBezTo>
                      <a:pt x="481" y="366"/>
                      <a:pt x="481" y="366"/>
                      <a:pt x="481" y="366"/>
                    </a:cubicBezTo>
                    <a:cubicBezTo>
                      <a:pt x="441" y="312"/>
                      <a:pt x="441" y="312"/>
                      <a:pt x="441" y="312"/>
                    </a:cubicBezTo>
                    <a:cubicBezTo>
                      <a:pt x="482" y="40"/>
                      <a:pt x="482" y="40"/>
                      <a:pt x="482" y="40"/>
                    </a:cubicBezTo>
                    <a:cubicBezTo>
                      <a:pt x="481" y="41"/>
                      <a:pt x="481" y="41"/>
                      <a:pt x="481" y="41"/>
                    </a:cubicBezTo>
                    <a:cubicBezTo>
                      <a:pt x="441" y="0"/>
                      <a:pt x="441" y="0"/>
                      <a:pt x="441" y="0"/>
                    </a:cubicBezTo>
                    <a:cubicBezTo>
                      <a:pt x="441" y="0"/>
                      <a:pt x="441" y="0"/>
                      <a:pt x="441" y="0"/>
                    </a:cubicBezTo>
                    <a:cubicBezTo>
                      <a:pt x="403" y="10"/>
                      <a:pt x="374" y="31"/>
                      <a:pt x="342" y="62"/>
                    </a:cubicBezTo>
                    <a:cubicBezTo>
                      <a:pt x="298" y="103"/>
                      <a:pt x="259" y="162"/>
                      <a:pt x="225" y="213"/>
                    </a:cubicBezTo>
                    <a:cubicBezTo>
                      <a:pt x="216" y="227"/>
                      <a:pt x="204" y="245"/>
                      <a:pt x="196" y="256"/>
                    </a:cubicBezTo>
                    <a:cubicBezTo>
                      <a:pt x="170" y="259"/>
                      <a:pt x="111" y="261"/>
                      <a:pt x="64" y="261"/>
                    </a:cubicBezTo>
                    <a:cubicBezTo>
                      <a:pt x="29" y="261"/>
                      <a:pt x="0" y="290"/>
                      <a:pt x="0" y="325"/>
                    </a:cubicBezTo>
                    <a:cubicBezTo>
                      <a:pt x="0" y="360"/>
                      <a:pt x="29" y="389"/>
                      <a:pt x="64" y="389"/>
                    </a:cubicBezTo>
                    <a:cubicBezTo>
                      <a:pt x="64" y="389"/>
                      <a:pt x="64" y="389"/>
                      <a:pt x="64" y="389"/>
                    </a:cubicBezTo>
                    <a:cubicBezTo>
                      <a:pt x="219" y="389"/>
                      <a:pt x="246" y="376"/>
                      <a:pt x="256" y="371"/>
                    </a:cubicBezTo>
                    <a:cubicBezTo>
                      <a:pt x="276" y="362"/>
                      <a:pt x="290" y="344"/>
                      <a:pt x="313" y="311"/>
                    </a:cubicBezTo>
                    <a:cubicBezTo>
                      <a:pt x="313" y="500"/>
                      <a:pt x="313" y="500"/>
                      <a:pt x="313" y="500"/>
                    </a:cubicBezTo>
                    <a:cubicBezTo>
                      <a:pt x="313" y="528"/>
                      <a:pt x="325" y="560"/>
                      <a:pt x="328" y="564"/>
                    </a:cubicBezTo>
                    <a:cubicBezTo>
                      <a:pt x="327" y="567"/>
                      <a:pt x="327" y="1174"/>
                      <a:pt x="327" y="1174"/>
                    </a:cubicBezTo>
                    <a:cubicBezTo>
                      <a:pt x="327" y="1216"/>
                      <a:pt x="357" y="1250"/>
                      <a:pt x="398" y="1250"/>
                    </a:cubicBezTo>
                    <a:cubicBezTo>
                      <a:pt x="440" y="1250"/>
                      <a:pt x="474" y="1216"/>
                      <a:pt x="474" y="1174"/>
                    </a:cubicBezTo>
                    <a:cubicBezTo>
                      <a:pt x="474" y="650"/>
                      <a:pt x="474" y="650"/>
                      <a:pt x="474" y="650"/>
                    </a:cubicBezTo>
                    <a:cubicBezTo>
                      <a:pt x="482" y="650"/>
                      <a:pt x="482" y="650"/>
                      <a:pt x="482" y="650"/>
                    </a:cubicBezTo>
                    <a:cubicBezTo>
                      <a:pt x="491" y="650"/>
                      <a:pt x="491" y="650"/>
                      <a:pt x="491" y="650"/>
                    </a:cubicBezTo>
                    <a:cubicBezTo>
                      <a:pt x="491" y="1174"/>
                      <a:pt x="491" y="1174"/>
                      <a:pt x="491" y="1174"/>
                    </a:cubicBezTo>
                    <a:cubicBezTo>
                      <a:pt x="491" y="1216"/>
                      <a:pt x="525" y="1250"/>
                      <a:pt x="566" y="1250"/>
                    </a:cubicBezTo>
                    <a:cubicBezTo>
                      <a:pt x="608" y="1250"/>
                      <a:pt x="638" y="1216"/>
                      <a:pt x="638" y="1174"/>
                    </a:cubicBezTo>
                    <a:cubicBezTo>
                      <a:pt x="638" y="1174"/>
                      <a:pt x="638" y="567"/>
                      <a:pt x="637" y="564"/>
                    </a:cubicBezTo>
                    <a:cubicBezTo>
                      <a:pt x="640" y="560"/>
                      <a:pt x="652" y="528"/>
                      <a:pt x="652" y="500"/>
                    </a:cubicBezTo>
                    <a:cubicBezTo>
                      <a:pt x="652" y="311"/>
                      <a:pt x="652" y="311"/>
                      <a:pt x="652" y="311"/>
                    </a:cubicBezTo>
                    <a:cubicBezTo>
                      <a:pt x="675" y="344"/>
                      <a:pt x="689" y="362"/>
                      <a:pt x="709" y="371"/>
                    </a:cubicBezTo>
                    <a:cubicBezTo>
                      <a:pt x="719" y="376"/>
                      <a:pt x="746" y="389"/>
                      <a:pt x="901" y="389"/>
                    </a:cubicBezTo>
                    <a:cubicBezTo>
                      <a:pt x="901" y="389"/>
                      <a:pt x="901" y="389"/>
                      <a:pt x="901" y="389"/>
                    </a:cubicBezTo>
                    <a:cubicBezTo>
                      <a:pt x="936" y="389"/>
                      <a:pt x="965" y="360"/>
                      <a:pt x="965" y="325"/>
                    </a:cubicBezTo>
                    <a:cubicBezTo>
                      <a:pt x="965" y="290"/>
                      <a:pt x="936" y="261"/>
                      <a:pt x="901" y="26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" name="Line 15"/>
              <p:cNvSpPr>
                <a:spLocks noChangeShapeType="1"/>
              </p:cNvSpPr>
              <p:nvPr/>
            </p:nvSpPr>
            <p:spPr bwMode="auto">
              <a:xfrm>
                <a:off x="2461200" y="4528623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" name="Line 16"/>
              <p:cNvSpPr>
                <a:spLocks noChangeShapeType="1"/>
              </p:cNvSpPr>
              <p:nvPr/>
            </p:nvSpPr>
            <p:spPr bwMode="auto">
              <a:xfrm>
                <a:off x="2461200" y="4528623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grpSp>
        <p:nvGrpSpPr>
          <p:cNvPr id="40" name="组合 39"/>
          <p:cNvGrpSpPr/>
          <p:nvPr/>
        </p:nvGrpSpPr>
        <p:grpSpPr>
          <a:xfrm>
            <a:off x="5341090" y="2824402"/>
            <a:ext cx="1504611" cy="2174674"/>
            <a:chOff x="5303423" y="2676525"/>
            <a:chExt cx="1683364" cy="2433030"/>
          </a:xfrm>
        </p:grpSpPr>
        <p:grpSp>
          <p:nvGrpSpPr>
            <p:cNvPr id="35" name="组合 34"/>
            <p:cNvGrpSpPr/>
            <p:nvPr/>
          </p:nvGrpSpPr>
          <p:grpSpPr>
            <a:xfrm>
              <a:off x="5519936" y="2676525"/>
              <a:ext cx="1466851" cy="1504950"/>
              <a:chOff x="6104274" y="765702"/>
              <a:chExt cx="1466851" cy="1504950"/>
            </a:xfrm>
          </p:grpSpPr>
          <p:sp>
            <p:nvSpPr>
              <p:cNvPr id="21" name="Freeform 5"/>
              <p:cNvSpPr>
                <a:spLocks noEditPoints="1"/>
              </p:cNvSpPr>
              <p:nvPr/>
            </p:nvSpPr>
            <p:spPr bwMode="auto">
              <a:xfrm>
                <a:off x="6785312" y="880002"/>
                <a:ext cx="785813" cy="1216025"/>
              </a:xfrm>
              <a:custGeom>
                <a:avLst/>
                <a:gdLst>
                  <a:gd name="T0" fmla="*/ 136 w 208"/>
                  <a:gd name="T1" fmla="*/ 53 h 322"/>
                  <a:gd name="T2" fmla="*/ 134 w 208"/>
                  <a:gd name="T3" fmla="*/ 52 h 322"/>
                  <a:gd name="T4" fmla="*/ 121 w 208"/>
                  <a:gd name="T5" fmla="*/ 46 h 322"/>
                  <a:gd name="T6" fmla="*/ 112 w 208"/>
                  <a:gd name="T7" fmla="*/ 55 h 322"/>
                  <a:gd name="T8" fmla="*/ 104 w 208"/>
                  <a:gd name="T9" fmla="*/ 46 h 322"/>
                  <a:gd name="T10" fmla="*/ 104 w 208"/>
                  <a:gd name="T11" fmla="*/ 46 h 322"/>
                  <a:gd name="T12" fmla="*/ 91 w 208"/>
                  <a:gd name="T13" fmla="*/ 52 h 322"/>
                  <a:gd name="T14" fmla="*/ 88 w 208"/>
                  <a:gd name="T15" fmla="*/ 53 h 322"/>
                  <a:gd name="T16" fmla="*/ 71 w 208"/>
                  <a:gd name="T17" fmla="*/ 55 h 322"/>
                  <a:gd name="T18" fmla="*/ 29 w 208"/>
                  <a:gd name="T19" fmla="*/ 8 h 322"/>
                  <a:gd name="T20" fmla="*/ 22 w 208"/>
                  <a:gd name="T21" fmla="*/ 2 h 322"/>
                  <a:gd name="T22" fmla="*/ 18 w 208"/>
                  <a:gd name="T23" fmla="*/ 0 h 322"/>
                  <a:gd name="T24" fmla="*/ 10 w 208"/>
                  <a:gd name="T25" fmla="*/ 2 h 322"/>
                  <a:gd name="T26" fmla="*/ 3 w 208"/>
                  <a:gd name="T27" fmla="*/ 20 h 322"/>
                  <a:gd name="T28" fmla="*/ 12 w 208"/>
                  <a:gd name="T29" fmla="*/ 36 h 322"/>
                  <a:gd name="T30" fmla="*/ 16 w 208"/>
                  <a:gd name="T31" fmla="*/ 41 h 322"/>
                  <a:gd name="T32" fmla="*/ 63 w 208"/>
                  <a:gd name="T33" fmla="*/ 82 h 322"/>
                  <a:gd name="T34" fmla="*/ 75 w 208"/>
                  <a:gd name="T35" fmla="*/ 84 h 322"/>
                  <a:gd name="T36" fmla="*/ 75 w 208"/>
                  <a:gd name="T37" fmla="*/ 158 h 322"/>
                  <a:gd name="T38" fmla="*/ 77 w 208"/>
                  <a:gd name="T39" fmla="*/ 169 h 322"/>
                  <a:gd name="T40" fmla="*/ 77 w 208"/>
                  <a:gd name="T41" fmla="*/ 171 h 322"/>
                  <a:gd name="T42" fmla="*/ 77 w 208"/>
                  <a:gd name="T43" fmla="*/ 306 h 322"/>
                  <a:gd name="T44" fmla="*/ 94 w 208"/>
                  <a:gd name="T45" fmla="*/ 322 h 322"/>
                  <a:gd name="T46" fmla="*/ 110 w 208"/>
                  <a:gd name="T47" fmla="*/ 306 h 322"/>
                  <a:gd name="T48" fmla="*/ 110 w 208"/>
                  <a:gd name="T49" fmla="*/ 190 h 322"/>
                  <a:gd name="T50" fmla="*/ 112 w 208"/>
                  <a:gd name="T51" fmla="*/ 190 h 322"/>
                  <a:gd name="T52" fmla="*/ 113 w 208"/>
                  <a:gd name="T53" fmla="*/ 190 h 322"/>
                  <a:gd name="T54" fmla="*/ 113 w 208"/>
                  <a:gd name="T55" fmla="*/ 306 h 322"/>
                  <a:gd name="T56" fmla="*/ 129 w 208"/>
                  <a:gd name="T57" fmla="*/ 322 h 322"/>
                  <a:gd name="T58" fmla="*/ 146 w 208"/>
                  <a:gd name="T59" fmla="*/ 306 h 322"/>
                  <a:gd name="T60" fmla="*/ 146 w 208"/>
                  <a:gd name="T61" fmla="*/ 173 h 322"/>
                  <a:gd name="T62" fmla="*/ 149 w 208"/>
                  <a:gd name="T63" fmla="*/ 176 h 322"/>
                  <a:gd name="T64" fmla="*/ 156 w 208"/>
                  <a:gd name="T65" fmla="*/ 177 h 322"/>
                  <a:gd name="T66" fmla="*/ 168 w 208"/>
                  <a:gd name="T67" fmla="*/ 170 h 322"/>
                  <a:gd name="T68" fmla="*/ 136 w 208"/>
                  <a:gd name="T69" fmla="*/ 53 h 322"/>
                  <a:gd name="T70" fmla="*/ 112 w 208"/>
                  <a:gd name="T71" fmla="*/ 127 h 322"/>
                  <a:gd name="T72" fmla="*/ 112 w 208"/>
                  <a:gd name="T73" fmla="*/ 127 h 322"/>
                  <a:gd name="T74" fmla="*/ 104 w 208"/>
                  <a:gd name="T75" fmla="*/ 115 h 322"/>
                  <a:gd name="T76" fmla="*/ 112 w 208"/>
                  <a:gd name="T77" fmla="*/ 57 h 322"/>
                  <a:gd name="T78" fmla="*/ 112 w 208"/>
                  <a:gd name="T79" fmla="*/ 57 h 322"/>
                  <a:gd name="T80" fmla="*/ 121 w 208"/>
                  <a:gd name="T81" fmla="*/ 115 h 322"/>
                  <a:gd name="T82" fmla="*/ 112 w 208"/>
                  <a:gd name="T83" fmla="*/ 127 h 322"/>
                  <a:gd name="T84" fmla="*/ 150 w 208"/>
                  <a:gd name="T85" fmla="*/ 143 h 322"/>
                  <a:gd name="T86" fmla="*/ 150 w 208"/>
                  <a:gd name="T87" fmla="*/ 103 h 322"/>
                  <a:gd name="T88" fmla="*/ 150 w 208"/>
                  <a:gd name="T89" fmla="*/ 143 h 322"/>
                  <a:gd name="T90" fmla="*/ 150 w 208"/>
                  <a:gd name="T91" fmla="*/ 143 h 322"/>
                  <a:gd name="T92" fmla="*/ 150 w 208"/>
                  <a:gd name="T93" fmla="*/ 143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08" h="322">
                    <a:moveTo>
                      <a:pt x="136" y="53"/>
                    </a:moveTo>
                    <a:cubicBezTo>
                      <a:pt x="135" y="52"/>
                      <a:pt x="135" y="52"/>
                      <a:pt x="134" y="52"/>
                    </a:cubicBezTo>
                    <a:cubicBezTo>
                      <a:pt x="130" y="49"/>
                      <a:pt x="126" y="47"/>
                      <a:pt x="121" y="46"/>
                    </a:cubicBezTo>
                    <a:cubicBezTo>
                      <a:pt x="112" y="55"/>
                      <a:pt x="112" y="55"/>
                      <a:pt x="112" y="55"/>
                    </a:cubicBezTo>
                    <a:cubicBezTo>
                      <a:pt x="104" y="46"/>
                      <a:pt x="104" y="46"/>
                      <a:pt x="104" y="46"/>
                    </a:cubicBezTo>
                    <a:cubicBezTo>
                      <a:pt x="104" y="46"/>
                      <a:pt x="104" y="46"/>
                      <a:pt x="104" y="46"/>
                    </a:cubicBezTo>
                    <a:cubicBezTo>
                      <a:pt x="99" y="47"/>
                      <a:pt x="95" y="49"/>
                      <a:pt x="91" y="52"/>
                    </a:cubicBezTo>
                    <a:cubicBezTo>
                      <a:pt x="90" y="52"/>
                      <a:pt x="89" y="52"/>
                      <a:pt x="88" y="53"/>
                    </a:cubicBezTo>
                    <a:cubicBezTo>
                      <a:pt x="83" y="56"/>
                      <a:pt x="77" y="56"/>
                      <a:pt x="71" y="55"/>
                    </a:cubicBezTo>
                    <a:cubicBezTo>
                      <a:pt x="52" y="49"/>
                      <a:pt x="34" y="19"/>
                      <a:pt x="29" y="8"/>
                    </a:cubicBezTo>
                    <a:cubicBezTo>
                      <a:pt x="27" y="5"/>
                      <a:pt x="25" y="3"/>
                      <a:pt x="22" y="2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6" y="0"/>
                      <a:pt x="13" y="0"/>
                      <a:pt x="10" y="2"/>
                    </a:cubicBezTo>
                    <a:cubicBezTo>
                      <a:pt x="3" y="5"/>
                      <a:pt x="0" y="13"/>
                      <a:pt x="3" y="20"/>
                    </a:cubicBezTo>
                    <a:cubicBezTo>
                      <a:pt x="4" y="22"/>
                      <a:pt x="7" y="28"/>
                      <a:pt x="12" y="36"/>
                    </a:cubicBezTo>
                    <a:cubicBezTo>
                      <a:pt x="16" y="41"/>
                      <a:pt x="16" y="41"/>
                      <a:pt x="16" y="41"/>
                    </a:cubicBezTo>
                    <a:cubicBezTo>
                      <a:pt x="26" y="56"/>
                      <a:pt x="42" y="75"/>
                      <a:pt x="63" y="82"/>
                    </a:cubicBezTo>
                    <a:cubicBezTo>
                      <a:pt x="67" y="83"/>
                      <a:pt x="71" y="84"/>
                      <a:pt x="75" y="84"/>
                    </a:cubicBezTo>
                    <a:cubicBezTo>
                      <a:pt x="75" y="158"/>
                      <a:pt x="75" y="158"/>
                      <a:pt x="75" y="158"/>
                    </a:cubicBezTo>
                    <a:cubicBezTo>
                      <a:pt x="75" y="162"/>
                      <a:pt x="76" y="165"/>
                      <a:pt x="77" y="169"/>
                    </a:cubicBezTo>
                    <a:cubicBezTo>
                      <a:pt x="77" y="169"/>
                      <a:pt x="77" y="170"/>
                      <a:pt x="77" y="171"/>
                    </a:cubicBezTo>
                    <a:cubicBezTo>
                      <a:pt x="77" y="306"/>
                      <a:pt x="77" y="306"/>
                      <a:pt x="77" y="306"/>
                    </a:cubicBezTo>
                    <a:cubicBezTo>
                      <a:pt x="77" y="315"/>
                      <a:pt x="85" y="322"/>
                      <a:pt x="94" y="322"/>
                    </a:cubicBezTo>
                    <a:cubicBezTo>
                      <a:pt x="103" y="322"/>
                      <a:pt x="110" y="315"/>
                      <a:pt x="110" y="306"/>
                    </a:cubicBezTo>
                    <a:cubicBezTo>
                      <a:pt x="110" y="190"/>
                      <a:pt x="110" y="190"/>
                      <a:pt x="110" y="190"/>
                    </a:cubicBezTo>
                    <a:cubicBezTo>
                      <a:pt x="111" y="190"/>
                      <a:pt x="112" y="190"/>
                      <a:pt x="112" y="190"/>
                    </a:cubicBezTo>
                    <a:cubicBezTo>
                      <a:pt x="113" y="190"/>
                      <a:pt x="113" y="190"/>
                      <a:pt x="113" y="190"/>
                    </a:cubicBezTo>
                    <a:cubicBezTo>
                      <a:pt x="113" y="306"/>
                      <a:pt x="113" y="306"/>
                      <a:pt x="113" y="306"/>
                    </a:cubicBezTo>
                    <a:cubicBezTo>
                      <a:pt x="113" y="315"/>
                      <a:pt x="120" y="322"/>
                      <a:pt x="129" y="322"/>
                    </a:cubicBezTo>
                    <a:cubicBezTo>
                      <a:pt x="139" y="322"/>
                      <a:pt x="146" y="315"/>
                      <a:pt x="146" y="306"/>
                    </a:cubicBezTo>
                    <a:cubicBezTo>
                      <a:pt x="146" y="173"/>
                      <a:pt x="146" y="173"/>
                      <a:pt x="146" y="173"/>
                    </a:cubicBezTo>
                    <a:cubicBezTo>
                      <a:pt x="147" y="174"/>
                      <a:pt x="148" y="175"/>
                      <a:pt x="149" y="176"/>
                    </a:cubicBezTo>
                    <a:cubicBezTo>
                      <a:pt x="151" y="177"/>
                      <a:pt x="154" y="177"/>
                      <a:pt x="156" y="177"/>
                    </a:cubicBezTo>
                    <a:cubicBezTo>
                      <a:pt x="161" y="177"/>
                      <a:pt x="166" y="175"/>
                      <a:pt x="168" y="170"/>
                    </a:cubicBezTo>
                    <a:cubicBezTo>
                      <a:pt x="208" y="97"/>
                      <a:pt x="154" y="64"/>
                      <a:pt x="136" y="53"/>
                    </a:cubicBezTo>
                    <a:close/>
                    <a:moveTo>
                      <a:pt x="112" y="127"/>
                    </a:moveTo>
                    <a:cubicBezTo>
                      <a:pt x="112" y="127"/>
                      <a:pt x="112" y="127"/>
                      <a:pt x="112" y="127"/>
                    </a:cubicBezTo>
                    <a:cubicBezTo>
                      <a:pt x="104" y="115"/>
                      <a:pt x="104" y="115"/>
                      <a:pt x="104" y="115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21" y="115"/>
                      <a:pt x="121" y="115"/>
                      <a:pt x="121" y="115"/>
                    </a:cubicBezTo>
                    <a:lnTo>
                      <a:pt x="112" y="127"/>
                    </a:lnTo>
                    <a:close/>
                    <a:moveTo>
                      <a:pt x="150" y="143"/>
                    </a:moveTo>
                    <a:cubicBezTo>
                      <a:pt x="150" y="103"/>
                      <a:pt x="150" y="103"/>
                      <a:pt x="150" y="103"/>
                    </a:cubicBezTo>
                    <a:cubicBezTo>
                      <a:pt x="155" y="113"/>
                      <a:pt x="156" y="126"/>
                      <a:pt x="150" y="143"/>
                    </a:cubicBezTo>
                    <a:close/>
                    <a:moveTo>
                      <a:pt x="150" y="143"/>
                    </a:moveTo>
                    <a:cubicBezTo>
                      <a:pt x="150" y="143"/>
                      <a:pt x="150" y="143"/>
                      <a:pt x="150" y="143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2" name="Freeform 6"/>
              <p:cNvSpPr>
                <a:spLocks noEditPoints="1"/>
              </p:cNvSpPr>
              <p:nvPr/>
            </p:nvSpPr>
            <p:spPr bwMode="auto">
              <a:xfrm>
                <a:off x="7072649" y="773640"/>
                <a:ext cx="274638" cy="273050"/>
              </a:xfrm>
              <a:custGeom>
                <a:avLst/>
                <a:gdLst>
                  <a:gd name="T0" fmla="*/ 73 w 73"/>
                  <a:gd name="T1" fmla="*/ 36 h 72"/>
                  <a:gd name="T2" fmla="*/ 36 w 73"/>
                  <a:gd name="T3" fmla="*/ 72 h 72"/>
                  <a:gd name="T4" fmla="*/ 0 w 73"/>
                  <a:gd name="T5" fmla="*/ 36 h 72"/>
                  <a:gd name="T6" fmla="*/ 36 w 73"/>
                  <a:gd name="T7" fmla="*/ 0 h 72"/>
                  <a:gd name="T8" fmla="*/ 73 w 73"/>
                  <a:gd name="T9" fmla="*/ 36 h 72"/>
                  <a:gd name="T10" fmla="*/ 73 w 73"/>
                  <a:gd name="T11" fmla="*/ 36 h 72"/>
                  <a:gd name="T12" fmla="*/ 73 w 73"/>
                  <a:gd name="T13" fmla="*/ 3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72">
                    <a:moveTo>
                      <a:pt x="73" y="36"/>
                    </a:moveTo>
                    <a:cubicBezTo>
                      <a:pt x="73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6" y="0"/>
                      <a:pt x="73" y="16"/>
                      <a:pt x="73" y="36"/>
                    </a:cubicBezTo>
                    <a:close/>
                    <a:moveTo>
                      <a:pt x="73" y="36"/>
                    </a:moveTo>
                    <a:cubicBezTo>
                      <a:pt x="73" y="36"/>
                      <a:pt x="73" y="36"/>
                      <a:pt x="73" y="36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3" name="Freeform 7"/>
              <p:cNvSpPr>
                <a:spLocks noEditPoints="1"/>
              </p:cNvSpPr>
              <p:nvPr/>
            </p:nvSpPr>
            <p:spPr bwMode="auto">
              <a:xfrm>
                <a:off x="6158249" y="765702"/>
                <a:ext cx="827088" cy="771525"/>
              </a:xfrm>
              <a:custGeom>
                <a:avLst/>
                <a:gdLst>
                  <a:gd name="T0" fmla="*/ 198 w 219"/>
                  <a:gd name="T1" fmla="*/ 204 h 204"/>
                  <a:gd name="T2" fmla="*/ 20 w 219"/>
                  <a:gd name="T3" fmla="*/ 204 h 204"/>
                  <a:gd name="T4" fmla="*/ 0 w 219"/>
                  <a:gd name="T5" fmla="*/ 184 h 204"/>
                  <a:gd name="T6" fmla="*/ 0 w 219"/>
                  <a:gd name="T7" fmla="*/ 21 h 204"/>
                  <a:gd name="T8" fmla="*/ 20 w 219"/>
                  <a:gd name="T9" fmla="*/ 0 h 204"/>
                  <a:gd name="T10" fmla="*/ 198 w 219"/>
                  <a:gd name="T11" fmla="*/ 0 h 204"/>
                  <a:gd name="T12" fmla="*/ 219 w 219"/>
                  <a:gd name="T13" fmla="*/ 21 h 204"/>
                  <a:gd name="T14" fmla="*/ 219 w 219"/>
                  <a:gd name="T15" fmla="*/ 184 h 204"/>
                  <a:gd name="T16" fmla="*/ 198 w 219"/>
                  <a:gd name="T17" fmla="*/ 204 h 204"/>
                  <a:gd name="T18" fmla="*/ 20 w 219"/>
                  <a:gd name="T19" fmla="*/ 14 h 204"/>
                  <a:gd name="T20" fmla="*/ 13 w 219"/>
                  <a:gd name="T21" fmla="*/ 21 h 204"/>
                  <a:gd name="T22" fmla="*/ 13 w 219"/>
                  <a:gd name="T23" fmla="*/ 184 h 204"/>
                  <a:gd name="T24" fmla="*/ 20 w 219"/>
                  <a:gd name="T25" fmla="*/ 191 h 204"/>
                  <a:gd name="T26" fmla="*/ 198 w 219"/>
                  <a:gd name="T27" fmla="*/ 191 h 204"/>
                  <a:gd name="T28" fmla="*/ 205 w 219"/>
                  <a:gd name="T29" fmla="*/ 184 h 204"/>
                  <a:gd name="T30" fmla="*/ 205 w 219"/>
                  <a:gd name="T31" fmla="*/ 21 h 204"/>
                  <a:gd name="T32" fmla="*/ 198 w 219"/>
                  <a:gd name="T33" fmla="*/ 14 h 204"/>
                  <a:gd name="T34" fmla="*/ 20 w 219"/>
                  <a:gd name="T35" fmla="*/ 14 h 204"/>
                  <a:gd name="T36" fmla="*/ 20 w 219"/>
                  <a:gd name="T37" fmla="*/ 14 h 204"/>
                  <a:gd name="T38" fmla="*/ 20 w 219"/>
                  <a:gd name="T39" fmla="*/ 1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9" h="204">
                    <a:moveTo>
                      <a:pt x="198" y="204"/>
                    </a:moveTo>
                    <a:cubicBezTo>
                      <a:pt x="20" y="204"/>
                      <a:pt x="20" y="204"/>
                      <a:pt x="20" y="204"/>
                    </a:cubicBezTo>
                    <a:cubicBezTo>
                      <a:pt x="9" y="204"/>
                      <a:pt x="0" y="195"/>
                      <a:pt x="0" y="184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198" y="0"/>
                      <a:pt x="198" y="0"/>
                      <a:pt x="198" y="0"/>
                    </a:cubicBezTo>
                    <a:cubicBezTo>
                      <a:pt x="210" y="0"/>
                      <a:pt x="219" y="9"/>
                      <a:pt x="219" y="21"/>
                    </a:cubicBezTo>
                    <a:cubicBezTo>
                      <a:pt x="219" y="184"/>
                      <a:pt x="219" y="184"/>
                      <a:pt x="219" y="184"/>
                    </a:cubicBezTo>
                    <a:cubicBezTo>
                      <a:pt x="219" y="195"/>
                      <a:pt x="210" y="204"/>
                      <a:pt x="198" y="204"/>
                    </a:cubicBezTo>
                    <a:close/>
                    <a:moveTo>
                      <a:pt x="20" y="14"/>
                    </a:moveTo>
                    <a:cubicBezTo>
                      <a:pt x="17" y="14"/>
                      <a:pt x="13" y="17"/>
                      <a:pt x="13" y="21"/>
                    </a:cubicBezTo>
                    <a:cubicBezTo>
                      <a:pt x="13" y="184"/>
                      <a:pt x="13" y="184"/>
                      <a:pt x="13" y="184"/>
                    </a:cubicBezTo>
                    <a:cubicBezTo>
                      <a:pt x="13" y="188"/>
                      <a:pt x="17" y="191"/>
                      <a:pt x="20" y="191"/>
                    </a:cubicBezTo>
                    <a:cubicBezTo>
                      <a:pt x="198" y="191"/>
                      <a:pt x="198" y="191"/>
                      <a:pt x="198" y="191"/>
                    </a:cubicBezTo>
                    <a:cubicBezTo>
                      <a:pt x="202" y="191"/>
                      <a:pt x="205" y="188"/>
                      <a:pt x="205" y="184"/>
                    </a:cubicBezTo>
                    <a:cubicBezTo>
                      <a:pt x="205" y="21"/>
                      <a:pt x="205" y="21"/>
                      <a:pt x="205" y="21"/>
                    </a:cubicBezTo>
                    <a:cubicBezTo>
                      <a:pt x="205" y="17"/>
                      <a:pt x="202" y="14"/>
                      <a:pt x="198" y="14"/>
                    </a:cubicBezTo>
                    <a:lnTo>
                      <a:pt x="20" y="14"/>
                    </a:lnTo>
                    <a:close/>
                    <a:moveTo>
                      <a:pt x="20" y="14"/>
                    </a:moveTo>
                    <a:cubicBezTo>
                      <a:pt x="20" y="14"/>
                      <a:pt x="20" y="14"/>
                      <a:pt x="20" y="14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4" name="Freeform 8"/>
              <p:cNvSpPr>
                <a:spLocks noEditPoints="1"/>
              </p:cNvSpPr>
              <p:nvPr/>
            </p:nvSpPr>
            <p:spPr bwMode="auto">
              <a:xfrm>
                <a:off x="6251912" y="1616602"/>
                <a:ext cx="215900" cy="215900"/>
              </a:xfrm>
              <a:custGeom>
                <a:avLst/>
                <a:gdLst>
                  <a:gd name="T0" fmla="*/ 57 w 57"/>
                  <a:gd name="T1" fmla="*/ 28 h 57"/>
                  <a:gd name="T2" fmla="*/ 28 w 57"/>
                  <a:gd name="T3" fmla="*/ 57 h 57"/>
                  <a:gd name="T4" fmla="*/ 0 w 57"/>
                  <a:gd name="T5" fmla="*/ 28 h 57"/>
                  <a:gd name="T6" fmla="*/ 28 w 57"/>
                  <a:gd name="T7" fmla="*/ 0 h 57"/>
                  <a:gd name="T8" fmla="*/ 57 w 57"/>
                  <a:gd name="T9" fmla="*/ 28 h 57"/>
                  <a:gd name="T10" fmla="*/ 57 w 57"/>
                  <a:gd name="T11" fmla="*/ 28 h 57"/>
                  <a:gd name="T12" fmla="*/ 57 w 57"/>
                  <a:gd name="T13" fmla="*/ 2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57">
                    <a:moveTo>
                      <a:pt x="57" y="28"/>
                    </a:moveTo>
                    <a:cubicBezTo>
                      <a:pt x="57" y="44"/>
                      <a:pt x="44" y="57"/>
                      <a:pt x="28" y="57"/>
                    </a:cubicBezTo>
                    <a:cubicBezTo>
                      <a:pt x="12" y="57"/>
                      <a:pt x="0" y="44"/>
                      <a:pt x="0" y="28"/>
                    </a:cubicBezTo>
                    <a:cubicBezTo>
                      <a:pt x="0" y="12"/>
                      <a:pt x="12" y="0"/>
                      <a:pt x="28" y="0"/>
                    </a:cubicBezTo>
                    <a:cubicBezTo>
                      <a:pt x="44" y="0"/>
                      <a:pt x="57" y="12"/>
                      <a:pt x="57" y="28"/>
                    </a:cubicBezTo>
                    <a:close/>
                    <a:moveTo>
                      <a:pt x="57" y="28"/>
                    </a:moveTo>
                    <a:cubicBezTo>
                      <a:pt x="57" y="28"/>
                      <a:pt x="57" y="28"/>
                      <a:pt x="57" y="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5" name="Freeform 9"/>
              <p:cNvSpPr>
                <a:spLocks/>
              </p:cNvSpPr>
              <p:nvPr/>
            </p:nvSpPr>
            <p:spPr bwMode="auto">
              <a:xfrm>
                <a:off x="6139199" y="1838852"/>
                <a:ext cx="441325" cy="242888"/>
              </a:xfrm>
              <a:custGeom>
                <a:avLst/>
                <a:gdLst>
                  <a:gd name="T0" fmla="*/ 25 w 117"/>
                  <a:gd name="T1" fmla="*/ 64 h 64"/>
                  <a:gd name="T2" fmla="*/ 29 w 117"/>
                  <a:gd name="T3" fmla="*/ 44 h 64"/>
                  <a:gd name="T4" fmla="*/ 29 w 117"/>
                  <a:gd name="T5" fmla="*/ 64 h 64"/>
                  <a:gd name="T6" fmla="*/ 58 w 117"/>
                  <a:gd name="T7" fmla="*/ 64 h 64"/>
                  <a:gd name="T8" fmla="*/ 51 w 117"/>
                  <a:gd name="T9" fmla="*/ 54 h 64"/>
                  <a:gd name="T10" fmla="*/ 58 w 117"/>
                  <a:gd name="T11" fmla="*/ 8 h 64"/>
                  <a:gd name="T12" fmla="*/ 58 w 117"/>
                  <a:gd name="T13" fmla="*/ 8 h 64"/>
                  <a:gd name="T14" fmla="*/ 65 w 117"/>
                  <a:gd name="T15" fmla="*/ 54 h 64"/>
                  <a:gd name="T16" fmla="*/ 59 w 117"/>
                  <a:gd name="T17" fmla="*/ 64 h 64"/>
                  <a:gd name="T18" fmla="*/ 88 w 117"/>
                  <a:gd name="T19" fmla="*/ 64 h 64"/>
                  <a:gd name="T20" fmla="*/ 88 w 117"/>
                  <a:gd name="T21" fmla="*/ 44 h 64"/>
                  <a:gd name="T22" fmla="*/ 92 w 117"/>
                  <a:gd name="T23" fmla="*/ 64 h 64"/>
                  <a:gd name="T24" fmla="*/ 114 w 117"/>
                  <a:gd name="T25" fmla="*/ 64 h 64"/>
                  <a:gd name="T26" fmla="*/ 77 w 117"/>
                  <a:gd name="T27" fmla="*/ 5 h 64"/>
                  <a:gd name="T28" fmla="*/ 76 w 117"/>
                  <a:gd name="T29" fmla="*/ 4 h 64"/>
                  <a:gd name="T30" fmla="*/ 65 w 117"/>
                  <a:gd name="T31" fmla="*/ 0 h 64"/>
                  <a:gd name="T32" fmla="*/ 58 w 117"/>
                  <a:gd name="T33" fmla="*/ 7 h 64"/>
                  <a:gd name="T34" fmla="*/ 51 w 117"/>
                  <a:gd name="T35" fmla="*/ 0 h 64"/>
                  <a:gd name="T36" fmla="*/ 51 w 117"/>
                  <a:gd name="T37" fmla="*/ 0 h 64"/>
                  <a:gd name="T38" fmla="*/ 41 w 117"/>
                  <a:gd name="T39" fmla="*/ 4 h 64"/>
                  <a:gd name="T40" fmla="*/ 39 w 117"/>
                  <a:gd name="T41" fmla="*/ 5 h 64"/>
                  <a:gd name="T42" fmla="*/ 3 w 117"/>
                  <a:gd name="T43" fmla="*/ 64 h 64"/>
                  <a:gd name="T44" fmla="*/ 25 w 117"/>
                  <a:gd name="T4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7" h="64">
                    <a:moveTo>
                      <a:pt x="25" y="64"/>
                    </a:moveTo>
                    <a:cubicBezTo>
                      <a:pt x="24" y="56"/>
                      <a:pt x="26" y="49"/>
                      <a:pt x="29" y="44"/>
                    </a:cubicBezTo>
                    <a:cubicBezTo>
                      <a:pt x="29" y="64"/>
                      <a:pt x="29" y="64"/>
                      <a:pt x="29" y="64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1" y="54"/>
                      <a:pt x="51" y="54"/>
                      <a:pt x="51" y="54"/>
                    </a:cubicBezTo>
                    <a:cubicBezTo>
                      <a:pt x="58" y="8"/>
                      <a:pt x="58" y="8"/>
                      <a:pt x="58" y="8"/>
                    </a:cubicBezTo>
                    <a:cubicBezTo>
                      <a:pt x="58" y="8"/>
                      <a:pt x="58" y="8"/>
                      <a:pt x="58" y="8"/>
                    </a:cubicBezTo>
                    <a:cubicBezTo>
                      <a:pt x="65" y="54"/>
                      <a:pt x="65" y="54"/>
                      <a:pt x="65" y="54"/>
                    </a:cubicBezTo>
                    <a:cubicBezTo>
                      <a:pt x="59" y="64"/>
                      <a:pt x="59" y="64"/>
                      <a:pt x="59" y="64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88" y="44"/>
                      <a:pt x="88" y="44"/>
                      <a:pt x="88" y="44"/>
                    </a:cubicBezTo>
                    <a:cubicBezTo>
                      <a:pt x="91" y="49"/>
                      <a:pt x="92" y="56"/>
                      <a:pt x="92" y="64"/>
                    </a:cubicBezTo>
                    <a:cubicBezTo>
                      <a:pt x="114" y="64"/>
                      <a:pt x="114" y="64"/>
                      <a:pt x="114" y="64"/>
                    </a:cubicBezTo>
                    <a:cubicBezTo>
                      <a:pt x="117" y="29"/>
                      <a:pt x="88" y="12"/>
                      <a:pt x="77" y="5"/>
                    </a:cubicBezTo>
                    <a:cubicBezTo>
                      <a:pt x="77" y="5"/>
                      <a:pt x="76" y="5"/>
                      <a:pt x="76" y="4"/>
                    </a:cubicBezTo>
                    <a:cubicBezTo>
                      <a:pt x="73" y="2"/>
                      <a:pt x="69" y="1"/>
                      <a:pt x="65" y="0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48" y="1"/>
                      <a:pt x="44" y="2"/>
                      <a:pt x="41" y="4"/>
                    </a:cubicBezTo>
                    <a:cubicBezTo>
                      <a:pt x="40" y="5"/>
                      <a:pt x="40" y="5"/>
                      <a:pt x="39" y="5"/>
                    </a:cubicBezTo>
                    <a:cubicBezTo>
                      <a:pt x="28" y="12"/>
                      <a:pt x="0" y="29"/>
                      <a:pt x="3" y="64"/>
                    </a:cubicBezTo>
                    <a:lnTo>
                      <a:pt x="25" y="6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6" name="Line 10"/>
              <p:cNvSpPr>
                <a:spLocks noChangeShapeType="1"/>
              </p:cNvSpPr>
              <p:nvPr/>
            </p:nvSpPr>
            <p:spPr bwMode="auto">
              <a:xfrm>
                <a:off x="6232862" y="208174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" name="Line 11"/>
              <p:cNvSpPr>
                <a:spLocks noChangeShapeType="1"/>
              </p:cNvSpPr>
              <p:nvPr/>
            </p:nvSpPr>
            <p:spPr bwMode="auto">
              <a:xfrm>
                <a:off x="6232862" y="208174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" name="Freeform 12"/>
              <p:cNvSpPr>
                <a:spLocks noEditPoints="1"/>
              </p:cNvSpPr>
              <p:nvPr/>
            </p:nvSpPr>
            <p:spPr bwMode="auto">
              <a:xfrm>
                <a:off x="6675774" y="1616602"/>
                <a:ext cx="214313" cy="215900"/>
              </a:xfrm>
              <a:custGeom>
                <a:avLst/>
                <a:gdLst>
                  <a:gd name="T0" fmla="*/ 57 w 57"/>
                  <a:gd name="T1" fmla="*/ 28 h 57"/>
                  <a:gd name="T2" fmla="*/ 28 w 57"/>
                  <a:gd name="T3" fmla="*/ 57 h 57"/>
                  <a:gd name="T4" fmla="*/ 0 w 57"/>
                  <a:gd name="T5" fmla="*/ 28 h 57"/>
                  <a:gd name="T6" fmla="*/ 28 w 57"/>
                  <a:gd name="T7" fmla="*/ 0 h 57"/>
                  <a:gd name="T8" fmla="*/ 57 w 57"/>
                  <a:gd name="T9" fmla="*/ 28 h 57"/>
                  <a:gd name="T10" fmla="*/ 57 w 57"/>
                  <a:gd name="T11" fmla="*/ 28 h 57"/>
                  <a:gd name="T12" fmla="*/ 57 w 57"/>
                  <a:gd name="T13" fmla="*/ 2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7" h="57">
                    <a:moveTo>
                      <a:pt x="57" y="28"/>
                    </a:moveTo>
                    <a:cubicBezTo>
                      <a:pt x="57" y="44"/>
                      <a:pt x="44" y="57"/>
                      <a:pt x="28" y="57"/>
                    </a:cubicBezTo>
                    <a:cubicBezTo>
                      <a:pt x="12" y="57"/>
                      <a:pt x="0" y="44"/>
                      <a:pt x="0" y="28"/>
                    </a:cubicBezTo>
                    <a:cubicBezTo>
                      <a:pt x="0" y="12"/>
                      <a:pt x="12" y="0"/>
                      <a:pt x="28" y="0"/>
                    </a:cubicBezTo>
                    <a:cubicBezTo>
                      <a:pt x="44" y="0"/>
                      <a:pt x="57" y="12"/>
                      <a:pt x="57" y="28"/>
                    </a:cubicBezTo>
                    <a:close/>
                    <a:moveTo>
                      <a:pt x="57" y="28"/>
                    </a:moveTo>
                    <a:cubicBezTo>
                      <a:pt x="57" y="28"/>
                      <a:pt x="57" y="28"/>
                      <a:pt x="57" y="28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" name="Freeform 13"/>
              <p:cNvSpPr>
                <a:spLocks/>
              </p:cNvSpPr>
              <p:nvPr/>
            </p:nvSpPr>
            <p:spPr bwMode="auto">
              <a:xfrm>
                <a:off x="6561474" y="1838852"/>
                <a:ext cx="442913" cy="242888"/>
              </a:xfrm>
              <a:custGeom>
                <a:avLst/>
                <a:gdLst>
                  <a:gd name="T0" fmla="*/ 25 w 117"/>
                  <a:gd name="T1" fmla="*/ 64 h 64"/>
                  <a:gd name="T2" fmla="*/ 29 w 117"/>
                  <a:gd name="T3" fmla="*/ 44 h 64"/>
                  <a:gd name="T4" fmla="*/ 29 w 117"/>
                  <a:gd name="T5" fmla="*/ 64 h 64"/>
                  <a:gd name="T6" fmla="*/ 58 w 117"/>
                  <a:gd name="T7" fmla="*/ 64 h 64"/>
                  <a:gd name="T8" fmla="*/ 51 w 117"/>
                  <a:gd name="T9" fmla="*/ 54 h 64"/>
                  <a:gd name="T10" fmla="*/ 58 w 117"/>
                  <a:gd name="T11" fmla="*/ 8 h 64"/>
                  <a:gd name="T12" fmla="*/ 58 w 117"/>
                  <a:gd name="T13" fmla="*/ 8 h 64"/>
                  <a:gd name="T14" fmla="*/ 65 w 117"/>
                  <a:gd name="T15" fmla="*/ 54 h 64"/>
                  <a:gd name="T16" fmla="*/ 58 w 117"/>
                  <a:gd name="T17" fmla="*/ 64 h 64"/>
                  <a:gd name="T18" fmla="*/ 88 w 117"/>
                  <a:gd name="T19" fmla="*/ 64 h 64"/>
                  <a:gd name="T20" fmla="*/ 88 w 117"/>
                  <a:gd name="T21" fmla="*/ 44 h 64"/>
                  <a:gd name="T22" fmla="*/ 92 w 117"/>
                  <a:gd name="T23" fmla="*/ 64 h 64"/>
                  <a:gd name="T24" fmla="*/ 114 w 117"/>
                  <a:gd name="T25" fmla="*/ 64 h 64"/>
                  <a:gd name="T26" fmla="*/ 77 w 117"/>
                  <a:gd name="T27" fmla="*/ 5 h 64"/>
                  <a:gd name="T28" fmla="*/ 76 w 117"/>
                  <a:gd name="T29" fmla="*/ 4 h 64"/>
                  <a:gd name="T30" fmla="*/ 65 w 117"/>
                  <a:gd name="T31" fmla="*/ 0 h 64"/>
                  <a:gd name="T32" fmla="*/ 58 w 117"/>
                  <a:gd name="T33" fmla="*/ 7 h 64"/>
                  <a:gd name="T34" fmla="*/ 51 w 117"/>
                  <a:gd name="T35" fmla="*/ 0 h 64"/>
                  <a:gd name="T36" fmla="*/ 51 w 117"/>
                  <a:gd name="T37" fmla="*/ 0 h 64"/>
                  <a:gd name="T38" fmla="*/ 41 w 117"/>
                  <a:gd name="T39" fmla="*/ 4 h 64"/>
                  <a:gd name="T40" fmla="*/ 39 w 117"/>
                  <a:gd name="T41" fmla="*/ 5 h 64"/>
                  <a:gd name="T42" fmla="*/ 2 w 117"/>
                  <a:gd name="T43" fmla="*/ 64 h 64"/>
                  <a:gd name="T44" fmla="*/ 25 w 117"/>
                  <a:gd name="T4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7" h="64">
                    <a:moveTo>
                      <a:pt x="25" y="64"/>
                    </a:moveTo>
                    <a:cubicBezTo>
                      <a:pt x="24" y="56"/>
                      <a:pt x="26" y="49"/>
                      <a:pt x="29" y="44"/>
                    </a:cubicBezTo>
                    <a:cubicBezTo>
                      <a:pt x="29" y="64"/>
                      <a:pt x="29" y="64"/>
                      <a:pt x="29" y="64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51" y="54"/>
                      <a:pt x="51" y="54"/>
                      <a:pt x="51" y="54"/>
                    </a:cubicBezTo>
                    <a:cubicBezTo>
                      <a:pt x="58" y="8"/>
                      <a:pt x="58" y="8"/>
                      <a:pt x="58" y="8"/>
                    </a:cubicBezTo>
                    <a:cubicBezTo>
                      <a:pt x="58" y="8"/>
                      <a:pt x="58" y="8"/>
                      <a:pt x="58" y="8"/>
                    </a:cubicBezTo>
                    <a:cubicBezTo>
                      <a:pt x="65" y="54"/>
                      <a:pt x="65" y="54"/>
                      <a:pt x="65" y="54"/>
                    </a:cubicBezTo>
                    <a:cubicBezTo>
                      <a:pt x="58" y="64"/>
                      <a:pt x="58" y="64"/>
                      <a:pt x="58" y="64"/>
                    </a:cubicBezTo>
                    <a:cubicBezTo>
                      <a:pt x="88" y="64"/>
                      <a:pt x="88" y="64"/>
                      <a:pt x="88" y="64"/>
                    </a:cubicBezTo>
                    <a:cubicBezTo>
                      <a:pt x="88" y="44"/>
                      <a:pt x="88" y="44"/>
                      <a:pt x="88" y="44"/>
                    </a:cubicBezTo>
                    <a:cubicBezTo>
                      <a:pt x="91" y="49"/>
                      <a:pt x="92" y="56"/>
                      <a:pt x="92" y="64"/>
                    </a:cubicBezTo>
                    <a:cubicBezTo>
                      <a:pt x="114" y="64"/>
                      <a:pt x="114" y="64"/>
                      <a:pt x="114" y="64"/>
                    </a:cubicBezTo>
                    <a:cubicBezTo>
                      <a:pt x="117" y="29"/>
                      <a:pt x="88" y="12"/>
                      <a:pt x="77" y="5"/>
                    </a:cubicBezTo>
                    <a:cubicBezTo>
                      <a:pt x="77" y="5"/>
                      <a:pt x="76" y="5"/>
                      <a:pt x="76" y="4"/>
                    </a:cubicBezTo>
                    <a:cubicBezTo>
                      <a:pt x="73" y="2"/>
                      <a:pt x="69" y="1"/>
                      <a:pt x="65" y="0"/>
                    </a:cubicBezTo>
                    <a:cubicBezTo>
                      <a:pt x="58" y="7"/>
                      <a:pt x="58" y="7"/>
                      <a:pt x="58" y="7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47" y="1"/>
                      <a:pt x="44" y="2"/>
                      <a:pt x="41" y="4"/>
                    </a:cubicBezTo>
                    <a:cubicBezTo>
                      <a:pt x="40" y="5"/>
                      <a:pt x="40" y="5"/>
                      <a:pt x="39" y="5"/>
                    </a:cubicBezTo>
                    <a:cubicBezTo>
                      <a:pt x="28" y="12"/>
                      <a:pt x="0" y="29"/>
                      <a:pt x="2" y="64"/>
                    </a:cubicBezTo>
                    <a:lnTo>
                      <a:pt x="25" y="6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" name="Line 14"/>
              <p:cNvSpPr>
                <a:spLocks noChangeShapeType="1"/>
              </p:cNvSpPr>
              <p:nvPr/>
            </p:nvSpPr>
            <p:spPr bwMode="auto">
              <a:xfrm>
                <a:off x="6656724" y="208174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" name="Line 15"/>
              <p:cNvSpPr>
                <a:spLocks noChangeShapeType="1"/>
              </p:cNvSpPr>
              <p:nvPr/>
            </p:nvSpPr>
            <p:spPr bwMode="auto">
              <a:xfrm>
                <a:off x="6656724" y="208174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" name="Rectangle 16"/>
              <p:cNvSpPr>
                <a:spLocks noChangeArrowheads="1"/>
              </p:cNvSpPr>
              <p:nvPr/>
            </p:nvSpPr>
            <p:spPr bwMode="auto">
              <a:xfrm>
                <a:off x="6104274" y="2115077"/>
                <a:ext cx="1243013" cy="15557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" name="Freeform 17"/>
              <p:cNvSpPr>
                <a:spLocks noEditPoints="1"/>
              </p:cNvSpPr>
              <p:nvPr/>
            </p:nvSpPr>
            <p:spPr bwMode="auto">
              <a:xfrm>
                <a:off x="6248737" y="973665"/>
                <a:ext cx="630238" cy="476250"/>
              </a:xfrm>
              <a:custGeom>
                <a:avLst/>
                <a:gdLst>
                  <a:gd name="T0" fmla="*/ 378 w 397"/>
                  <a:gd name="T1" fmla="*/ 67 h 300"/>
                  <a:gd name="T2" fmla="*/ 243 w 397"/>
                  <a:gd name="T3" fmla="*/ 112 h 300"/>
                  <a:gd name="T4" fmla="*/ 171 w 397"/>
                  <a:gd name="T5" fmla="*/ 57 h 300"/>
                  <a:gd name="T6" fmla="*/ 121 w 397"/>
                  <a:gd name="T7" fmla="*/ 105 h 300"/>
                  <a:gd name="T8" fmla="*/ 14 w 397"/>
                  <a:gd name="T9" fmla="*/ 0 h 300"/>
                  <a:gd name="T10" fmla="*/ 14 w 397"/>
                  <a:gd name="T11" fmla="*/ 288 h 300"/>
                  <a:gd name="T12" fmla="*/ 0 w 397"/>
                  <a:gd name="T13" fmla="*/ 288 h 300"/>
                  <a:gd name="T14" fmla="*/ 0 w 397"/>
                  <a:gd name="T15" fmla="*/ 300 h 300"/>
                  <a:gd name="T16" fmla="*/ 397 w 397"/>
                  <a:gd name="T17" fmla="*/ 300 h 300"/>
                  <a:gd name="T18" fmla="*/ 397 w 397"/>
                  <a:gd name="T19" fmla="*/ 288 h 300"/>
                  <a:gd name="T20" fmla="*/ 378 w 397"/>
                  <a:gd name="T21" fmla="*/ 288 h 300"/>
                  <a:gd name="T22" fmla="*/ 378 w 397"/>
                  <a:gd name="T23" fmla="*/ 67 h 300"/>
                  <a:gd name="T24" fmla="*/ 369 w 397"/>
                  <a:gd name="T25" fmla="*/ 138 h 300"/>
                  <a:gd name="T26" fmla="*/ 243 w 397"/>
                  <a:gd name="T27" fmla="*/ 179 h 300"/>
                  <a:gd name="T28" fmla="*/ 171 w 397"/>
                  <a:gd name="T29" fmla="*/ 143 h 300"/>
                  <a:gd name="T30" fmla="*/ 119 w 397"/>
                  <a:gd name="T31" fmla="*/ 174 h 300"/>
                  <a:gd name="T32" fmla="*/ 26 w 397"/>
                  <a:gd name="T33" fmla="*/ 72 h 300"/>
                  <a:gd name="T34" fmla="*/ 26 w 397"/>
                  <a:gd name="T35" fmla="*/ 27 h 300"/>
                  <a:gd name="T36" fmla="*/ 119 w 397"/>
                  <a:gd name="T37" fmla="*/ 122 h 300"/>
                  <a:gd name="T38" fmla="*/ 171 w 397"/>
                  <a:gd name="T39" fmla="*/ 72 h 300"/>
                  <a:gd name="T40" fmla="*/ 240 w 397"/>
                  <a:gd name="T41" fmla="*/ 124 h 300"/>
                  <a:gd name="T42" fmla="*/ 369 w 397"/>
                  <a:gd name="T43" fmla="*/ 81 h 300"/>
                  <a:gd name="T44" fmla="*/ 369 w 397"/>
                  <a:gd name="T45" fmla="*/ 138 h 300"/>
                  <a:gd name="T46" fmla="*/ 369 w 397"/>
                  <a:gd name="T47" fmla="*/ 138 h 300"/>
                  <a:gd name="T48" fmla="*/ 369 w 397"/>
                  <a:gd name="T49" fmla="*/ 138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97" h="300">
                    <a:moveTo>
                      <a:pt x="378" y="67"/>
                    </a:moveTo>
                    <a:lnTo>
                      <a:pt x="243" y="112"/>
                    </a:lnTo>
                    <a:lnTo>
                      <a:pt x="171" y="57"/>
                    </a:lnTo>
                    <a:lnTo>
                      <a:pt x="121" y="105"/>
                    </a:lnTo>
                    <a:lnTo>
                      <a:pt x="14" y="0"/>
                    </a:lnTo>
                    <a:lnTo>
                      <a:pt x="14" y="288"/>
                    </a:lnTo>
                    <a:lnTo>
                      <a:pt x="0" y="288"/>
                    </a:lnTo>
                    <a:lnTo>
                      <a:pt x="0" y="300"/>
                    </a:lnTo>
                    <a:lnTo>
                      <a:pt x="397" y="300"/>
                    </a:lnTo>
                    <a:lnTo>
                      <a:pt x="397" y="288"/>
                    </a:lnTo>
                    <a:lnTo>
                      <a:pt x="378" y="288"/>
                    </a:lnTo>
                    <a:lnTo>
                      <a:pt x="378" y="67"/>
                    </a:lnTo>
                    <a:close/>
                    <a:moveTo>
                      <a:pt x="369" y="138"/>
                    </a:moveTo>
                    <a:lnTo>
                      <a:pt x="243" y="179"/>
                    </a:lnTo>
                    <a:lnTo>
                      <a:pt x="171" y="143"/>
                    </a:lnTo>
                    <a:lnTo>
                      <a:pt x="119" y="174"/>
                    </a:lnTo>
                    <a:lnTo>
                      <a:pt x="26" y="72"/>
                    </a:lnTo>
                    <a:lnTo>
                      <a:pt x="26" y="27"/>
                    </a:lnTo>
                    <a:lnTo>
                      <a:pt x="119" y="122"/>
                    </a:lnTo>
                    <a:lnTo>
                      <a:pt x="171" y="72"/>
                    </a:lnTo>
                    <a:lnTo>
                      <a:pt x="240" y="124"/>
                    </a:lnTo>
                    <a:lnTo>
                      <a:pt x="369" y="81"/>
                    </a:lnTo>
                    <a:lnTo>
                      <a:pt x="369" y="138"/>
                    </a:lnTo>
                    <a:close/>
                    <a:moveTo>
                      <a:pt x="369" y="138"/>
                    </a:moveTo>
                    <a:lnTo>
                      <a:pt x="369" y="13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" name="Freeform 18"/>
              <p:cNvSpPr>
                <a:spLocks noEditPoints="1"/>
              </p:cNvSpPr>
              <p:nvPr/>
            </p:nvSpPr>
            <p:spPr bwMode="auto">
              <a:xfrm>
                <a:off x="6248737" y="973665"/>
                <a:ext cx="630238" cy="476250"/>
              </a:xfrm>
              <a:custGeom>
                <a:avLst/>
                <a:gdLst>
                  <a:gd name="T0" fmla="*/ 378 w 397"/>
                  <a:gd name="T1" fmla="*/ 67 h 300"/>
                  <a:gd name="T2" fmla="*/ 243 w 397"/>
                  <a:gd name="T3" fmla="*/ 112 h 300"/>
                  <a:gd name="T4" fmla="*/ 171 w 397"/>
                  <a:gd name="T5" fmla="*/ 57 h 300"/>
                  <a:gd name="T6" fmla="*/ 121 w 397"/>
                  <a:gd name="T7" fmla="*/ 105 h 300"/>
                  <a:gd name="T8" fmla="*/ 14 w 397"/>
                  <a:gd name="T9" fmla="*/ 0 h 300"/>
                  <a:gd name="T10" fmla="*/ 14 w 397"/>
                  <a:gd name="T11" fmla="*/ 288 h 300"/>
                  <a:gd name="T12" fmla="*/ 0 w 397"/>
                  <a:gd name="T13" fmla="*/ 288 h 300"/>
                  <a:gd name="T14" fmla="*/ 0 w 397"/>
                  <a:gd name="T15" fmla="*/ 300 h 300"/>
                  <a:gd name="T16" fmla="*/ 397 w 397"/>
                  <a:gd name="T17" fmla="*/ 300 h 300"/>
                  <a:gd name="T18" fmla="*/ 397 w 397"/>
                  <a:gd name="T19" fmla="*/ 288 h 300"/>
                  <a:gd name="T20" fmla="*/ 378 w 397"/>
                  <a:gd name="T21" fmla="*/ 288 h 300"/>
                  <a:gd name="T22" fmla="*/ 378 w 397"/>
                  <a:gd name="T23" fmla="*/ 67 h 300"/>
                  <a:gd name="T24" fmla="*/ 369 w 397"/>
                  <a:gd name="T25" fmla="*/ 138 h 300"/>
                  <a:gd name="T26" fmla="*/ 243 w 397"/>
                  <a:gd name="T27" fmla="*/ 179 h 300"/>
                  <a:gd name="T28" fmla="*/ 171 w 397"/>
                  <a:gd name="T29" fmla="*/ 143 h 300"/>
                  <a:gd name="T30" fmla="*/ 119 w 397"/>
                  <a:gd name="T31" fmla="*/ 174 h 300"/>
                  <a:gd name="T32" fmla="*/ 26 w 397"/>
                  <a:gd name="T33" fmla="*/ 72 h 300"/>
                  <a:gd name="T34" fmla="*/ 26 w 397"/>
                  <a:gd name="T35" fmla="*/ 27 h 300"/>
                  <a:gd name="T36" fmla="*/ 119 w 397"/>
                  <a:gd name="T37" fmla="*/ 122 h 300"/>
                  <a:gd name="T38" fmla="*/ 171 w 397"/>
                  <a:gd name="T39" fmla="*/ 72 h 300"/>
                  <a:gd name="T40" fmla="*/ 240 w 397"/>
                  <a:gd name="T41" fmla="*/ 124 h 300"/>
                  <a:gd name="T42" fmla="*/ 369 w 397"/>
                  <a:gd name="T43" fmla="*/ 81 h 300"/>
                  <a:gd name="T44" fmla="*/ 369 w 397"/>
                  <a:gd name="T45" fmla="*/ 138 h 300"/>
                  <a:gd name="T46" fmla="*/ 369 w 397"/>
                  <a:gd name="T47" fmla="*/ 138 h 300"/>
                  <a:gd name="T48" fmla="*/ 369 w 397"/>
                  <a:gd name="T49" fmla="*/ 138 h 3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97" h="300">
                    <a:moveTo>
                      <a:pt x="378" y="67"/>
                    </a:moveTo>
                    <a:lnTo>
                      <a:pt x="243" y="112"/>
                    </a:lnTo>
                    <a:lnTo>
                      <a:pt x="171" y="57"/>
                    </a:lnTo>
                    <a:lnTo>
                      <a:pt x="121" y="105"/>
                    </a:lnTo>
                    <a:lnTo>
                      <a:pt x="14" y="0"/>
                    </a:lnTo>
                    <a:lnTo>
                      <a:pt x="14" y="288"/>
                    </a:lnTo>
                    <a:lnTo>
                      <a:pt x="0" y="288"/>
                    </a:lnTo>
                    <a:lnTo>
                      <a:pt x="0" y="300"/>
                    </a:lnTo>
                    <a:lnTo>
                      <a:pt x="397" y="300"/>
                    </a:lnTo>
                    <a:lnTo>
                      <a:pt x="397" y="288"/>
                    </a:lnTo>
                    <a:lnTo>
                      <a:pt x="378" y="288"/>
                    </a:lnTo>
                    <a:lnTo>
                      <a:pt x="378" y="67"/>
                    </a:lnTo>
                    <a:moveTo>
                      <a:pt x="369" y="138"/>
                    </a:moveTo>
                    <a:lnTo>
                      <a:pt x="243" y="179"/>
                    </a:lnTo>
                    <a:lnTo>
                      <a:pt x="171" y="143"/>
                    </a:lnTo>
                    <a:lnTo>
                      <a:pt x="119" y="174"/>
                    </a:lnTo>
                    <a:lnTo>
                      <a:pt x="26" y="72"/>
                    </a:lnTo>
                    <a:lnTo>
                      <a:pt x="26" y="27"/>
                    </a:lnTo>
                    <a:lnTo>
                      <a:pt x="119" y="122"/>
                    </a:lnTo>
                    <a:lnTo>
                      <a:pt x="171" y="72"/>
                    </a:lnTo>
                    <a:lnTo>
                      <a:pt x="240" y="124"/>
                    </a:lnTo>
                    <a:lnTo>
                      <a:pt x="369" y="81"/>
                    </a:lnTo>
                    <a:lnTo>
                      <a:pt x="369" y="138"/>
                    </a:lnTo>
                    <a:moveTo>
                      <a:pt x="369" y="138"/>
                    </a:moveTo>
                    <a:lnTo>
                      <a:pt x="369" y="13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39" name="组合 38"/>
            <p:cNvGrpSpPr/>
            <p:nvPr/>
          </p:nvGrpSpPr>
          <p:grpSpPr>
            <a:xfrm>
              <a:off x="5303423" y="4406900"/>
              <a:ext cx="1569660" cy="702655"/>
              <a:chOff x="5303423" y="4339224"/>
              <a:chExt cx="1569660" cy="702655"/>
            </a:xfrm>
          </p:grpSpPr>
          <p:sp>
            <p:nvSpPr>
              <p:cNvPr id="37" name="TextBox 265"/>
              <p:cNvSpPr txBox="1"/>
              <p:nvPr/>
            </p:nvSpPr>
            <p:spPr bwMode="auto">
              <a:xfrm>
                <a:off x="5303423" y="4339224"/>
                <a:ext cx="1569660" cy="461665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itchFamily="34" charset="-122"/>
                    <a:ea typeface="微软雅黑" pitchFamily="34" charset="-122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5pPr>
                <a:lvl6pPr>
                  <a:defRPr>
                    <a:latin typeface="Calibri" pitchFamily="34" charset="0"/>
                    <a:ea typeface="宋体" pitchFamily="2" charset="-122"/>
                  </a:defRPr>
                </a:lvl6pPr>
                <a:lvl7pPr>
                  <a:defRPr>
                    <a:latin typeface="Calibri" pitchFamily="34" charset="0"/>
                    <a:ea typeface="宋体" pitchFamily="2" charset="-122"/>
                  </a:defRPr>
                </a:lvl7pPr>
                <a:lvl8pPr>
                  <a:defRPr>
                    <a:latin typeface="Calibri" pitchFamily="34" charset="0"/>
                    <a:ea typeface="宋体" pitchFamily="2" charset="-122"/>
                  </a:defRPr>
                </a:lvl8pPr>
                <a:lvl9pPr>
                  <a:defRPr>
                    <a:latin typeface="Calibri" pitchFamily="34" charset="0"/>
                    <a:ea typeface="宋体" pitchFamily="2" charset="-122"/>
                  </a:defRPr>
                </a:lvl9pPr>
              </a:lstStyle>
              <a:p>
                <a:pPr>
                  <a:defRPr/>
                </a:pPr>
                <a:r>
                  <a:rPr lang="zh-CN" altLang="en-US" sz="2400" dirty="0">
                    <a:solidFill>
                      <a:schemeClr val="bg1"/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添加标题</a:t>
                </a:r>
              </a:p>
            </p:txBody>
          </p:sp>
          <p:sp>
            <p:nvSpPr>
              <p:cNvPr id="38" name="矩形 86"/>
              <p:cNvSpPr>
                <a:spLocks noChangeArrowheads="1"/>
              </p:cNvSpPr>
              <p:nvPr/>
            </p:nvSpPr>
            <p:spPr bwMode="auto">
              <a:xfrm>
                <a:off x="5511815" y="4672547"/>
                <a:ext cx="1152880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en-US" altLang="zh-CN" dirty="0">
                    <a:solidFill>
                      <a:schemeClr val="bg1">
                        <a:lumMod val="95000"/>
                      </a:schemeClr>
                    </a:solidFill>
                  </a:rPr>
                  <a:t>Add a title</a:t>
                </a:r>
                <a:endParaRPr lang="zh-CN" altLang="en-US" dirty="0">
                  <a:solidFill>
                    <a:schemeClr val="bg1">
                      <a:lumMod val="95000"/>
                    </a:schemeClr>
                  </a:solidFill>
                </a:endParaRPr>
              </a:p>
            </p:txBody>
          </p:sp>
        </p:grpSp>
      </p:grpSp>
      <p:grpSp>
        <p:nvGrpSpPr>
          <p:cNvPr id="108" name="组合 107"/>
          <p:cNvGrpSpPr/>
          <p:nvPr/>
        </p:nvGrpSpPr>
        <p:grpSpPr>
          <a:xfrm>
            <a:off x="7994284" y="1001643"/>
            <a:ext cx="2236406" cy="2236406"/>
            <a:chOff x="2167870" y="1488015"/>
            <a:chExt cx="2236406" cy="2236406"/>
          </a:xfrm>
        </p:grpSpPr>
        <p:sp>
          <p:nvSpPr>
            <p:cNvPr id="10" name="任意多边形 9"/>
            <p:cNvSpPr/>
            <p:nvPr/>
          </p:nvSpPr>
          <p:spPr>
            <a:xfrm>
              <a:off x="2167870" y="1488015"/>
              <a:ext cx="2236406" cy="2236406"/>
            </a:xfrm>
            <a:custGeom>
              <a:avLst/>
              <a:gdLst>
                <a:gd name="connsiteX0" fmla="*/ 1998369 w 3996738"/>
                <a:gd name="connsiteY0" fmla="*/ 0 h 3996738"/>
                <a:gd name="connsiteX1" fmla="*/ 3996738 w 3996738"/>
                <a:gd name="connsiteY1" fmla="*/ 1998369 h 3996738"/>
                <a:gd name="connsiteX2" fmla="*/ 1998369 w 3996738"/>
                <a:gd name="connsiteY2" fmla="*/ 3996738 h 3996738"/>
                <a:gd name="connsiteX3" fmla="*/ 0 w 3996738"/>
                <a:gd name="connsiteY3" fmla="*/ 1998369 h 3996738"/>
                <a:gd name="connsiteX4" fmla="*/ 1998369 w 3996738"/>
                <a:gd name="connsiteY4" fmla="*/ 0 h 3996738"/>
                <a:gd name="connsiteX5" fmla="*/ 1998369 w 3996738"/>
                <a:gd name="connsiteY5" fmla="*/ 270369 h 3996738"/>
                <a:gd name="connsiteX6" fmla="*/ 270369 w 3996738"/>
                <a:gd name="connsiteY6" fmla="*/ 1998369 h 3996738"/>
                <a:gd name="connsiteX7" fmla="*/ 1998369 w 3996738"/>
                <a:gd name="connsiteY7" fmla="*/ 3726369 h 3996738"/>
                <a:gd name="connsiteX8" fmla="*/ 3726369 w 3996738"/>
                <a:gd name="connsiteY8" fmla="*/ 1998369 h 3996738"/>
                <a:gd name="connsiteX9" fmla="*/ 1998369 w 3996738"/>
                <a:gd name="connsiteY9" fmla="*/ 270369 h 399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96738" h="3996738">
                  <a:moveTo>
                    <a:pt x="1998369" y="0"/>
                  </a:moveTo>
                  <a:cubicBezTo>
                    <a:pt x="3102038" y="0"/>
                    <a:pt x="3996738" y="894700"/>
                    <a:pt x="3996738" y="1998369"/>
                  </a:cubicBezTo>
                  <a:cubicBezTo>
                    <a:pt x="3996738" y="3102038"/>
                    <a:pt x="3102038" y="3996738"/>
                    <a:pt x="1998369" y="3996738"/>
                  </a:cubicBezTo>
                  <a:cubicBezTo>
                    <a:pt x="894700" y="3996738"/>
                    <a:pt x="0" y="3102038"/>
                    <a:pt x="0" y="1998369"/>
                  </a:cubicBezTo>
                  <a:cubicBezTo>
                    <a:pt x="0" y="894700"/>
                    <a:pt x="894700" y="0"/>
                    <a:pt x="1998369" y="0"/>
                  </a:cubicBezTo>
                  <a:close/>
                  <a:moveTo>
                    <a:pt x="1998369" y="270369"/>
                  </a:moveTo>
                  <a:cubicBezTo>
                    <a:pt x="1044021" y="270369"/>
                    <a:pt x="270369" y="1044021"/>
                    <a:pt x="270369" y="1998369"/>
                  </a:cubicBezTo>
                  <a:cubicBezTo>
                    <a:pt x="270369" y="2952717"/>
                    <a:pt x="1044021" y="3726369"/>
                    <a:pt x="1998369" y="3726369"/>
                  </a:cubicBezTo>
                  <a:cubicBezTo>
                    <a:pt x="2952717" y="3726369"/>
                    <a:pt x="3726369" y="2952717"/>
                    <a:pt x="3726369" y="1998369"/>
                  </a:cubicBezTo>
                  <a:cubicBezTo>
                    <a:pt x="3726369" y="1044021"/>
                    <a:pt x="2952717" y="270369"/>
                    <a:pt x="1998369" y="270369"/>
                  </a:cubicBezTo>
                  <a:close/>
                </a:path>
              </a:pathLst>
            </a:custGeom>
            <a:solidFill>
              <a:schemeClr val="bg1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9" name="TextBox 265"/>
            <p:cNvSpPr txBox="1"/>
            <p:nvPr/>
          </p:nvSpPr>
          <p:spPr bwMode="auto">
            <a:xfrm>
              <a:off x="2627795" y="2267079"/>
              <a:ext cx="1377300" cy="52322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600" spc="300"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5pPr>
              <a:lvl6pPr>
                <a:defRPr>
                  <a:latin typeface="Calibri" pitchFamily="34" charset="0"/>
                  <a:ea typeface="宋体" pitchFamily="2" charset="-122"/>
                </a:defRPr>
              </a:lvl6pPr>
              <a:lvl7pPr>
                <a:defRPr>
                  <a:latin typeface="Calibri" pitchFamily="34" charset="0"/>
                  <a:ea typeface="宋体" pitchFamily="2" charset="-122"/>
                </a:defRPr>
              </a:lvl7pPr>
              <a:lvl8pPr>
                <a:defRPr>
                  <a:latin typeface="Calibri" pitchFamily="34" charset="0"/>
                  <a:ea typeface="宋体" pitchFamily="2" charset="-122"/>
                </a:defRPr>
              </a:lvl8pPr>
              <a:lvl9pPr>
                <a:defRPr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zh-CN" altLang="en-US" sz="2800" dirty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关键词</a:t>
              </a:r>
            </a:p>
          </p:txBody>
        </p:sp>
        <p:sp>
          <p:nvSpPr>
            <p:cNvPr id="100" name="矩形 86"/>
            <p:cNvSpPr>
              <a:spLocks noChangeArrowheads="1"/>
            </p:cNvSpPr>
            <p:nvPr/>
          </p:nvSpPr>
          <p:spPr bwMode="auto">
            <a:xfrm>
              <a:off x="2687353" y="2652937"/>
              <a:ext cx="1148776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en-US" altLang="zh-CN" sz="2000" dirty="0" smtClean="0">
                  <a:solidFill>
                    <a:schemeClr val="bg1">
                      <a:lumMod val="95000"/>
                    </a:schemeClr>
                  </a:solidFill>
                </a:rPr>
                <a:t>Key word</a:t>
              </a:r>
              <a:endParaRPr lang="zh-CN" altLang="en-US" sz="20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grpSp>
        <p:nvGrpSpPr>
          <p:cNvPr id="111" name="组合 110"/>
          <p:cNvGrpSpPr/>
          <p:nvPr/>
        </p:nvGrpSpPr>
        <p:grpSpPr>
          <a:xfrm>
            <a:off x="1961311" y="1882750"/>
            <a:ext cx="1587264" cy="1587264"/>
            <a:chOff x="7618812" y="1698153"/>
            <a:chExt cx="1587264" cy="1587264"/>
          </a:xfrm>
        </p:grpSpPr>
        <p:sp>
          <p:nvSpPr>
            <p:cNvPr id="43" name="任意多边形 42"/>
            <p:cNvSpPr/>
            <p:nvPr/>
          </p:nvSpPr>
          <p:spPr>
            <a:xfrm>
              <a:off x="7618812" y="1698153"/>
              <a:ext cx="1587264" cy="1587264"/>
            </a:xfrm>
            <a:custGeom>
              <a:avLst/>
              <a:gdLst>
                <a:gd name="connsiteX0" fmla="*/ 1998369 w 3996738"/>
                <a:gd name="connsiteY0" fmla="*/ 0 h 3996738"/>
                <a:gd name="connsiteX1" fmla="*/ 3996738 w 3996738"/>
                <a:gd name="connsiteY1" fmla="*/ 1998369 h 3996738"/>
                <a:gd name="connsiteX2" fmla="*/ 1998369 w 3996738"/>
                <a:gd name="connsiteY2" fmla="*/ 3996738 h 3996738"/>
                <a:gd name="connsiteX3" fmla="*/ 0 w 3996738"/>
                <a:gd name="connsiteY3" fmla="*/ 1998369 h 3996738"/>
                <a:gd name="connsiteX4" fmla="*/ 1998369 w 3996738"/>
                <a:gd name="connsiteY4" fmla="*/ 0 h 3996738"/>
                <a:gd name="connsiteX5" fmla="*/ 1998369 w 3996738"/>
                <a:gd name="connsiteY5" fmla="*/ 270369 h 3996738"/>
                <a:gd name="connsiteX6" fmla="*/ 270369 w 3996738"/>
                <a:gd name="connsiteY6" fmla="*/ 1998369 h 3996738"/>
                <a:gd name="connsiteX7" fmla="*/ 1998369 w 3996738"/>
                <a:gd name="connsiteY7" fmla="*/ 3726369 h 3996738"/>
                <a:gd name="connsiteX8" fmla="*/ 3726369 w 3996738"/>
                <a:gd name="connsiteY8" fmla="*/ 1998369 h 3996738"/>
                <a:gd name="connsiteX9" fmla="*/ 1998369 w 3996738"/>
                <a:gd name="connsiteY9" fmla="*/ 270369 h 399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96738" h="3996738">
                  <a:moveTo>
                    <a:pt x="1998369" y="0"/>
                  </a:moveTo>
                  <a:cubicBezTo>
                    <a:pt x="3102038" y="0"/>
                    <a:pt x="3996738" y="894700"/>
                    <a:pt x="3996738" y="1998369"/>
                  </a:cubicBezTo>
                  <a:cubicBezTo>
                    <a:pt x="3996738" y="3102038"/>
                    <a:pt x="3102038" y="3996738"/>
                    <a:pt x="1998369" y="3996738"/>
                  </a:cubicBezTo>
                  <a:cubicBezTo>
                    <a:pt x="894700" y="3996738"/>
                    <a:pt x="0" y="3102038"/>
                    <a:pt x="0" y="1998369"/>
                  </a:cubicBezTo>
                  <a:cubicBezTo>
                    <a:pt x="0" y="894700"/>
                    <a:pt x="894700" y="0"/>
                    <a:pt x="1998369" y="0"/>
                  </a:cubicBezTo>
                  <a:close/>
                  <a:moveTo>
                    <a:pt x="1998369" y="270369"/>
                  </a:moveTo>
                  <a:cubicBezTo>
                    <a:pt x="1044021" y="270369"/>
                    <a:pt x="270369" y="1044021"/>
                    <a:pt x="270369" y="1998369"/>
                  </a:cubicBezTo>
                  <a:cubicBezTo>
                    <a:pt x="270369" y="2952717"/>
                    <a:pt x="1044021" y="3726369"/>
                    <a:pt x="1998369" y="3726369"/>
                  </a:cubicBezTo>
                  <a:cubicBezTo>
                    <a:pt x="2952717" y="3726369"/>
                    <a:pt x="3726369" y="2952717"/>
                    <a:pt x="3726369" y="1998369"/>
                  </a:cubicBezTo>
                  <a:cubicBezTo>
                    <a:pt x="3726369" y="1044021"/>
                    <a:pt x="2952717" y="270369"/>
                    <a:pt x="1998369" y="270369"/>
                  </a:cubicBezTo>
                  <a:close/>
                </a:path>
              </a:pathLst>
            </a:custGeom>
            <a:solidFill>
              <a:schemeClr val="bg1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3" name="TextBox 265"/>
            <p:cNvSpPr txBox="1"/>
            <p:nvPr/>
          </p:nvSpPr>
          <p:spPr bwMode="auto">
            <a:xfrm>
              <a:off x="7830743" y="2168000"/>
              <a:ext cx="1223412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600" spc="300"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5pPr>
              <a:lvl6pPr>
                <a:defRPr>
                  <a:latin typeface="Calibri" pitchFamily="34" charset="0"/>
                  <a:ea typeface="宋体" pitchFamily="2" charset="-122"/>
                </a:defRPr>
              </a:lvl6pPr>
              <a:lvl7pPr>
                <a:defRPr>
                  <a:latin typeface="Calibri" pitchFamily="34" charset="0"/>
                  <a:ea typeface="宋体" pitchFamily="2" charset="-122"/>
                </a:defRPr>
              </a:lvl7pPr>
              <a:lvl8pPr>
                <a:defRPr>
                  <a:latin typeface="Calibri" pitchFamily="34" charset="0"/>
                  <a:ea typeface="宋体" pitchFamily="2" charset="-122"/>
                </a:defRPr>
              </a:lvl8pPr>
              <a:lvl9pPr>
                <a:defRPr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zh-CN" altLang="en-US" sz="2400" dirty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关键词</a:t>
              </a:r>
            </a:p>
          </p:txBody>
        </p:sp>
        <p:sp>
          <p:nvSpPr>
            <p:cNvPr id="104" name="矩形 86"/>
            <p:cNvSpPr>
              <a:spLocks noChangeArrowheads="1"/>
            </p:cNvSpPr>
            <p:nvPr/>
          </p:nvSpPr>
          <p:spPr bwMode="auto">
            <a:xfrm>
              <a:off x="7889766" y="2495270"/>
              <a:ext cx="105541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en-US" altLang="zh-CN" dirty="0" smtClean="0">
                  <a:solidFill>
                    <a:schemeClr val="bg1">
                      <a:lumMod val="95000"/>
                    </a:schemeClr>
                  </a:solidFill>
                </a:rPr>
                <a:t>Key word</a:t>
              </a:r>
              <a:endParaRPr lang="zh-CN" altLang="en-US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grpSp>
        <p:nvGrpSpPr>
          <p:cNvPr id="109" name="组合 108"/>
          <p:cNvGrpSpPr/>
          <p:nvPr/>
        </p:nvGrpSpPr>
        <p:grpSpPr>
          <a:xfrm>
            <a:off x="2624088" y="4729878"/>
            <a:ext cx="1579442" cy="1579442"/>
            <a:chOff x="2261710" y="5024664"/>
            <a:chExt cx="1579442" cy="1579442"/>
          </a:xfrm>
        </p:grpSpPr>
        <p:sp>
          <p:nvSpPr>
            <p:cNvPr id="70" name="任意多边形 69"/>
            <p:cNvSpPr/>
            <p:nvPr/>
          </p:nvSpPr>
          <p:spPr>
            <a:xfrm>
              <a:off x="2261710" y="5024664"/>
              <a:ext cx="1579442" cy="1579442"/>
            </a:xfrm>
            <a:custGeom>
              <a:avLst/>
              <a:gdLst>
                <a:gd name="connsiteX0" fmla="*/ 1998369 w 3996738"/>
                <a:gd name="connsiteY0" fmla="*/ 0 h 3996738"/>
                <a:gd name="connsiteX1" fmla="*/ 3996738 w 3996738"/>
                <a:gd name="connsiteY1" fmla="*/ 1998369 h 3996738"/>
                <a:gd name="connsiteX2" fmla="*/ 1998369 w 3996738"/>
                <a:gd name="connsiteY2" fmla="*/ 3996738 h 3996738"/>
                <a:gd name="connsiteX3" fmla="*/ 0 w 3996738"/>
                <a:gd name="connsiteY3" fmla="*/ 1998369 h 3996738"/>
                <a:gd name="connsiteX4" fmla="*/ 1998369 w 3996738"/>
                <a:gd name="connsiteY4" fmla="*/ 0 h 3996738"/>
                <a:gd name="connsiteX5" fmla="*/ 1998369 w 3996738"/>
                <a:gd name="connsiteY5" fmla="*/ 270369 h 3996738"/>
                <a:gd name="connsiteX6" fmla="*/ 270369 w 3996738"/>
                <a:gd name="connsiteY6" fmla="*/ 1998369 h 3996738"/>
                <a:gd name="connsiteX7" fmla="*/ 1998369 w 3996738"/>
                <a:gd name="connsiteY7" fmla="*/ 3726369 h 3996738"/>
                <a:gd name="connsiteX8" fmla="*/ 3726369 w 3996738"/>
                <a:gd name="connsiteY8" fmla="*/ 1998369 h 3996738"/>
                <a:gd name="connsiteX9" fmla="*/ 1998369 w 3996738"/>
                <a:gd name="connsiteY9" fmla="*/ 270369 h 399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96738" h="3996738">
                  <a:moveTo>
                    <a:pt x="1998369" y="0"/>
                  </a:moveTo>
                  <a:cubicBezTo>
                    <a:pt x="3102038" y="0"/>
                    <a:pt x="3996738" y="894700"/>
                    <a:pt x="3996738" y="1998369"/>
                  </a:cubicBezTo>
                  <a:cubicBezTo>
                    <a:pt x="3996738" y="3102038"/>
                    <a:pt x="3102038" y="3996738"/>
                    <a:pt x="1998369" y="3996738"/>
                  </a:cubicBezTo>
                  <a:cubicBezTo>
                    <a:pt x="894700" y="3996738"/>
                    <a:pt x="0" y="3102038"/>
                    <a:pt x="0" y="1998369"/>
                  </a:cubicBezTo>
                  <a:cubicBezTo>
                    <a:pt x="0" y="894700"/>
                    <a:pt x="894700" y="0"/>
                    <a:pt x="1998369" y="0"/>
                  </a:cubicBezTo>
                  <a:close/>
                  <a:moveTo>
                    <a:pt x="1998369" y="270369"/>
                  </a:moveTo>
                  <a:cubicBezTo>
                    <a:pt x="1044021" y="270369"/>
                    <a:pt x="270369" y="1044021"/>
                    <a:pt x="270369" y="1998369"/>
                  </a:cubicBezTo>
                  <a:cubicBezTo>
                    <a:pt x="270369" y="2952717"/>
                    <a:pt x="1044021" y="3726369"/>
                    <a:pt x="1998369" y="3726369"/>
                  </a:cubicBezTo>
                  <a:cubicBezTo>
                    <a:pt x="2952717" y="3726369"/>
                    <a:pt x="3726369" y="2952717"/>
                    <a:pt x="3726369" y="1998369"/>
                  </a:cubicBezTo>
                  <a:cubicBezTo>
                    <a:pt x="3726369" y="1044021"/>
                    <a:pt x="2952717" y="270369"/>
                    <a:pt x="1998369" y="270369"/>
                  </a:cubicBezTo>
                  <a:close/>
                </a:path>
              </a:pathLst>
            </a:custGeom>
            <a:solidFill>
              <a:schemeClr val="bg1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5" name="TextBox 265"/>
            <p:cNvSpPr txBox="1"/>
            <p:nvPr/>
          </p:nvSpPr>
          <p:spPr bwMode="auto">
            <a:xfrm>
              <a:off x="2568772" y="5539616"/>
              <a:ext cx="992579" cy="369332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600" spc="300"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5pPr>
              <a:lvl6pPr>
                <a:defRPr>
                  <a:latin typeface="Calibri" pitchFamily="34" charset="0"/>
                  <a:ea typeface="宋体" pitchFamily="2" charset="-122"/>
                </a:defRPr>
              </a:lvl6pPr>
              <a:lvl7pPr>
                <a:defRPr>
                  <a:latin typeface="Calibri" pitchFamily="34" charset="0"/>
                  <a:ea typeface="宋体" pitchFamily="2" charset="-122"/>
                </a:defRPr>
              </a:lvl7pPr>
              <a:lvl8pPr>
                <a:defRPr>
                  <a:latin typeface="Calibri" pitchFamily="34" charset="0"/>
                  <a:ea typeface="宋体" pitchFamily="2" charset="-122"/>
                </a:defRPr>
              </a:lvl8pPr>
              <a:lvl9pPr>
                <a:defRPr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zh-CN" altLang="en-US" sz="1800" dirty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关键词</a:t>
              </a:r>
            </a:p>
          </p:txBody>
        </p:sp>
        <p:sp>
          <p:nvSpPr>
            <p:cNvPr id="106" name="矩形 86"/>
            <p:cNvSpPr>
              <a:spLocks noChangeArrowheads="1"/>
            </p:cNvSpPr>
            <p:nvPr/>
          </p:nvSpPr>
          <p:spPr bwMode="auto">
            <a:xfrm>
              <a:off x="2627795" y="5866886"/>
              <a:ext cx="86062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en-US" altLang="zh-CN" sz="1400" dirty="0" smtClean="0">
                  <a:solidFill>
                    <a:schemeClr val="bg1">
                      <a:lumMod val="95000"/>
                    </a:schemeClr>
                  </a:solidFill>
                </a:rPr>
                <a:t>Key word</a:t>
              </a:r>
              <a:endParaRPr lang="zh-CN" altLang="en-US" sz="1400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sp>
        <p:nvSpPr>
          <p:cNvPr id="77" name="任意多边形 76"/>
          <p:cNvSpPr>
            <a:spLocks noChangeAspect="1"/>
          </p:cNvSpPr>
          <p:nvPr/>
        </p:nvSpPr>
        <p:spPr>
          <a:xfrm>
            <a:off x="4376106" y="2038438"/>
            <a:ext cx="3572336" cy="3572336"/>
          </a:xfrm>
          <a:custGeom>
            <a:avLst/>
            <a:gdLst>
              <a:gd name="connsiteX0" fmla="*/ 1998369 w 3996738"/>
              <a:gd name="connsiteY0" fmla="*/ 0 h 3996738"/>
              <a:gd name="connsiteX1" fmla="*/ 3996738 w 3996738"/>
              <a:gd name="connsiteY1" fmla="*/ 1998369 h 3996738"/>
              <a:gd name="connsiteX2" fmla="*/ 1998369 w 3996738"/>
              <a:gd name="connsiteY2" fmla="*/ 3996738 h 3996738"/>
              <a:gd name="connsiteX3" fmla="*/ 0 w 3996738"/>
              <a:gd name="connsiteY3" fmla="*/ 1998369 h 3996738"/>
              <a:gd name="connsiteX4" fmla="*/ 1998369 w 3996738"/>
              <a:gd name="connsiteY4" fmla="*/ 0 h 3996738"/>
              <a:gd name="connsiteX5" fmla="*/ 1998369 w 3996738"/>
              <a:gd name="connsiteY5" fmla="*/ 270369 h 3996738"/>
              <a:gd name="connsiteX6" fmla="*/ 270369 w 3996738"/>
              <a:gd name="connsiteY6" fmla="*/ 1998369 h 3996738"/>
              <a:gd name="connsiteX7" fmla="*/ 1998369 w 3996738"/>
              <a:gd name="connsiteY7" fmla="*/ 3726369 h 3996738"/>
              <a:gd name="connsiteX8" fmla="*/ 3726369 w 3996738"/>
              <a:gd name="connsiteY8" fmla="*/ 1998369 h 3996738"/>
              <a:gd name="connsiteX9" fmla="*/ 1998369 w 3996738"/>
              <a:gd name="connsiteY9" fmla="*/ 270369 h 3996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96738" h="3996738">
                <a:moveTo>
                  <a:pt x="1998369" y="0"/>
                </a:moveTo>
                <a:cubicBezTo>
                  <a:pt x="3102038" y="0"/>
                  <a:pt x="3996738" y="894700"/>
                  <a:pt x="3996738" y="1998369"/>
                </a:cubicBezTo>
                <a:cubicBezTo>
                  <a:pt x="3996738" y="3102038"/>
                  <a:pt x="3102038" y="3996738"/>
                  <a:pt x="1998369" y="3996738"/>
                </a:cubicBezTo>
                <a:cubicBezTo>
                  <a:pt x="894700" y="3996738"/>
                  <a:pt x="0" y="3102038"/>
                  <a:pt x="0" y="1998369"/>
                </a:cubicBezTo>
                <a:cubicBezTo>
                  <a:pt x="0" y="894700"/>
                  <a:pt x="894700" y="0"/>
                  <a:pt x="1998369" y="0"/>
                </a:cubicBezTo>
                <a:close/>
                <a:moveTo>
                  <a:pt x="1998369" y="270369"/>
                </a:moveTo>
                <a:cubicBezTo>
                  <a:pt x="1044021" y="270369"/>
                  <a:pt x="270369" y="1044021"/>
                  <a:pt x="270369" y="1998369"/>
                </a:cubicBezTo>
                <a:cubicBezTo>
                  <a:pt x="270369" y="2952717"/>
                  <a:pt x="1044021" y="3726369"/>
                  <a:pt x="1998369" y="3726369"/>
                </a:cubicBezTo>
                <a:cubicBezTo>
                  <a:pt x="2952717" y="3726369"/>
                  <a:pt x="3726369" y="2952717"/>
                  <a:pt x="3726369" y="1998369"/>
                </a:cubicBezTo>
                <a:cubicBezTo>
                  <a:pt x="3726369" y="1044021"/>
                  <a:pt x="2952717" y="270369"/>
                  <a:pt x="1998369" y="270369"/>
                </a:cubicBezTo>
                <a:close/>
              </a:path>
            </a:pathLst>
          </a:custGeom>
          <a:solidFill>
            <a:srgbClr val="9F0E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10" name="组合 109"/>
          <p:cNvGrpSpPr/>
          <p:nvPr/>
        </p:nvGrpSpPr>
        <p:grpSpPr>
          <a:xfrm>
            <a:off x="7727524" y="3690923"/>
            <a:ext cx="1956077" cy="1956077"/>
            <a:chOff x="8068052" y="3583539"/>
            <a:chExt cx="1956077" cy="1956077"/>
          </a:xfrm>
        </p:grpSpPr>
        <p:sp>
          <p:nvSpPr>
            <p:cNvPr id="44" name="任意多边形 43"/>
            <p:cNvSpPr/>
            <p:nvPr/>
          </p:nvSpPr>
          <p:spPr>
            <a:xfrm>
              <a:off x="8068052" y="3583539"/>
              <a:ext cx="1956077" cy="1956077"/>
            </a:xfrm>
            <a:custGeom>
              <a:avLst/>
              <a:gdLst>
                <a:gd name="connsiteX0" fmla="*/ 1998369 w 3996738"/>
                <a:gd name="connsiteY0" fmla="*/ 0 h 3996738"/>
                <a:gd name="connsiteX1" fmla="*/ 3996738 w 3996738"/>
                <a:gd name="connsiteY1" fmla="*/ 1998369 h 3996738"/>
                <a:gd name="connsiteX2" fmla="*/ 1998369 w 3996738"/>
                <a:gd name="connsiteY2" fmla="*/ 3996738 h 3996738"/>
                <a:gd name="connsiteX3" fmla="*/ 0 w 3996738"/>
                <a:gd name="connsiteY3" fmla="*/ 1998369 h 3996738"/>
                <a:gd name="connsiteX4" fmla="*/ 1998369 w 3996738"/>
                <a:gd name="connsiteY4" fmla="*/ 0 h 3996738"/>
                <a:gd name="connsiteX5" fmla="*/ 1998369 w 3996738"/>
                <a:gd name="connsiteY5" fmla="*/ 270369 h 3996738"/>
                <a:gd name="connsiteX6" fmla="*/ 270369 w 3996738"/>
                <a:gd name="connsiteY6" fmla="*/ 1998369 h 3996738"/>
                <a:gd name="connsiteX7" fmla="*/ 1998369 w 3996738"/>
                <a:gd name="connsiteY7" fmla="*/ 3726369 h 3996738"/>
                <a:gd name="connsiteX8" fmla="*/ 3726369 w 3996738"/>
                <a:gd name="connsiteY8" fmla="*/ 1998369 h 3996738"/>
                <a:gd name="connsiteX9" fmla="*/ 1998369 w 3996738"/>
                <a:gd name="connsiteY9" fmla="*/ 270369 h 3996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96738" h="3996738">
                  <a:moveTo>
                    <a:pt x="1998369" y="0"/>
                  </a:moveTo>
                  <a:cubicBezTo>
                    <a:pt x="3102038" y="0"/>
                    <a:pt x="3996738" y="894700"/>
                    <a:pt x="3996738" y="1998369"/>
                  </a:cubicBezTo>
                  <a:cubicBezTo>
                    <a:pt x="3996738" y="3102038"/>
                    <a:pt x="3102038" y="3996738"/>
                    <a:pt x="1998369" y="3996738"/>
                  </a:cubicBezTo>
                  <a:cubicBezTo>
                    <a:pt x="894700" y="3996738"/>
                    <a:pt x="0" y="3102038"/>
                    <a:pt x="0" y="1998369"/>
                  </a:cubicBezTo>
                  <a:cubicBezTo>
                    <a:pt x="0" y="894700"/>
                    <a:pt x="894700" y="0"/>
                    <a:pt x="1998369" y="0"/>
                  </a:cubicBezTo>
                  <a:close/>
                  <a:moveTo>
                    <a:pt x="1998369" y="270369"/>
                  </a:moveTo>
                  <a:cubicBezTo>
                    <a:pt x="1044021" y="270369"/>
                    <a:pt x="270369" y="1044021"/>
                    <a:pt x="270369" y="1998369"/>
                  </a:cubicBezTo>
                  <a:cubicBezTo>
                    <a:pt x="270369" y="2952717"/>
                    <a:pt x="1044021" y="3726369"/>
                    <a:pt x="1998369" y="3726369"/>
                  </a:cubicBezTo>
                  <a:cubicBezTo>
                    <a:pt x="2952717" y="3726369"/>
                    <a:pt x="3726369" y="2952717"/>
                    <a:pt x="3726369" y="1998369"/>
                  </a:cubicBezTo>
                  <a:cubicBezTo>
                    <a:pt x="3726369" y="1044021"/>
                    <a:pt x="2952717" y="270369"/>
                    <a:pt x="1998369" y="270369"/>
                  </a:cubicBezTo>
                  <a:close/>
                </a:path>
              </a:pathLst>
            </a:custGeom>
            <a:solidFill>
              <a:schemeClr val="bg1"/>
            </a:solidFill>
            <a:ln w="317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1" name="TextBox 265"/>
            <p:cNvSpPr txBox="1"/>
            <p:nvPr/>
          </p:nvSpPr>
          <p:spPr bwMode="auto">
            <a:xfrm>
              <a:off x="8442449" y="4228269"/>
              <a:ext cx="1223412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600" spc="300"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5pPr>
              <a:lvl6pPr>
                <a:defRPr>
                  <a:latin typeface="Calibri" pitchFamily="34" charset="0"/>
                  <a:ea typeface="宋体" pitchFamily="2" charset="-122"/>
                </a:defRPr>
              </a:lvl6pPr>
              <a:lvl7pPr>
                <a:defRPr>
                  <a:latin typeface="Calibri" pitchFamily="34" charset="0"/>
                  <a:ea typeface="宋体" pitchFamily="2" charset="-122"/>
                </a:defRPr>
              </a:lvl7pPr>
              <a:lvl8pPr>
                <a:defRPr>
                  <a:latin typeface="Calibri" pitchFamily="34" charset="0"/>
                  <a:ea typeface="宋体" pitchFamily="2" charset="-122"/>
                </a:defRPr>
              </a:lvl8pPr>
              <a:lvl9pPr>
                <a:defRPr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zh-CN" altLang="en-US" sz="2400" dirty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关键词</a:t>
              </a:r>
            </a:p>
          </p:txBody>
        </p:sp>
        <p:sp>
          <p:nvSpPr>
            <p:cNvPr id="102" name="矩形 86"/>
            <p:cNvSpPr>
              <a:spLocks noChangeArrowheads="1"/>
            </p:cNvSpPr>
            <p:nvPr/>
          </p:nvSpPr>
          <p:spPr bwMode="auto">
            <a:xfrm>
              <a:off x="8501472" y="4555539"/>
              <a:ext cx="1055417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en-US" altLang="zh-CN" dirty="0" smtClean="0">
                  <a:solidFill>
                    <a:schemeClr val="bg1">
                      <a:lumMod val="95000"/>
                    </a:schemeClr>
                  </a:solidFill>
                </a:rPr>
                <a:t>Key word</a:t>
              </a:r>
              <a:endParaRPr lang="zh-CN" altLang="en-US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7184624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3" name="组合 2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5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4" name="文本框 3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1881752" y="1772816"/>
            <a:ext cx="8606736" cy="4174852"/>
            <a:chOff x="1981520" y="1771327"/>
            <a:chExt cx="8606736" cy="4174852"/>
          </a:xfrm>
        </p:grpSpPr>
        <p:grpSp>
          <p:nvGrpSpPr>
            <p:cNvPr id="21" name="Gruppieren 35"/>
            <p:cNvGrpSpPr/>
            <p:nvPr/>
          </p:nvGrpSpPr>
          <p:grpSpPr bwMode="gray">
            <a:xfrm>
              <a:off x="4038598" y="1772816"/>
              <a:ext cx="4114803" cy="4114801"/>
              <a:chOff x="2827337" y="1927225"/>
              <a:chExt cx="3508376" cy="3508375"/>
            </a:xfrm>
            <a:effectLst/>
            <a:scene3d>
              <a:camera prst="orthographicFront"/>
              <a:lightRig rig="balanced" dir="t"/>
            </a:scene3d>
          </p:grpSpPr>
          <p:sp>
            <p:nvSpPr>
              <p:cNvPr id="22" name="Freeform 15" descr="© INSCALE GmbH, 26.05.2010&#10;http://www.presentationload.com/"/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3138487" y="4237038"/>
                <a:ext cx="2981324" cy="1198562"/>
              </a:xfrm>
              <a:custGeom>
                <a:avLst/>
                <a:gdLst/>
                <a:ahLst/>
                <a:cxnLst>
                  <a:cxn ang="0">
                    <a:pos x="417" y="0"/>
                  </a:cxn>
                  <a:cxn ang="0">
                    <a:pos x="413" y="6"/>
                  </a:cxn>
                  <a:cxn ang="0">
                    <a:pos x="142" y="79"/>
                  </a:cxn>
                  <a:cxn ang="0">
                    <a:pos x="83" y="27"/>
                  </a:cxn>
                  <a:cxn ang="0">
                    <a:pos x="20" y="15"/>
                  </a:cxn>
                  <a:cxn ang="0">
                    <a:pos x="0" y="74"/>
                  </a:cxn>
                  <a:cxn ang="0">
                    <a:pos x="241" y="200"/>
                  </a:cxn>
                  <a:cxn ang="0">
                    <a:pos x="498" y="47"/>
                  </a:cxn>
                  <a:cxn ang="0">
                    <a:pos x="437" y="60"/>
                  </a:cxn>
                  <a:cxn ang="0">
                    <a:pos x="417" y="0"/>
                  </a:cxn>
                </a:cxnLst>
                <a:rect l="0" t="0" r="r" b="b"/>
                <a:pathLst>
                  <a:path w="498" h="200">
                    <a:moveTo>
                      <a:pt x="417" y="0"/>
                    </a:moveTo>
                    <a:cubicBezTo>
                      <a:pt x="415" y="2"/>
                      <a:pt x="414" y="4"/>
                      <a:pt x="413" y="6"/>
                    </a:cubicBezTo>
                    <a:cubicBezTo>
                      <a:pt x="358" y="101"/>
                      <a:pt x="237" y="134"/>
                      <a:pt x="142" y="79"/>
                    </a:cubicBezTo>
                    <a:cubicBezTo>
                      <a:pt x="118" y="66"/>
                      <a:pt x="99" y="48"/>
                      <a:pt x="83" y="27"/>
                    </a:cubicBezTo>
                    <a:cubicBezTo>
                      <a:pt x="20" y="15"/>
                      <a:pt x="20" y="15"/>
                      <a:pt x="20" y="15"/>
                    </a:cubicBezTo>
                    <a:cubicBezTo>
                      <a:pt x="0" y="74"/>
                      <a:pt x="0" y="74"/>
                      <a:pt x="0" y="74"/>
                    </a:cubicBezTo>
                    <a:cubicBezTo>
                      <a:pt x="53" y="150"/>
                      <a:pt x="141" y="200"/>
                      <a:pt x="241" y="200"/>
                    </a:cubicBezTo>
                    <a:cubicBezTo>
                      <a:pt x="352" y="200"/>
                      <a:pt x="449" y="138"/>
                      <a:pt x="498" y="47"/>
                    </a:cubicBezTo>
                    <a:cubicBezTo>
                      <a:pt x="437" y="60"/>
                      <a:pt x="437" y="60"/>
                      <a:pt x="437" y="60"/>
                    </a:cubicBezTo>
                    <a:lnTo>
                      <a:pt x="417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6" descr="© INSCALE GmbH, 26.05.2010&#10;http://www.presentationload.com/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2827337" y="1933575"/>
                <a:ext cx="1855787" cy="2663825"/>
              </a:xfrm>
              <a:custGeom>
                <a:avLst/>
                <a:gdLst/>
                <a:ahLst/>
                <a:cxnLst>
                  <a:cxn ang="0">
                    <a:pos x="124" y="397"/>
                  </a:cxn>
                  <a:cxn ang="0">
                    <a:pos x="121" y="193"/>
                  </a:cxn>
                  <a:cxn ang="0">
                    <a:pos x="268" y="95"/>
                  </a:cxn>
                  <a:cxn ang="0">
                    <a:pos x="310" y="47"/>
                  </a:cxn>
                  <a:cxn ang="0">
                    <a:pos x="269" y="0"/>
                  </a:cxn>
                  <a:cxn ang="0">
                    <a:pos x="0" y="292"/>
                  </a:cxn>
                  <a:cxn ang="0">
                    <a:pos x="43" y="445"/>
                  </a:cxn>
                  <a:cxn ang="0">
                    <a:pos x="64" y="385"/>
                  </a:cxn>
                  <a:cxn ang="0">
                    <a:pos x="124" y="397"/>
                  </a:cxn>
                </a:cxnLst>
                <a:rect l="0" t="0" r="r" b="b"/>
                <a:pathLst>
                  <a:path w="310" h="445">
                    <a:moveTo>
                      <a:pt x="124" y="397"/>
                    </a:moveTo>
                    <a:cubicBezTo>
                      <a:pt x="87" y="337"/>
                      <a:pt x="83" y="259"/>
                      <a:pt x="121" y="193"/>
                    </a:cubicBezTo>
                    <a:cubicBezTo>
                      <a:pt x="153" y="137"/>
                      <a:pt x="208" y="103"/>
                      <a:pt x="268" y="95"/>
                    </a:cubicBezTo>
                    <a:cubicBezTo>
                      <a:pt x="310" y="47"/>
                      <a:pt x="310" y="47"/>
                      <a:pt x="310" y="47"/>
                    </a:cubicBezTo>
                    <a:cubicBezTo>
                      <a:pt x="269" y="0"/>
                      <a:pt x="269" y="0"/>
                      <a:pt x="269" y="0"/>
                    </a:cubicBezTo>
                    <a:cubicBezTo>
                      <a:pt x="119" y="13"/>
                      <a:pt x="0" y="139"/>
                      <a:pt x="0" y="292"/>
                    </a:cubicBezTo>
                    <a:cubicBezTo>
                      <a:pt x="0" y="348"/>
                      <a:pt x="16" y="401"/>
                      <a:pt x="43" y="445"/>
                    </a:cubicBezTo>
                    <a:cubicBezTo>
                      <a:pt x="64" y="385"/>
                      <a:pt x="64" y="385"/>
                      <a:pt x="64" y="385"/>
                    </a:cubicBezTo>
                    <a:lnTo>
                      <a:pt x="124" y="39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7" descr="© INSCALE GmbH, 26.05.2010&#10;http://www.presentationload.com/"/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4538663" y="1927225"/>
                <a:ext cx="1797050" cy="2573338"/>
              </a:xfrm>
              <a:custGeom>
                <a:avLst/>
                <a:gdLst/>
                <a:ahLst/>
                <a:cxnLst>
                  <a:cxn ang="0">
                    <a:pos x="0" y="95"/>
                  </a:cxn>
                  <a:cxn ang="0">
                    <a:pos x="106" y="121"/>
                  </a:cxn>
                  <a:cxn ang="0">
                    <a:pos x="191" y="369"/>
                  </a:cxn>
                  <a:cxn ang="0">
                    <a:pos x="211" y="430"/>
                  </a:cxn>
                  <a:cxn ang="0">
                    <a:pos x="272" y="418"/>
                  </a:cxn>
                  <a:cxn ang="0">
                    <a:pos x="300" y="293"/>
                  </a:cxn>
                  <a:cxn ang="0">
                    <a:pos x="7" y="0"/>
                  </a:cxn>
                  <a:cxn ang="0">
                    <a:pos x="0" y="1"/>
                  </a:cxn>
                  <a:cxn ang="0">
                    <a:pos x="42" y="48"/>
                  </a:cxn>
                  <a:cxn ang="0">
                    <a:pos x="0" y="95"/>
                  </a:cxn>
                </a:cxnLst>
                <a:rect l="0" t="0" r="r" b="b"/>
                <a:pathLst>
                  <a:path w="300" h="430">
                    <a:moveTo>
                      <a:pt x="0" y="95"/>
                    </a:moveTo>
                    <a:cubicBezTo>
                      <a:pt x="36" y="94"/>
                      <a:pt x="73" y="102"/>
                      <a:pt x="106" y="121"/>
                    </a:cubicBezTo>
                    <a:cubicBezTo>
                      <a:pt x="193" y="172"/>
                      <a:pt x="228" y="278"/>
                      <a:pt x="191" y="369"/>
                    </a:cubicBezTo>
                    <a:cubicBezTo>
                      <a:pt x="211" y="430"/>
                      <a:pt x="211" y="430"/>
                      <a:pt x="211" y="430"/>
                    </a:cubicBezTo>
                    <a:cubicBezTo>
                      <a:pt x="272" y="418"/>
                      <a:pt x="272" y="418"/>
                      <a:pt x="272" y="418"/>
                    </a:cubicBezTo>
                    <a:cubicBezTo>
                      <a:pt x="290" y="380"/>
                      <a:pt x="300" y="338"/>
                      <a:pt x="300" y="293"/>
                    </a:cubicBezTo>
                    <a:cubicBezTo>
                      <a:pt x="300" y="132"/>
                      <a:pt x="169" y="0"/>
                      <a:pt x="7" y="0"/>
                    </a:cubicBezTo>
                    <a:cubicBezTo>
                      <a:pt x="5" y="0"/>
                      <a:pt x="2" y="1"/>
                      <a:pt x="0" y="1"/>
                    </a:cubicBezTo>
                    <a:cubicBezTo>
                      <a:pt x="42" y="48"/>
                      <a:pt x="42" y="48"/>
                      <a:pt x="42" y="48"/>
                    </a:cubicBez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C00000">
                  <a:alpha val="78000"/>
                </a:srgbClr>
              </a:solidFill>
              <a:ln w="19050">
                <a:noFill/>
                <a:round/>
                <a:headEnd/>
                <a:tailEnd/>
              </a:ln>
              <a:sp3d extrusionH="127000"/>
            </p:spPr>
            <p:txBody>
              <a:bodyPr/>
              <a:lstStyle/>
              <a:p>
                <a:endParaRPr lang="en-US"/>
              </a:p>
            </p:txBody>
          </p:sp>
        </p:grpSp>
        <p:cxnSp>
          <p:nvCxnSpPr>
            <p:cNvPr id="25" name="Gerade Verbindung 39"/>
            <p:cNvCxnSpPr/>
            <p:nvPr/>
          </p:nvCxnSpPr>
          <p:spPr bwMode="gray">
            <a:xfrm>
              <a:off x="8222291" y="4368306"/>
              <a:ext cx="2189382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cxnSp>
          <p:nvCxnSpPr>
            <p:cNvPr id="26" name="Gerade Verbindung 39"/>
            <p:cNvCxnSpPr/>
            <p:nvPr/>
          </p:nvCxnSpPr>
          <p:spPr bwMode="gray">
            <a:xfrm>
              <a:off x="2350015" y="5617466"/>
              <a:ext cx="2189382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cxnSp>
          <p:nvCxnSpPr>
            <p:cNvPr id="27" name="Gerade Verbindung 39"/>
            <p:cNvCxnSpPr/>
            <p:nvPr/>
          </p:nvCxnSpPr>
          <p:spPr bwMode="gray">
            <a:xfrm>
              <a:off x="2046424" y="2788196"/>
              <a:ext cx="2189382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grpSp>
          <p:nvGrpSpPr>
            <p:cNvPr id="34" name="组合 33"/>
            <p:cNvGrpSpPr/>
            <p:nvPr/>
          </p:nvGrpSpPr>
          <p:grpSpPr>
            <a:xfrm>
              <a:off x="5231904" y="3208299"/>
              <a:ext cx="1857351" cy="1160007"/>
              <a:chOff x="5286484" y="3208299"/>
              <a:chExt cx="1857351" cy="1160007"/>
            </a:xfrm>
          </p:grpSpPr>
          <p:sp>
            <p:nvSpPr>
              <p:cNvPr id="28" name="Freeform 257"/>
              <p:cNvSpPr>
                <a:spLocks noEditPoints="1"/>
              </p:cNvSpPr>
              <p:nvPr/>
            </p:nvSpPr>
            <p:spPr bwMode="auto">
              <a:xfrm>
                <a:off x="5286484" y="3208299"/>
                <a:ext cx="1857351" cy="1160007"/>
              </a:xfrm>
              <a:custGeom>
                <a:avLst/>
                <a:gdLst>
                  <a:gd name="T0" fmla="*/ 110 w 117"/>
                  <a:gd name="T1" fmla="*/ 60 h 73"/>
                  <a:gd name="T2" fmla="*/ 109 w 117"/>
                  <a:gd name="T3" fmla="*/ 60 h 73"/>
                  <a:gd name="T4" fmla="*/ 109 w 117"/>
                  <a:gd name="T5" fmla="*/ 4 h 73"/>
                  <a:gd name="T6" fmla="*/ 108 w 117"/>
                  <a:gd name="T7" fmla="*/ 1 h 73"/>
                  <a:gd name="T8" fmla="*/ 106 w 117"/>
                  <a:gd name="T9" fmla="*/ 0 h 73"/>
                  <a:gd name="T10" fmla="*/ 10 w 117"/>
                  <a:gd name="T11" fmla="*/ 0 h 73"/>
                  <a:gd name="T12" fmla="*/ 8 w 117"/>
                  <a:gd name="T13" fmla="*/ 1 h 73"/>
                  <a:gd name="T14" fmla="*/ 7 w 117"/>
                  <a:gd name="T15" fmla="*/ 4 h 73"/>
                  <a:gd name="T16" fmla="*/ 7 w 117"/>
                  <a:gd name="T17" fmla="*/ 60 h 73"/>
                  <a:gd name="T18" fmla="*/ 6 w 117"/>
                  <a:gd name="T19" fmla="*/ 60 h 73"/>
                  <a:gd name="T20" fmla="*/ 0 w 117"/>
                  <a:gd name="T21" fmla="*/ 66 h 73"/>
                  <a:gd name="T22" fmla="*/ 6 w 117"/>
                  <a:gd name="T23" fmla="*/ 73 h 73"/>
                  <a:gd name="T24" fmla="*/ 110 w 117"/>
                  <a:gd name="T25" fmla="*/ 73 h 73"/>
                  <a:gd name="T26" fmla="*/ 117 w 117"/>
                  <a:gd name="T27" fmla="*/ 66 h 73"/>
                  <a:gd name="T28" fmla="*/ 110 w 117"/>
                  <a:gd name="T29" fmla="*/ 60 h 73"/>
                  <a:gd name="T30" fmla="*/ 78 w 117"/>
                  <a:gd name="T31" fmla="*/ 68 h 73"/>
                  <a:gd name="T32" fmla="*/ 78 w 117"/>
                  <a:gd name="T33" fmla="*/ 69 h 73"/>
                  <a:gd name="T34" fmla="*/ 39 w 117"/>
                  <a:gd name="T35" fmla="*/ 69 h 73"/>
                  <a:gd name="T36" fmla="*/ 38 w 117"/>
                  <a:gd name="T37" fmla="*/ 68 h 73"/>
                  <a:gd name="T38" fmla="*/ 38 w 117"/>
                  <a:gd name="T39" fmla="*/ 63 h 73"/>
                  <a:gd name="T40" fmla="*/ 39 w 117"/>
                  <a:gd name="T41" fmla="*/ 62 h 73"/>
                  <a:gd name="T42" fmla="*/ 78 w 117"/>
                  <a:gd name="T43" fmla="*/ 62 h 73"/>
                  <a:gd name="T44" fmla="*/ 78 w 117"/>
                  <a:gd name="T45" fmla="*/ 63 h 73"/>
                  <a:gd name="T46" fmla="*/ 78 w 117"/>
                  <a:gd name="T47" fmla="*/ 68 h 73"/>
                  <a:gd name="T48" fmla="*/ 105 w 117"/>
                  <a:gd name="T49" fmla="*/ 60 h 73"/>
                  <a:gd name="T50" fmla="*/ 12 w 117"/>
                  <a:gd name="T51" fmla="*/ 60 h 73"/>
                  <a:gd name="T52" fmla="*/ 12 w 117"/>
                  <a:gd name="T53" fmla="*/ 5 h 73"/>
                  <a:gd name="T54" fmla="*/ 105 w 117"/>
                  <a:gd name="T55" fmla="*/ 5 h 73"/>
                  <a:gd name="T56" fmla="*/ 105 w 117"/>
                  <a:gd name="T57" fmla="*/ 6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17" h="73">
                    <a:moveTo>
                      <a:pt x="110" y="60"/>
                    </a:moveTo>
                    <a:cubicBezTo>
                      <a:pt x="109" y="60"/>
                      <a:pt x="109" y="60"/>
                      <a:pt x="109" y="60"/>
                    </a:cubicBezTo>
                    <a:cubicBezTo>
                      <a:pt x="109" y="4"/>
                      <a:pt x="109" y="4"/>
                      <a:pt x="109" y="4"/>
                    </a:cubicBezTo>
                    <a:cubicBezTo>
                      <a:pt x="109" y="3"/>
                      <a:pt x="109" y="2"/>
                      <a:pt x="108" y="1"/>
                    </a:cubicBezTo>
                    <a:cubicBezTo>
                      <a:pt x="108" y="1"/>
                      <a:pt x="107" y="0"/>
                      <a:pt x="106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9" y="1"/>
                      <a:pt x="8" y="1"/>
                    </a:cubicBezTo>
                    <a:cubicBezTo>
                      <a:pt x="8" y="2"/>
                      <a:pt x="7" y="3"/>
                      <a:pt x="7" y="4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3" y="60"/>
                      <a:pt x="0" y="63"/>
                      <a:pt x="0" y="66"/>
                    </a:cubicBezTo>
                    <a:cubicBezTo>
                      <a:pt x="0" y="70"/>
                      <a:pt x="3" y="73"/>
                      <a:pt x="6" y="73"/>
                    </a:cubicBezTo>
                    <a:cubicBezTo>
                      <a:pt x="110" y="73"/>
                      <a:pt x="110" y="73"/>
                      <a:pt x="110" y="73"/>
                    </a:cubicBezTo>
                    <a:cubicBezTo>
                      <a:pt x="114" y="73"/>
                      <a:pt x="117" y="70"/>
                      <a:pt x="117" y="66"/>
                    </a:cubicBezTo>
                    <a:cubicBezTo>
                      <a:pt x="117" y="63"/>
                      <a:pt x="114" y="60"/>
                      <a:pt x="110" y="60"/>
                    </a:cubicBezTo>
                    <a:close/>
                    <a:moveTo>
                      <a:pt x="78" y="68"/>
                    </a:moveTo>
                    <a:cubicBezTo>
                      <a:pt x="78" y="68"/>
                      <a:pt x="78" y="69"/>
                      <a:pt x="78" y="69"/>
                    </a:cubicBezTo>
                    <a:cubicBezTo>
                      <a:pt x="39" y="69"/>
                      <a:pt x="39" y="69"/>
                      <a:pt x="39" y="69"/>
                    </a:cubicBezTo>
                    <a:cubicBezTo>
                      <a:pt x="38" y="69"/>
                      <a:pt x="38" y="68"/>
                      <a:pt x="38" y="68"/>
                    </a:cubicBezTo>
                    <a:cubicBezTo>
                      <a:pt x="38" y="63"/>
                      <a:pt x="38" y="63"/>
                      <a:pt x="38" y="63"/>
                    </a:cubicBezTo>
                    <a:cubicBezTo>
                      <a:pt x="38" y="63"/>
                      <a:pt x="38" y="62"/>
                      <a:pt x="39" y="62"/>
                    </a:cubicBezTo>
                    <a:cubicBezTo>
                      <a:pt x="78" y="62"/>
                      <a:pt x="78" y="62"/>
                      <a:pt x="78" y="62"/>
                    </a:cubicBezTo>
                    <a:cubicBezTo>
                      <a:pt x="78" y="62"/>
                      <a:pt x="78" y="63"/>
                      <a:pt x="78" y="63"/>
                    </a:cubicBezTo>
                    <a:lnTo>
                      <a:pt x="78" y="68"/>
                    </a:lnTo>
                    <a:close/>
                    <a:moveTo>
                      <a:pt x="105" y="60"/>
                    </a:moveTo>
                    <a:cubicBezTo>
                      <a:pt x="12" y="60"/>
                      <a:pt x="12" y="60"/>
                      <a:pt x="12" y="60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05" y="5"/>
                      <a:pt x="105" y="5"/>
                      <a:pt x="105" y="5"/>
                    </a:cubicBezTo>
                    <a:lnTo>
                      <a:pt x="105" y="6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" name="Freeform 258"/>
              <p:cNvSpPr>
                <a:spLocks/>
              </p:cNvSpPr>
              <p:nvPr/>
            </p:nvSpPr>
            <p:spPr bwMode="auto">
              <a:xfrm>
                <a:off x="5762557" y="3416159"/>
                <a:ext cx="194454" cy="616881"/>
              </a:xfrm>
              <a:custGeom>
                <a:avLst/>
                <a:gdLst>
                  <a:gd name="T0" fmla="*/ 8 w 12"/>
                  <a:gd name="T1" fmla="*/ 0 h 39"/>
                  <a:gd name="T2" fmla="*/ 0 w 12"/>
                  <a:gd name="T3" fmla="*/ 18 h 39"/>
                  <a:gd name="T4" fmla="*/ 9 w 12"/>
                  <a:gd name="T5" fmla="*/ 38 h 39"/>
                  <a:gd name="T6" fmla="*/ 11 w 12"/>
                  <a:gd name="T7" fmla="*/ 38 h 39"/>
                  <a:gd name="T8" fmla="*/ 11 w 12"/>
                  <a:gd name="T9" fmla="*/ 36 h 39"/>
                  <a:gd name="T10" fmla="*/ 4 w 12"/>
                  <a:gd name="T11" fmla="*/ 18 h 39"/>
                  <a:gd name="T12" fmla="*/ 10 w 12"/>
                  <a:gd name="T13" fmla="*/ 3 h 39"/>
                  <a:gd name="T14" fmla="*/ 10 w 12"/>
                  <a:gd name="T15" fmla="*/ 0 h 39"/>
                  <a:gd name="T16" fmla="*/ 8 w 12"/>
                  <a:gd name="T17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" h="39">
                    <a:moveTo>
                      <a:pt x="8" y="0"/>
                    </a:moveTo>
                    <a:cubicBezTo>
                      <a:pt x="3" y="5"/>
                      <a:pt x="0" y="12"/>
                      <a:pt x="0" y="18"/>
                    </a:cubicBezTo>
                    <a:cubicBezTo>
                      <a:pt x="0" y="25"/>
                      <a:pt x="3" y="32"/>
                      <a:pt x="9" y="38"/>
                    </a:cubicBezTo>
                    <a:cubicBezTo>
                      <a:pt x="9" y="39"/>
                      <a:pt x="10" y="39"/>
                      <a:pt x="11" y="38"/>
                    </a:cubicBezTo>
                    <a:cubicBezTo>
                      <a:pt x="12" y="37"/>
                      <a:pt x="12" y="36"/>
                      <a:pt x="11" y="36"/>
                    </a:cubicBezTo>
                    <a:cubicBezTo>
                      <a:pt x="6" y="31"/>
                      <a:pt x="4" y="24"/>
                      <a:pt x="4" y="18"/>
                    </a:cubicBezTo>
                    <a:cubicBezTo>
                      <a:pt x="4" y="12"/>
                      <a:pt x="6" y="7"/>
                      <a:pt x="10" y="3"/>
                    </a:cubicBezTo>
                    <a:cubicBezTo>
                      <a:pt x="11" y="2"/>
                      <a:pt x="11" y="1"/>
                      <a:pt x="10" y="0"/>
                    </a:cubicBezTo>
                    <a:cubicBezTo>
                      <a:pt x="9" y="0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" name="Freeform 259"/>
              <p:cNvSpPr>
                <a:spLocks/>
              </p:cNvSpPr>
              <p:nvPr/>
            </p:nvSpPr>
            <p:spPr bwMode="auto">
              <a:xfrm>
                <a:off x="5923483" y="3463098"/>
                <a:ext cx="160926" cy="523008"/>
              </a:xfrm>
              <a:custGeom>
                <a:avLst/>
                <a:gdLst>
                  <a:gd name="T0" fmla="*/ 6 w 10"/>
                  <a:gd name="T1" fmla="*/ 0 h 33"/>
                  <a:gd name="T2" fmla="*/ 0 w 10"/>
                  <a:gd name="T3" fmla="*/ 15 h 33"/>
                  <a:gd name="T4" fmla="*/ 7 w 10"/>
                  <a:gd name="T5" fmla="*/ 32 h 33"/>
                  <a:gd name="T6" fmla="*/ 10 w 10"/>
                  <a:gd name="T7" fmla="*/ 32 h 33"/>
                  <a:gd name="T8" fmla="*/ 10 w 10"/>
                  <a:gd name="T9" fmla="*/ 30 h 33"/>
                  <a:gd name="T10" fmla="*/ 4 w 10"/>
                  <a:gd name="T11" fmla="*/ 15 h 33"/>
                  <a:gd name="T12" fmla="*/ 9 w 10"/>
                  <a:gd name="T13" fmla="*/ 3 h 33"/>
                  <a:gd name="T14" fmla="*/ 9 w 10"/>
                  <a:gd name="T15" fmla="*/ 0 h 33"/>
                  <a:gd name="T16" fmla="*/ 6 w 10"/>
                  <a:gd name="T17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33">
                    <a:moveTo>
                      <a:pt x="6" y="0"/>
                    </a:moveTo>
                    <a:cubicBezTo>
                      <a:pt x="2" y="4"/>
                      <a:pt x="0" y="10"/>
                      <a:pt x="0" y="15"/>
                    </a:cubicBezTo>
                    <a:cubicBezTo>
                      <a:pt x="0" y="21"/>
                      <a:pt x="3" y="27"/>
                      <a:pt x="7" y="32"/>
                    </a:cubicBezTo>
                    <a:cubicBezTo>
                      <a:pt x="8" y="33"/>
                      <a:pt x="9" y="33"/>
                      <a:pt x="10" y="32"/>
                    </a:cubicBezTo>
                    <a:cubicBezTo>
                      <a:pt x="10" y="31"/>
                      <a:pt x="10" y="30"/>
                      <a:pt x="10" y="30"/>
                    </a:cubicBezTo>
                    <a:cubicBezTo>
                      <a:pt x="6" y="26"/>
                      <a:pt x="4" y="20"/>
                      <a:pt x="4" y="15"/>
                    </a:cubicBezTo>
                    <a:cubicBezTo>
                      <a:pt x="4" y="11"/>
                      <a:pt x="5" y="6"/>
                      <a:pt x="9" y="3"/>
                    </a:cubicBezTo>
                    <a:cubicBezTo>
                      <a:pt x="9" y="2"/>
                      <a:pt x="9" y="1"/>
                      <a:pt x="9" y="0"/>
                    </a:cubicBezTo>
                    <a:cubicBezTo>
                      <a:pt x="8" y="0"/>
                      <a:pt x="7" y="0"/>
                      <a:pt x="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1" name="Freeform 260"/>
              <p:cNvSpPr>
                <a:spLocks/>
              </p:cNvSpPr>
              <p:nvPr/>
            </p:nvSpPr>
            <p:spPr bwMode="auto">
              <a:xfrm>
                <a:off x="6084409" y="3510032"/>
                <a:ext cx="140812" cy="429135"/>
              </a:xfrm>
              <a:custGeom>
                <a:avLst/>
                <a:gdLst>
                  <a:gd name="T0" fmla="*/ 5 w 9"/>
                  <a:gd name="T1" fmla="*/ 0 h 27"/>
                  <a:gd name="T2" fmla="*/ 0 w 9"/>
                  <a:gd name="T3" fmla="*/ 12 h 27"/>
                  <a:gd name="T4" fmla="*/ 6 w 9"/>
                  <a:gd name="T5" fmla="*/ 26 h 27"/>
                  <a:gd name="T6" fmla="*/ 8 w 9"/>
                  <a:gd name="T7" fmla="*/ 26 h 27"/>
                  <a:gd name="T8" fmla="*/ 8 w 9"/>
                  <a:gd name="T9" fmla="*/ 24 h 27"/>
                  <a:gd name="T10" fmla="*/ 4 w 9"/>
                  <a:gd name="T11" fmla="*/ 12 h 27"/>
                  <a:gd name="T12" fmla="*/ 8 w 9"/>
                  <a:gd name="T13" fmla="*/ 3 h 27"/>
                  <a:gd name="T14" fmla="*/ 8 w 9"/>
                  <a:gd name="T15" fmla="*/ 0 h 27"/>
                  <a:gd name="T16" fmla="*/ 5 w 9"/>
                  <a:gd name="T17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27">
                    <a:moveTo>
                      <a:pt x="5" y="0"/>
                    </a:moveTo>
                    <a:cubicBezTo>
                      <a:pt x="2" y="4"/>
                      <a:pt x="0" y="8"/>
                      <a:pt x="0" y="12"/>
                    </a:cubicBezTo>
                    <a:cubicBezTo>
                      <a:pt x="0" y="17"/>
                      <a:pt x="2" y="22"/>
                      <a:pt x="6" y="26"/>
                    </a:cubicBezTo>
                    <a:cubicBezTo>
                      <a:pt x="7" y="27"/>
                      <a:pt x="8" y="27"/>
                      <a:pt x="8" y="26"/>
                    </a:cubicBezTo>
                    <a:cubicBezTo>
                      <a:pt x="9" y="25"/>
                      <a:pt x="9" y="24"/>
                      <a:pt x="8" y="24"/>
                    </a:cubicBezTo>
                    <a:cubicBezTo>
                      <a:pt x="5" y="20"/>
                      <a:pt x="4" y="16"/>
                      <a:pt x="4" y="12"/>
                    </a:cubicBezTo>
                    <a:cubicBezTo>
                      <a:pt x="4" y="9"/>
                      <a:pt x="5" y="5"/>
                      <a:pt x="8" y="3"/>
                    </a:cubicBezTo>
                    <a:cubicBezTo>
                      <a:pt x="8" y="2"/>
                      <a:pt x="8" y="1"/>
                      <a:pt x="8" y="0"/>
                    </a:cubicBezTo>
                    <a:cubicBezTo>
                      <a:pt x="7" y="0"/>
                      <a:pt x="6" y="0"/>
                      <a:pt x="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" name="Oval 261"/>
              <p:cNvSpPr>
                <a:spLocks noChangeArrowheads="1"/>
              </p:cNvSpPr>
              <p:nvPr/>
            </p:nvSpPr>
            <p:spPr bwMode="auto">
              <a:xfrm>
                <a:off x="6238627" y="3624023"/>
                <a:ext cx="194454" cy="18774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35" name="文本框 34"/>
            <p:cNvSpPr txBox="1"/>
            <p:nvPr/>
          </p:nvSpPr>
          <p:spPr>
            <a:xfrm>
              <a:off x="4235806" y="2780928"/>
              <a:ext cx="72008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400" b="1" dirty="0" smtClean="0">
                  <a:solidFill>
                    <a:srgbClr val="333333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1</a:t>
              </a:r>
              <a:endParaRPr lang="zh-CN" altLang="en-US" sz="4400" b="1" dirty="0" smtClean="0">
                <a:solidFill>
                  <a:srgbClr val="333333"/>
                </a:solidFill>
                <a:latin typeface="张海山锐谐体" panose="02000000000000000000" pitchFamily="2" charset="-122"/>
                <a:ea typeface="张海山锐谐体" panose="02000000000000000000" pitchFamily="2" charset="-122"/>
              </a:endParaRPr>
            </a:p>
          </p:txBody>
        </p:sp>
        <p:sp>
          <p:nvSpPr>
            <p:cNvPr id="36" name="文本框 35"/>
            <p:cNvSpPr txBox="1"/>
            <p:nvPr/>
          </p:nvSpPr>
          <p:spPr>
            <a:xfrm>
              <a:off x="5824007" y="5176738"/>
              <a:ext cx="72008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400" b="1" dirty="0" smtClean="0">
                  <a:solidFill>
                    <a:srgbClr val="333333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2</a:t>
              </a:r>
              <a:endParaRPr lang="zh-CN" altLang="en-US" sz="4400" b="1" dirty="0" smtClean="0">
                <a:solidFill>
                  <a:srgbClr val="333333"/>
                </a:solidFill>
                <a:latin typeface="张海山锐谐体" panose="02000000000000000000" pitchFamily="2" charset="-122"/>
                <a:ea typeface="张海山锐谐体" panose="02000000000000000000" pitchFamily="2" charset="-122"/>
              </a:endParaRPr>
            </a:p>
          </p:txBody>
        </p:sp>
        <p:sp>
          <p:nvSpPr>
            <p:cNvPr id="37" name="文本框 36"/>
            <p:cNvSpPr txBox="1"/>
            <p:nvPr/>
          </p:nvSpPr>
          <p:spPr>
            <a:xfrm>
              <a:off x="7327291" y="2670796"/>
              <a:ext cx="72008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400" b="1" dirty="0" smtClean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3</a:t>
              </a:r>
              <a:endParaRPr lang="zh-CN" altLang="en-US" sz="4400" b="1" dirty="0" smtClean="0">
                <a:solidFill>
                  <a:schemeClr val="bg1"/>
                </a:solidFill>
                <a:latin typeface="张海山锐谐体" panose="02000000000000000000" pitchFamily="2" charset="-122"/>
                <a:ea typeface="张海山锐谐体" panose="02000000000000000000" pitchFamily="2" charset="-122"/>
              </a:endParaRPr>
            </a:p>
          </p:txBody>
        </p:sp>
        <p:sp>
          <p:nvSpPr>
            <p:cNvPr id="40" name="文本框 39"/>
            <p:cNvSpPr txBox="1"/>
            <p:nvPr/>
          </p:nvSpPr>
          <p:spPr>
            <a:xfrm>
              <a:off x="8222291" y="3783799"/>
              <a:ext cx="236596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20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点击此处添加文本</a:t>
              </a:r>
              <a:endParaRPr lang="zh-CN" altLang="en-US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1" name="TextBox 265"/>
            <p:cNvSpPr txBox="1"/>
            <p:nvPr/>
          </p:nvSpPr>
          <p:spPr bwMode="auto">
            <a:xfrm>
              <a:off x="8904312" y="3319536"/>
              <a:ext cx="1569660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600" spc="300"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5pPr>
              <a:lvl6pPr>
                <a:defRPr>
                  <a:latin typeface="Calibri" pitchFamily="34" charset="0"/>
                  <a:ea typeface="宋体" pitchFamily="2" charset="-122"/>
                </a:defRPr>
              </a:lvl6pPr>
              <a:lvl7pPr>
                <a:defRPr>
                  <a:latin typeface="Calibri" pitchFamily="34" charset="0"/>
                  <a:ea typeface="宋体" pitchFamily="2" charset="-122"/>
                </a:defRPr>
              </a:lvl7pPr>
              <a:lvl8pPr>
                <a:defRPr>
                  <a:latin typeface="Calibri" pitchFamily="34" charset="0"/>
                  <a:ea typeface="宋体" pitchFamily="2" charset="-122"/>
                </a:defRPr>
              </a:lvl8pPr>
              <a:lvl9pPr>
                <a:defRPr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zh-CN" altLang="en-US" sz="2400" dirty="0">
                  <a:solidFill>
                    <a:srgbClr val="C00000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添加标题</a:t>
              </a:r>
            </a:p>
          </p:txBody>
        </p:sp>
        <p:grpSp>
          <p:nvGrpSpPr>
            <p:cNvPr id="46" name="组合 45"/>
            <p:cNvGrpSpPr/>
            <p:nvPr/>
          </p:nvGrpSpPr>
          <p:grpSpPr>
            <a:xfrm>
              <a:off x="1981520" y="1771327"/>
              <a:ext cx="2365965" cy="862881"/>
              <a:chOff x="1266886" y="2118729"/>
              <a:chExt cx="2365965" cy="862881"/>
            </a:xfrm>
          </p:grpSpPr>
          <p:sp>
            <p:nvSpPr>
              <p:cNvPr id="38" name="文本框 37"/>
              <p:cNvSpPr txBox="1"/>
              <p:nvPr/>
            </p:nvSpPr>
            <p:spPr>
              <a:xfrm>
                <a:off x="1266886" y="2581500"/>
                <a:ext cx="236596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000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此处添加文本</a:t>
                </a:r>
                <a:endParaRPr lang="zh-CN" alt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2" name="TextBox 265"/>
              <p:cNvSpPr txBox="1"/>
              <p:nvPr/>
            </p:nvSpPr>
            <p:spPr bwMode="auto">
              <a:xfrm>
                <a:off x="1315527" y="2118729"/>
                <a:ext cx="1569660" cy="461665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itchFamily="34" charset="-122"/>
                    <a:ea typeface="微软雅黑" pitchFamily="34" charset="-122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5pPr>
                <a:lvl6pPr>
                  <a:defRPr>
                    <a:latin typeface="Calibri" pitchFamily="34" charset="0"/>
                    <a:ea typeface="宋体" pitchFamily="2" charset="-122"/>
                  </a:defRPr>
                </a:lvl6pPr>
                <a:lvl7pPr>
                  <a:defRPr>
                    <a:latin typeface="Calibri" pitchFamily="34" charset="0"/>
                    <a:ea typeface="宋体" pitchFamily="2" charset="-122"/>
                  </a:defRPr>
                </a:lvl7pPr>
                <a:lvl8pPr>
                  <a:defRPr>
                    <a:latin typeface="Calibri" pitchFamily="34" charset="0"/>
                    <a:ea typeface="宋体" pitchFamily="2" charset="-122"/>
                  </a:defRPr>
                </a:lvl8pPr>
                <a:lvl9pPr>
                  <a:defRPr>
                    <a:latin typeface="Calibri" pitchFamily="34" charset="0"/>
                    <a:ea typeface="宋体" pitchFamily="2" charset="-122"/>
                  </a:defRPr>
                </a:lvl9pPr>
              </a:lstStyle>
              <a:p>
                <a:pPr>
                  <a:defRPr/>
                </a:pPr>
                <a:r>
                  <a:rPr lang="zh-CN" altLang="en-US" sz="2400" dirty="0">
                    <a:solidFill>
                      <a:schemeClr val="bg1">
                        <a:lumMod val="50000"/>
                      </a:schemeClr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添加标题</a:t>
                </a:r>
              </a:p>
            </p:txBody>
          </p:sp>
        </p:grpSp>
        <p:grpSp>
          <p:nvGrpSpPr>
            <p:cNvPr id="45" name="组合 44"/>
            <p:cNvGrpSpPr/>
            <p:nvPr/>
          </p:nvGrpSpPr>
          <p:grpSpPr>
            <a:xfrm>
              <a:off x="2173432" y="4622577"/>
              <a:ext cx="2365965" cy="862881"/>
              <a:chOff x="1506964" y="3994309"/>
              <a:chExt cx="2365965" cy="862881"/>
            </a:xfrm>
          </p:grpSpPr>
          <p:sp>
            <p:nvSpPr>
              <p:cNvPr id="43" name="文本框 42"/>
              <p:cNvSpPr txBox="1"/>
              <p:nvPr/>
            </p:nvSpPr>
            <p:spPr>
              <a:xfrm>
                <a:off x="1506964" y="4457080"/>
                <a:ext cx="2365965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2000" dirty="0" smtClean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点击此处添加文本</a:t>
                </a:r>
                <a:endParaRPr lang="zh-CN" altLang="en-US" sz="20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44" name="TextBox 265"/>
              <p:cNvSpPr txBox="1"/>
              <p:nvPr/>
            </p:nvSpPr>
            <p:spPr bwMode="auto">
              <a:xfrm>
                <a:off x="1555605" y="3994309"/>
                <a:ext cx="1569660" cy="461665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itchFamily="34" charset="-122"/>
                    <a:ea typeface="微软雅黑" pitchFamily="34" charset="-122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5pPr>
                <a:lvl6pPr>
                  <a:defRPr>
                    <a:latin typeface="Calibri" pitchFamily="34" charset="0"/>
                    <a:ea typeface="宋体" pitchFamily="2" charset="-122"/>
                  </a:defRPr>
                </a:lvl6pPr>
                <a:lvl7pPr>
                  <a:defRPr>
                    <a:latin typeface="Calibri" pitchFamily="34" charset="0"/>
                    <a:ea typeface="宋体" pitchFamily="2" charset="-122"/>
                  </a:defRPr>
                </a:lvl7pPr>
                <a:lvl8pPr>
                  <a:defRPr>
                    <a:latin typeface="Calibri" pitchFamily="34" charset="0"/>
                    <a:ea typeface="宋体" pitchFamily="2" charset="-122"/>
                  </a:defRPr>
                </a:lvl8pPr>
                <a:lvl9pPr>
                  <a:defRPr>
                    <a:latin typeface="Calibri" pitchFamily="34" charset="0"/>
                    <a:ea typeface="宋体" pitchFamily="2" charset="-122"/>
                  </a:defRPr>
                </a:lvl9pPr>
              </a:lstStyle>
              <a:p>
                <a:pPr>
                  <a:defRPr/>
                </a:pPr>
                <a:r>
                  <a:rPr lang="zh-CN" altLang="en-US" sz="2400" dirty="0">
                    <a:solidFill>
                      <a:schemeClr val="bg1">
                        <a:lumMod val="50000"/>
                      </a:schemeClr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添加标题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13186230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3" name="组合 2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5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4" name="文本框 3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graphicFrame>
        <p:nvGraphicFramePr>
          <p:cNvPr id="9" name="图表 8"/>
          <p:cNvGraphicFramePr/>
          <p:nvPr>
            <p:extLst>
              <p:ext uri="{D42A27DB-BD31-4B8C-83A1-F6EECF244321}">
                <p14:modId xmlns:p14="http://schemas.microsoft.com/office/powerpoint/2010/main" xmlns="" val="3137157913"/>
              </p:ext>
            </p:extLst>
          </p:nvPr>
        </p:nvGraphicFramePr>
        <p:xfrm>
          <a:off x="550863" y="1748039"/>
          <a:ext cx="6224239" cy="41494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2" name="组合 61"/>
          <p:cNvGrpSpPr/>
          <p:nvPr/>
        </p:nvGrpSpPr>
        <p:grpSpPr>
          <a:xfrm>
            <a:off x="7176120" y="2420888"/>
            <a:ext cx="3946987" cy="2402498"/>
            <a:chOff x="6992808" y="2065448"/>
            <a:chExt cx="3946987" cy="2402498"/>
          </a:xfrm>
        </p:grpSpPr>
        <p:sp>
          <p:nvSpPr>
            <p:cNvPr id="63" name="矩形 1"/>
            <p:cNvSpPr>
              <a:spLocks noChangeArrowheads="1"/>
            </p:cNvSpPr>
            <p:nvPr/>
          </p:nvSpPr>
          <p:spPr bwMode="auto">
            <a:xfrm>
              <a:off x="6992808" y="2713620"/>
              <a:ext cx="3946987" cy="17543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>
                <a:lnSpc>
                  <a:spcPct val="150000"/>
                </a:lnSpc>
              </a:pP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dirty="0" smtClean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坚持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。</a:t>
              </a:r>
            </a:p>
          </p:txBody>
        </p:sp>
        <p:cxnSp>
          <p:nvCxnSpPr>
            <p:cNvPr id="64" name="直接连接符 63"/>
            <p:cNvCxnSpPr/>
            <p:nvPr/>
          </p:nvCxnSpPr>
          <p:spPr bwMode="auto">
            <a:xfrm>
              <a:off x="7080833" y="2555759"/>
              <a:ext cx="3770937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5" name="组合 64"/>
            <p:cNvGrpSpPr/>
            <p:nvPr/>
          </p:nvGrpSpPr>
          <p:grpSpPr>
            <a:xfrm>
              <a:off x="6992808" y="2065448"/>
              <a:ext cx="2765693" cy="461665"/>
              <a:chOff x="940613" y="2146509"/>
              <a:chExt cx="2765693" cy="461665"/>
            </a:xfrm>
          </p:grpSpPr>
          <p:sp>
            <p:nvSpPr>
              <p:cNvPr id="66" name="TextBox 265"/>
              <p:cNvSpPr txBox="1"/>
              <p:nvPr/>
            </p:nvSpPr>
            <p:spPr bwMode="auto">
              <a:xfrm>
                <a:off x="940613" y="2146509"/>
                <a:ext cx="1569660" cy="461665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itchFamily="34" charset="-122"/>
                    <a:ea typeface="微软雅黑" pitchFamily="34" charset="-122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5pPr>
                <a:lvl6pPr>
                  <a:defRPr>
                    <a:latin typeface="Calibri" pitchFamily="34" charset="0"/>
                    <a:ea typeface="宋体" pitchFamily="2" charset="-122"/>
                  </a:defRPr>
                </a:lvl6pPr>
                <a:lvl7pPr>
                  <a:defRPr>
                    <a:latin typeface="Calibri" pitchFamily="34" charset="0"/>
                    <a:ea typeface="宋体" pitchFamily="2" charset="-122"/>
                  </a:defRPr>
                </a:lvl7pPr>
                <a:lvl8pPr>
                  <a:defRPr>
                    <a:latin typeface="Calibri" pitchFamily="34" charset="0"/>
                    <a:ea typeface="宋体" pitchFamily="2" charset="-122"/>
                  </a:defRPr>
                </a:lvl8pPr>
                <a:lvl9pPr>
                  <a:defRPr>
                    <a:latin typeface="Calibri" pitchFamily="34" charset="0"/>
                    <a:ea typeface="宋体" pitchFamily="2" charset="-122"/>
                  </a:defRPr>
                </a:lvl9pPr>
              </a:lstStyle>
              <a:p>
                <a:pPr>
                  <a:defRPr/>
                </a:pPr>
                <a:r>
                  <a:rPr lang="zh-CN" altLang="en-US" sz="2400" dirty="0">
                    <a:solidFill>
                      <a:srgbClr val="C00000"/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添加标题</a:t>
                </a:r>
              </a:p>
            </p:txBody>
          </p:sp>
          <p:sp>
            <p:nvSpPr>
              <p:cNvPr id="67" name="矩形 86"/>
              <p:cNvSpPr>
                <a:spLocks noChangeArrowheads="1"/>
              </p:cNvSpPr>
              <p:nvPr/>
            </p:nvSpPr>
            <p:spPr bwMode="auto">
              <a:xfrm>
                <a:off x="2553426" y="2192675"/>
                <a:ext cx="1152880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en-US" altLang="zh-CN" dirty="0">
                    <a:solidFill>
                      <a:schemeClr val="bg1">
                        <a:lumMod val="95000"/>
                      </a:schemeClr>
                    </a:solidFill>
                  </a:rPr>
                  <a:t>Add a title</a:t>
                </a:r>
                <a:endParaRPr lang="zh-CN" altLang="en-US" dirty="0">
                  <a:solidFill>
                    <a:schemeClr val="bg1">
                      <a:lumMod val="95000"/>
                    </a:schemeClr>
                  </a:solidFill>
                </a:endParaRPr>
              </a:p>
            </p:txBody>
          </p:sp>
          <p:cxnSp>
            <p:nvCxnSpPr>
              <p:cNvPr id="68" name="直接连接符 67"/>
              <p:cNvCxnSpPr/>
              <p:nvPr/>
            </p:nvCxnSpPr>
            <p:spPr bwMode="auto">
              <a:xfrm>
                <a:off x="2531850" y="2305110"/>
                <a:ext cx="0" cy="144462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xmlns="" val="18859068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3" name="组合 2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5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4" name="文本框 3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1775520" y="1940006"/>
            <a:ext cx="8127999" cy="4009274"/>
            <a:chOff x="2045403" y="1683294"/>
            <a:chExt cx="8127999" cy="4009274"/>
          </a:xfrm>
        </p:grpSpPr>
        <p:sp>
          <p:nvSpPr>
            <p:cNvPr id="11" name="图文框 10"/>
            <p:cNvSpPr/>
            <p:nvPr/>
          </p:nvSpPr>
          <p:spPr>
            <a:xfrm>
              <a:off x="2238849" y="2112287"/>
              <a:ext cx="5031232" cy="3580281"/>
            </a:xfrm>
            <a:prstGeom prst="frame">
              <a:avLst>
                <a:gd name="adj1" fmla="val 5450"/>
              </a:avLst>
            </a:prstGeom>
            <a:solidFill>
              <a:srgbClr val="5E5E5E">
                <a:alpha val="27000"/>
              </a:srgbClr>
            </a:solidFill>
            <a:ln>
              <a:noFill/>
            </a:ln>
          </p:spPr>
        </p:sp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2" cstate="print"/>
            <a:srcRect l="4453" t="1957" r="4453" b="4841"/>
            <a:stretch>
              <a:fillRect/>
            </a:stretch>
          </p:blipFill>
          <p:spPr>
            <a:xfrm>
              <a:off x="2045403" y="1683294"/>
              <a:ext cx="4837785" cy="3386633"/>
            </a:xfrm>
            <a:custGeom>
              <a:avLst/>
              <a:gdLst>
                <a:gd name="connsiteX0" fmla="*/ 0 w 4837785"/>
                <a:gd name="connsiteY0" fmla="*/ 0 h 3386633"/>
                <a:gd name="connsiteX1" fmla="*/ 4837785 w 4837785"/>
                <a:gd name="connsiteY1" fmla="*/ 0 h 3386633"/>
                <a:gd name="connsiteX2" fmla="*/ 4837785 w 4837785"/>
                <a:gd name="connsiteY2" fmla="*/ 3386633 h 3386633"/>
                <a:gd name="connsiteX3" fmla="*/ 0 w 4837785"/>
                <a:gd name="connsiteY3" fmla="*/ 3386633 h 3386633"/>
                <a:gd name="connsiteX4" fmla="*/ 0 w 4837785"/>
                <a:gd name="connsiteY4" fmla="*/ 0 h 3386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37785" h="3386633">
                  <a:moveTo>
                    <a:pt x="0" y="0"/>
                  </a:moveTo>
                  <a:lnTo>
                    <a:pt x="4837785" y="0"/>
                  </a:lnTo>
                  <a:lnTo>
                    <a:pt x="4837785" y="3386633"/>
                  </a:lnTo>
                  <a:lnTo>
                    <a:pt x="0" y="3386633"/>
                  </a:lnTo>
                  <a:lnTo>
                    <a:pt x="0" y="0"/>
                  </a:lnTo>
                  <a:close/>
                </a:path>
              </a:pathLst>
            </a:custGeom>
          </p:spPr>
        </p:pic>
        <p:sp>
          <p:nvSpPr>
            <p:cNvPr id="10" name="矩形 9"/>
            <p:cNvSpPr/>
            <p:nvPr/>
          </p:nvSpPr>
          <p:spPr>
            <a:xfrm>
              <a:off x="9979956" y="2112287"/>
              <a:ext cx="193446" cy="3580281"/>
            </a:xfrm>
            <a:prstGeom prst="rect">
              <a:avLst/>
            </a:prstGeom>
            <a:solidFill>
              <a:srgbClr val="C00000">
                <a:alpha val="60000"/>
              </a:srgbClr>
            </a:solidFill>
            <a:ln>
              <a:noFill/>
            </a:ln>
          </p:spPr>
        </p:sp>
        <p:sp>
          <p:nvSpPr>
            <p:cNvPr id="13" name="任意多边形 12"/>
            <p:cNvSpPr/>
            <p:nvPr/>
          </p:nvSpPr>
          <p:spPr>
            <a:xfrm>
              <a:off x="2435547" y="5123570"/>
              <a:ext cx="4641088" cy="424982"/>
            </a:xfrm>
            <a:custGeom>
              <a:avLst/>
              <a:gdLst>
                <a:gd name="connsiteX0" fmla="*/ 0 w 4641088"/>
                <a:gd name="connsiteY0" fmla="*/ 0 h 424982"/>
                <a:gd name="connsiteX1" fmla="*/ 4641088 w 4641088"/>
                <a:gd name="connsiteY1" fmla="*/ 0 h 424982"/>
                <a:gd name="connsiteX2" fmla="*/ 4641088 w 4641088"/>
                <a:gd name="connsiteY2" fmla="*/ 424982 h 424982"/>
                <a:gd name="connsiteX3" fmla="*/ 0 w 4641088"/>
                <a:gd name="connsiteY3" fmla="*/ 424982 h 424982"/>
                <a:gd name="connsiteX4" fmla="*/ 0 w 4641088"/>
                <a:gd name="connsiteY4" fmla="*/ 0 h 424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41088" h="424982">
                  <a:moveTo>
                    <a:pt x="0" y="0"/>
                  </a:moveTo>
                  <a:lnTo>
                    <a:pt x="4641088" y="0"/>
                  </a:lnTo>
                  <a:lnTo>
                    <a:pt x="4641088" y="424982"/>
                  </a:lnTo>
                  <a:lnTo>
                    <a:pt x="0" y="42498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82880" tIns="68580" rIns="182880" bIns="68580" numCol="1" spcCol="1270" anchor="ctr" anchorCtr="0">
              <a:noAutofit/>
            </a:bodyPr>
            <a:lstStyle/>
            <a:p>
              <a:pPr lvl="0" algn="l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800" kern="1200" spc="6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添加说明</a:t>
              </a:r>
              <a:endParaRPr lang="zh-CN" altLang="en-US" sz="1800" kern="1200" spc="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任意多边形 13"/>
            <p:cNvSpPr/>
            <p:nvPr/>
          </p:nvSpPr>
          <p:spPr>
            <a:xfrm>
              <a:off x="7474907" y="2112287"/>
              <a:ext cx="2300224" cy="3580281"/>
            </a:xfrm>
            <a:custGeom>
              <a:avLst/>
              <a:gdLst>
                <a:gd name="connsiteX0" fmla="*/ 0 w 2300224"/>
                <a:gd name="connsiteY0" fmla="*/ 0 h 3580281"/>
                <a:gd name="connsiteX1" fmla="*/ 2300224 w 2300224"/>
                <a:gd name="connsiteY1" fmla="*/ 0 h 3580281"/>
                <a:gd name="connsiteX2" fmla="*/ 2300224 w 2300224"/>
                <a:gd name="connsiteY2" fmla="*/ 3580281 h 3580281"/>
                <a:gd name="connsiteX3" fmla="*/ 0 w 2300224"/>
                <a:gd name="connsiteY3" fmla="*/ 3580281 h 3580281"/>
                <a:gd name="connsiteX4" fmla="*/ 0 w 2300224"/>
                <a:gd name="connsiteY4" fmla="*/ 0 h 3580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0224" h="3580281">
                  <a:moveTo>
                    <a:pt x="0" y="0"/>
                  </a:moveTo>
                  <a:lnTo>
                    <a:pt x="2300224" y="0"/>
                  </a:lnTo>
                  <a:lnTo>
                    <a:pt x="2300224" y="3580281"/>
                  </a:lnTo>
                  <a:lnTo>
                    <a:pt x="0" y="358028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坚持精益求精、拒绝平庸的做事精神</a:t>
              </a:r>
              <a:r>
                <a:rPr lang="zh-CN" altLang="zh-CN" sz="1400" dirty="0" smtClean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en-US" altLang="zh-CN" sz="14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just">
                <a:lnSpc>
                  <a:spcPct val="150000"/>
                </a:lnSpc>
              </a:pP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坚持精益求精、拒绝平庸的做事精神。</a:t>
              </a:r>
            </a:p>
            <a:p>
              <a:pPr algn="just">
                <a:lnSpc>
                  <a:spcPct val="150000"/>
                </a:lnSpc>
              </a:pPr>
              <a:endParaRPr lang="zh-CN" altLang="zh-CN" sz="14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1651565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1721811" y="908720"/>
            <a:ext cx="3572887" cy="2680369"/>
            <a:chOff x="1721811" y="908720"/>
            <a:chExt cx="3572887" cy="2680369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4171308" y="2564242"/>
              <a:ext cx="1123390" cy="574365"/>
            </a:xfrm>
            <a:custGeom>
              <a:avLst/>
              <a:gdLst>
                <a:gd name="T0" fmla="*/ 272 w 337"/>
                <a:gd name="T1" fmla="*/ 84 h 172"/>
                <a:gd name="T2" fmla="*/ 202 w 337"/>
                <a:gd name="T3" fmla="*/ 79 h 172"/>
                <a:gd name="T4" fmla="*/ 189 w 337"/>
                <a:gd name="T5" fmla="*/ 60 h 172"/>
                <a:gd name="T6" fmla="*/ 159 w 337"/>
                <a:gd name="T7" fmla="*/ 44 h 172"/>
                <a:gd name="T8" fmla="*/ 103 w 337"/>
                <a:gd name="T9" fmla="*/ 0 h 172"/>
                <a:gd name="T10" fmla="*/ 65 w 337"/>
                <a:gd name="T11" fmla="*/ 15 h 172"/>
                <a:gd name="T12" fmla="*/ 0 w 337"/>
                <a:gd name="T13" fmla="*/ 76 h 172"/>
                <a:gd name="T14" fmla="*/ 25 w 337"/>
                <a:gd name="T15" fmla="*/ 131 h 172"/>
                <a:gd name="T16" fmla="*/ 107 w 337"/>
                <a:gd name="T17" fmla="*/ 160 h 172"/>
                <a:gd name="T18" fmla="*/ 170 w 337"/>
                <a:gd name="T19" fmla="*/ 125 h 172"/>
                <a:gd name="T20" fmla="*/ 169 w 337"/>
                <a:gd name="T21" fmla="*/ 88 h 172"/>
                <a:gd name="T22" fmla="*/ 127 w 337"/>
                <a:gd name="T23" fmla="*/ 59 h 172"/>
                <a:gd name="T24" fmla="*/ 97 w 337"/>
                <a:gd name="T25" fmla="*/ 48 h 172"/>
                <a:gd name="T26" fmla="*/ 50 w 337"/>
                <a:gd name="T27" fmla="*/ 102 h 172"/>
                <a:gd name="T28" fmla="*/ 113 w 337"/>
                <a:gd name="T29" fmla="*/ 122 h 172"/>
                <a:gd name="T30" fmla="*/ 122 w 337"/>
                <a:gd name="T31" fmla="*/ 103 h 172"/>
                <a:gd name="T32" fmla="*/ 78 w 337"/>
                <a:gd name="T33" fmla="*/ 88 h 172"/>
                <a:gd name="T34" fmla="*/ 112 w 337"/>
                <a:gd name="T35" fmla="*/ 112 h 172"/>
                <a:gd name="T36" fmla="*/ 172 w 337"/>
                <a:gd name="T37" fmla="*/ 115 h 172"/>
                <a:gd name="T38" fmla="*/ 240 w 337"/>
                <a:gd name="T39" fmla="*/ 98 h 172"/>
                <a:gd name="T40" fmla="*/ 327 w 337"/>
                <a:gd name="T41" fmla="*/ 128 h 172"/>
                <a:gd name="T42" fmla="*/ 325 w 337"/>
                <a:gd name="T43" fmla="*/ 124 h 172"/>
                <a:gd name="T44" fmla="*/ 323 w 337"/>
                <a:gd name="T45" fmla="*/ 124 h 172"/>
                <a:gd name="T46" fmla="*/ 306 w 337"/>
                <a:gd name="T47" fmla="*/ 119 h 172"/>
                <a:gd name="T48" fmla="*/ 326 w 337"/>
                <a:gd name="T49" fmla="*/ 126 h 172"/>
                <a:gd name="T50" fmla="*/ 264 w 337"/>
                <a:gd name="T51" fmla="*/ 102 h 172"/>
                <a:gd name="T52" fmla="*/ 181 w 337"/>
                <a:gd name="T53" fmla="*/ 109 h 172"/>
                <a:gd name="T54" fmla="*/ 115 w 337"/>
                <a:gd name="T55" fmla="*/ 109 h 172"/>
                <a:gd name="T56" fmla="*/ 95 w 337"/>
                <a:gd name="T57" fmla="*/ 117 h 172"/>
                <a:gd name="T58" fmla="*/ 91 w 337"/>
                <a:gd name="T59" fmla="*/ 82 h 172"/>
                <a:gd name="T60" fmla="*/ 120 w 337"/>
                <a:gd name="T61" fmla="*/ 103 h 172"/>
                <a:gd name="T62" fmla="*/ 92 w 337"/>
                <a:gd name="T63" fmla="*/ 128 h 172"/>
                <a:gd name="T64" fmla="*/ 54 w 337"/>
                <a:gd name="T65" fmla="*/ 97 h 172"/>
                <a:gd name="T66" fmla="*/ 117 w 337"/>
                <a:gd name="T67" fmla="*/ 57 h 172"/>
                <a:gd name="T68" fmla="*/ 127 w 337"/>
                <a:gd name="T69" fmla="*/ 63 h 172"/>
                <a:gd name="T70" fmla="*/ 163 w 337"/>
                <a:gd name="T71" fmla="*/ 78 h 172"/>
                <a:gd name="T72" fmla="*/ 162 w 337"/>
                <a:gd name="T73" fmla="*/ 106 h 172"/>
                <a:gd name="T74" fmla="*/ 162 w 337"/>
                <a:gd name="T75" fmla="*/ 109 h 172"/>
                <a:gd name="T76" fmla="*/ 113 w 337"/>
                <a:gd name="T77" fmla="*/ 160 h 172"/>
                <a:gd name="T78" fmla="*/ 107 w 337"/>
                <a:gd name="T79" fmla="*/ 158 h 172"/>
                <a:gd name="T80" fmla="*/ 29 w 337"/>
                <a:gd name="T81" fmla="*/ 130 h 172"/>
                <a:gd name="T82" fmla="*/ 27 w 337"/>
                <a:gd name="T83" fmla="*/ 116 h 172"/>
                <a:gd name="T84" fmla="*/ 4 w 337"/>
                <a:gd name="T85" fmla="*/ 72 h 172"/>
                <a:gd name="T86" fmla="*/ 64 w 337"/>
                <a:gd name="T87" fmla="*/ 19 h 172"/>
                <a:gd name="T88" fmla="*/ 67 w 337"/>
                <a:gd name="T89" fmla="*/ 19 h 172"/>
                <a:gd name="T90" fmla="*/ 155 w 337"/>
                <a:gd name="T91" fmla="*/ 40 h 172"/>
                <a:gd name="T92" fmla="*/ 158 w 337"/>
                <a:gd name="T93" fmla="*/ 46 h 172"/>
                <a:gd name="T94" fmla="*/ 186 w 337"/>
                <a:gd name="T95" fmla="*/ 62 h 172"/>
                <a:gd name="T96" fmla="*/ 202 w 337"/>
                <a:gd name="T97" fmla="*/ 83 h 172"/>
                <a:gd name="T98" fmla="*/ 270 w 337"/>
                <a:gd name="T99" fmla="*/ 88 h 172"/>
                <a:gd name="T100" fmla="*/ 305 w 337"/>
                <a:gd name="T101" fmla="*/ 121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7" h="172">
                  <a:moveTo>
                    <a:pt x="306" y="119"/>
                  </a:moveTo>
                  <a:cubicBezTo>
                    <a:pt x="308" y="118"/>
                    <a:pt x="308" y="118"/>
                    <a:pt x="308" y="118"/>
                  </a:cubicBezTo>
                  <a:cubicBezTo>
                    <a:pt x="308" y="118"/>
                    <a:pt x="303" y="112"/>
                    <a:pt x="296" y="105"/>
                  </a:cubicBezTo>
                  <a:cubicBezTo>
                    <a:pt x="289" y="98"/>
                    <a:pt x="281" y="89"/>
                    <a:pt x="272" y="84"/>
                  </a:cubicBezTo>
                  <a:cubicBezTo>
                    <a:pt x="261" y="78"/>
                    <a:pt x="249" y="77"/>
                    <a:pt x="240" y="77"/>
                  </a:cubicBezTo>
                  <a:cubicBezTo>
                    <a:pt x="234" y="77"/>
                    <a:pt x="229" y="77"/>
                    <a:pt x="226" y="78"/>
                  </a:cubicBezTo>
                  <a:cubicBezTo>
                    <a:pt x="222" y="79"/>
                    <a:pt x="216" y="79"/>
                    <a:pt x="211" y="79"/>
                  </a:cubicBezTo>
                  <a:cubicBezTo>
                    <a:pt x="208" y="79"/>
                    <a:pt x="205" y="79"/>
                    <a:pt x="202" y="79"/>
                  </a:cubicBezTo>
                  <a:cubicBezTo>
                    <a:pt x="200" y="78"/>
                    <a:pt x="198" y="78"/>
                    <a:pt x="198" y="77"/>
                  </a:cubicBezTo>
                  <a:cubicBezTo>
                    <a:pt x="196" y="76"/>
                    <a:pt x="195" y="73"/>
                    <a:pt x="194" y="69"/>
                  </a:cubicBezTo>
                  <a:cubicBezTo>
                    <a:pt x="193" y="68"/>
                    <a:pt x="192" y="66"/>
                    <a:pt x="192" y="64"/>
                  </a:cubicBezTo>
                  <a:cubicBezTo>
                    <a:pt x="191" y="63"/>
                    <a:pt x="190" y="61"/>
                    <a:pt x="189" y="60"/>
                  </a:cubicBezTo>
                  <a:cubicBezTo>
                    <a:pt x="188" y="58"/>
                    <a:pt x="184" y="53"/>
                    <a:pt x="179" y="49"/>
                  </a:cubicBezTo>
                  <a:cubicBezTo>
                    <a:pt x="174" y="45"/>
                    <a:pt x="168" y="42"/>
                    <a:pt x="162" y="42"/>
                  </a:cubicBezTo>
                  <a:cubicBezTo>
                    <a:pt x="161" y="42"/>
                    <a:pt x="160" y="42"/>
                    <a:pt x="159" y="42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43"/>
                    <a:pt x="157" y="35"/>
                    <a:pt x="150" y="26"/>
                  </a:cubicBezTo>
                  <a:cubicBezTo>
                    <a:pt x="143" y="17"/>
                    <a:pt x="132" y="7"/>
                    <a:pt x="117" y="2"/>
                  </a:cubicBezTo>
                  <a:cubicBezTo>
                    <a:pt x="112" y="0"/>
                    <a:pt x="107" y="0"/>
                    <a:pt x="103" y="0"/>
                  </a:cubicBezTo>
                  <a:cubicBezTo>
                    <a:pt x="91" y="0"/>
                    <a:pt x="82" y="4"/>
                    <a:pt x="75" y="8"/>
                  </a:cubicBezTo>
                  <a:cubicBezTo>
                    <a:pt x="68" y="12"/>
                    <a:pt x="64" y="16"/>
                    <a:pt x="64" y="16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3" y="15"/>
                    <a:pt x="60" y="15"/>
                  </a:cubicBezTo>
                  <a:cubicBezTo>
                    <a:pt x="52" y="15"/>
                    <a:pt x="38" y="17"/>
                    <a:pt x="26" y="26"/>
                  </a:cubicBezTo>
                  <a:cubicBezTo>
                    <a:pt x="10" y="39"/>
                    <a:pt x="2" y="56"/>
                    <a:pt x="0" y="72"/>
                  </a:cubicBezTo>
                  <a:cubicBezTo>
                    <a:pt x="0" y="73"/>
                    <a:pt x="0" y="74"/>
                    <a:pt x="0" y="76"/>
                  </a:cubicBezTo>
                  <a:cubicBezTo>
                    <a:pt x="0" y="91"/>
                    <a:pt x="8" y="108"/>
                    <a:pt x="24" y="118"/>
                  </a:cubicBezTo>
                  <a:cubicBezTo>
                    <a:pt x="25" y="116"/>
                    <a:pt x="25" y="116"/>
                    <a:pt x="25" y="116"/>
                  </a:cubicBezTo>
                  <a:cubicBezTo>
                    <a:pt x="23" y="116"/>
                    <a:pt x="23" y="116"/>
                    <a:pt x="23" y="116"/>
                  </a:cubicBezTo>
                  <a:cubicBezTo>
                    <a:pt x="23" y="117"/>
                    <a:pt x="23" y="123"/>
                    <a:pt x="25" y="131"/>
                  </a:cubicBezTo>
                  <a:cubicBezTo>
                    <a:pt x="28" y="139"/>
                    <a:pt x="33" y="150"/>
                    <a:pt x="41" y="158"/>
                  </a:cubicBezTo>
                  <a:cubicBezTo>
                    <a:pt x="51" y="167"/>
                    <a:pt x="64" y="172"/>
                    <a:pt x="77" y="172"/>
                  </a:cubicBezTo>
                  <a:cubicBezTo>
                    <a:pt x="88" y="172"/>
                    <a:pt x="98" y="169"/>
                    <a:pt x="108" y="162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6" y="162"/>
                    <a:pt x="106" y="162"/>
                    <a:pt x="106" y="162"/>
                  </a:cubicBezTo>
                  <a:cubicBezTo>
                    <a:pt x="106" y="162"/>
                    <a:pt x="114" y="165"/>
                    <a:pt x="125" y="165"/>
                  </a:cubicBezTo>
                  <a:cubicBezTo>
                    <a:pt x="135" y="165"/>
                    <a:pt x="147" y="163"/>
                    <a:pt x="158" y="153"/>
                  </a:cubicBezTo>
                  <a:cubicBezTo>
                    <a:pt x="167" y="143"/>
                    <a:pt x="170" y="133"/>
                    <a:pt x="170" y="125"/>
                  </a:cubicBezTo>
                  <a:cubicBezTo>
                    <a:pt x="170" y="114"/>
                    <a:pt x="165" y="107"/>
                    <a:pt x="165" y="107"/>
                  </a:cubicBezTo>
                  <a:cubicBezTo>
                    <a:pt x="163" y="108"/>
                    <a:pt x="163" y="108"/>
                    <a:pt x="163" y="108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5" y="108"/>
                    <a:pt x="169" y="98"/>
                    <a:pt x="169" y="88"/>
                  </a:cubicBezTo>
                  <a:cubicBezTo>
                    <a:pt x="169" y="84"/>
                    <a:pt x="169" y="80"/>
                    <a:pt x="167" y="76"/>
                  </a:cubicBezTo>
                  <a:cubicBezTo>
                    <a:pt x="164" y="71"/>
                    <a:pt x="159" y="67"/>
                    <a:pt x="153" y="63"/>
                  </a:cubicBezTo>
                  <a:cubicBezTo>
                    <a:pt x="148" y="60"/>
                    <a:pt x="141" y="58"/>
                    <a:pt x="134" y="58"/>
                  </a:cubicBezTo>
                  <a:cubicBezTo>
                    <a:pt x="132" y="58"/>
                    <a:pt x="129" y="58"/>
                    <a:pt x="127" y="59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29" y="59"/>
                    <a:pt x="124" y="56"/>
                    <a:pt x="118" y="54"/>
                  </a:cubicBezTo>
                  <a:cubicBezTo>
                    <a:pt x="112" y="51"/>
                    <a:pt x="104" y="48"/>
                    <a:pt x="97" y="48"/>
                  </a:cubicBezTo>
                  <a:cubicBezTo>
                    <a:pt x="93" y="48"/>
                    <a:pt x="90" y="49"/>
                    <a:pt x="86" y="50"/>
                  </a:cubicBezTo>
                  <a:cubicBezTo>
                    <a:pt x="78" y="54"/>
                    <a:pt x="69" y="60"/>
                    <a:pt x="62" y="68"/>
                  </a:cubicBezTo>
                  <a:cubicBezTo>
                    <a:pt x="55" y="76"/>
                    <a:pt x="50" y="86"/>
                    <a:pt x="50" y="97"/>
                  </a:cubicBezTo>
                  <a:cubicBezTo>
                    <a:pt x="50" y="99"/>
                    <a:pt x="50" y="100"/>
                    <a:pt x="50" y="102"/>
                  </a:cubicBezTo>
                  <a:cubicBezTo>
                    <a:pt x="52" y="113"/>
                    <a:pt x="57" y="121"/>
                    <a:pt x="65" y="126"/>
                  </a:cubicBezTo>
                  <a:cubicBezTo>
                    <a:pt x="72" y="131"/>
                    <a:pt x="81" y="133"/>
                    <a:pt x="88" y="133"/>
                  </a:cubicBezTo>
                  <a:cubicBezTo>
                    <a:pt x="89" y="133"/>
                    <a:pt x="91" y="132"/>
                    <a:pt x="92" y="132"/>
                  </a:cubicBezTo>
                  <a:cubicBezTo>
                    <a:pt x="100" y="131"/>
                    <a:pt x="107" y="127"/>
                    <a:pt x="113" y="122"/>
                  </a:cubicBezTo>
                  <a:cubicBezTo>
                    <a:pt x="118" y="117"/>
                    <a:pt x="122" y="110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97"/>
                    <a:pt x="119" y="90"/>
                    <a:pt x="114" y="86"/>
                  </a:cubicBezTo>
                  <a:cubicBezTo>
                    <a:pt x="110" y="81"/>
                    <a:pt x="103" y="77"/>
                    <a:pt x="96" y="77"/>
                  </a:cubicBezTo>
                  <a:cubicBezTo>
                    <a:pt x="94" y="77"/>
                    <a:pt x="92" y="78"/>
                    <a:pt x="90" y="79"/>
                  </a:cubicBezTo>
                  <a:cubicBezTo>
                    <a:pt x="84" y="81"/>
                    <a:pt x="81" y="84"/>
                    <a:pt x="78" y="88"/>
                  </a:cubicBezTo>
                  <a:cubicBezTo>
                    <a:pt x="76" y="92"/>
                    <a:pt x="75" y="96"/>
                    <a:pt x="75" y="100"/>
                  </a:cubicBezTo>
                  <a:cubicBezTo>
                    <a:pt x="75" y="105"/>
                    <a:pt x="76" y="108"/>
                    <a:pt x="78" y="112"/>
                  </a:cubicBezTo>
                  <a:cubicBezTo>
                    <a:pt x="81" y="117"/>
                    <a:pt x="88" y="121"/>
                    <a:pt x="95" y="121"/>
                  </a:cubicBezTo>
                  <a:cubicBezTo>
                    <a:pt x="100" y="121"/>
                    <a:pt x="107" y="118"/>
                    <a:pt x="112" y="112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0" y="113"/>
                    <a:pt x="110" y="113"/>
                    <a:pt x="110" y="113"/>
                  </a:cubicBezTo>
                  <a:cubicBezTo>
                    <a:pt x="110" y="113"/>
                    <a:pt x="136" y="116"/>
                    <a:pt x="158" y="116"/>
                  </a:cubicBezTo>
                  <a:cubicBezTo>
                    <a:pt x="163" y="116"/>
                    <a:pt x="168" y="116"/>
                    <a:pt x="172" y="115"/>
                  </a:cubicBezTo>
                  <a:cubicBezTo>
                    <a:pt x="176" y="115"/>
                    <a:pt x="180" y="114"/>
                    <a:pt x="183" y="113"/>
                  </a:cubicBezTo>
                  <a:cubicBezTo>
                    <a:pt x="191" y="109"/>
                    <a:pt x="194" y="107"/>
                    <a:pt x="198" y="105"/>
                  </a:cubicBezTo>
                  <a:cubicBezTo>
                    <a:pt x="201" y="104"/>
                    <a:pt x="205" y="102"/>
                    <a:pt x="216" y="101"/>
                  </a:cubicBezTo>
                  <a:cubicBezTo>
                    <a:pt x="225" y="99"/>
                    <a:pt x="233" y="98"/>
                    <a:pt x="240" y="98"/>
                  </a:cubicBezTo>
                  <a:cubicBezTo>
                    <a:pt x="248" y="98"/>
                    <a:pt x="254" y="100"/>
                    <a:pt x="262" y="106"/>
                  </a:cubicBezTo>
                  <a:cubicBezTo>
                    <a:pt x="267" y="110"/>
                    <a:pt x="275" y="117"/>
                    <a:pt x="283" y="122"/>
                  </a:cubicBezTo>
                  <a:cubicBezTo>
                    <a:pt x="292" y="128"/>
                    <a:pt x="301" y="133"/>
                    <a:pt x="311" y="133"/>
                  </a:cubicBezTo>
                  <a:cubicBezTo>
                    <a:pt x="316" y="133"/>
                    <a:pt x="322" y="131"/>
                    <a:pt x="327" y="128"/>
                  </a:cubicBezTo>
                  <a:cubicBezTo>
                    <a:pt x="337" y="121"/>
                    <a:pt x="337" y="121"/>
                    <a:pt x="337" y="121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6" y="124"/>
                    <a:pt x="326" y="124"/>
                    <a:pt x="326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6" y="124"/>
                    <a:pt x="326" y="124"/>
                    <a:pt x="326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5" y="124"/>
                    <a:pt x="325" y="124"/>
                    <a:pt x="323" y="124"/>
                  </a:cubicBezTo>
                  <a:cubicBezTo>
                    <a:pt x="320" y="124"/>
                    <a:pt x="315" y="123"/>
                    <a:pt x="307" y="118"/>
                  </a:cubicBezTo>
                  <a:cubicBezTo>
                    <a:pt x="306" y="119"/>
                    <a:pt x="306" y="119"/>
                    <a:pt x="306" y="119"/>
                  </a:cubicBezTo>
                  <a:cubicBezTo>
                    <a:pt x="308" y="118"/>
                    <a:pt x="308" y="118"/>
                    <a:pt x="308" y="118"/>
                  </a:cubicBezTo>
                  <a:cubicBezTo>
                    <a:pt x="306" y="119"/>
                    <a:pt x="306" y="119"/>
                    <a:pt x="306" y="119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13" y="127"/>
                    <a:pt x="320" y="128"/>
                    <a:pt x="323" y="128"/>
                  </a:cubicBezTo>
                  <a:cubicBezTo>
                    <a:pt x="325" y="128"/>
                    <a:pt x="326" y="128"/>
                    <a:pt x="326" y="128"/>
                  </a:cubicBezTo>
                  <a:cubicBezTo>
                    <a:pt x="326" y="126"/>
                    <a:pt x="326" y="126"/>
                    <a:pt x="326" y="126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0" y="127"/>
                    <a:pt x="316" y="129"/>
                    <a:pt x="311" y="129"/>
                  </a:cubicBezTo>
                  <a:cubicBezTo>
                    <a:pt x="302" y="129"/>
                    <a:pt x="294" y="125"/>
                    <a:pt x="286" y="119"/>
                  </a:cubicBezTo>
                  <a:cubicBezTo>
                    <a:pt x="277" y="113"/>
                    <a:pt x="270" y="107"/>
                    <a:pt x="264" y="102"/>
                  </a:cubicBezTo>
                  <a:cubicBezTo>
                    <a:pt x="256" y="96"/>
                    <a:pt x="248" y="94"/>
                    <a:pt x="240" y="94"/>
                  </a:cubicBezTo>
                  <a:cubicBezTo>
                    <a:pt x="232" y="94"/>
                    <a:pt x="225" y="95"/>
                    <a:pt x="215" y="97"/>
                  </a:cubicBezTo>
                  <a:cubicBezTo>
                    <a:pt x="205" y="98"/>
                    <a:pt x="200" y="100"/>
                    <a:pt x="196" y="102"/>
                  </a:cubicBezTo>
                  <a:cubicBezTo>
                    <a:pt x="192" y="104"/>
                    <a:pt x="189" y="106"/>
                    <a:pt x="181" y="109"/>
                  </a:cubicBezTo>
                  <a:cubicBezTo>
                    <a:pt x="179" y="110"/>
                    <a:pt x="176" y="111"/>
                    <a:pt x="172" y="111"/>
                  </a:cubicBezTo>
                  <a:cubicBezTo>
                    <a:pt x="167" y="112"/>
                    <a:pt x="163" y="112"/>
                    <a:pt x="158" y="112"/>
                  </a:cubicBezTo>
                  <a:cubicBezTo>
                    <a:pt x="147" y="112"/>
                    <a:pt x="135" y="111"/>
                    <a:pt x="126" y="110"/>
                  </a:cubicBezTo>
                  <a:cubicBezTo>
                    <a:pt x="122" y="110"/>
                    <a:pt x="118" y="110"/>
                    <a:pt x="115" y="109"/>
                  </a:cubicBezTo>
                  <a:cubicBezTo>
                    <a:pt x="112" y="109"/>
                    <a:pt x="111" y="109"/>
                    <a:pt x="111" y="109"/>
                  </a:cubicBezTo>
                  <a:cubicBezTo>
                    <a:pt x="110" y="109"/>
                    <a:pt x="110" y="109"/>
                    <a:pt x="110" y="109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04" y="115"/>
                    <a:pt x="99" y="117"/>
                    <a:pt x="95" y="117"/>
                  </a:cubicBezTo>
                  <a:cubicBezTo>
                    <a:pt x="89" y="117"/>
                    <a:pt x="84" y="113"/>
                    <a:pt x="81" y="109"/>
                  </a:cubicBezTo>
                  <a:cubicBezTo>
                    <a:pt x="80" y="107"/>
                    <a:pt x="79" y="104"/>
                    <a:pt x="79" y="100"/>
                  </a:cubicBezTo>
                  <a:cubicBezTo>
                    <a:pt x="79" y="97"/>
                    <a:pt x="80" y="93"/>
                    <a:pt x="82" y="90"/>
                  </a:cubicBezTo>
                  <a:cubicBezTo>
                    <a:pt x="84" y="87"/>
                    <a:pt x="87" y="84"/>
                    <a:pt x="91" y="82"/>
                  </a:cubicBezTo>
                  <a:cubicBezTo>
                    <a:pt x="93" y="82"/>
                    <a:pt x="95" y="81"/>
                    <a:pt x="96" y="81"/>
                  </a:cubicBezTo>
                  <a:cubicBezTo>
                    <a:pt x="102" y="81"/>
                    <a:pt x="107" y="84"/>
                    <a:pt x="111" y="88"/>
                  </a:cubicBezTo>
                  <a:cubicBezTo>
                    <a:pt x="115" y="93"/>
                    <a:pt x="118" y="98"/>
                    <a:pt x="118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18" y="108"/>
                    <a:pt x="115" y="114"/>
                    <a:pt x="110" y="119"/>
                  </a:cubicBezTo>
                  <a:cubicBezTo>
                    <a:pt x="105" y="124"/>
                    <a:pt x="98" y="127"/>
                    <a:pt x="92" y="128"/>
                  </a:cubicBezTo>
                  <a:cubicBezTo>
                    <a:pt x="91" y="128"/>
                    <a:pt x="89" y="129"/>
                    <a:pt x="88" y="129"/>
                  </a:cubicBezTo>
                  <a:cubicBezTo>
                    <a:pt x="81" y="129"/>
                    <a:pt x="73" y="127"/>
                    <a:pt x="67" y="122"/>
                  </a:cubicBezTo>
                  <a:cubicBezTo>
                    <a:pt x="60" y="118"/>
                    <a:pt x="55" y="111"/>
                    <a:pt x="54" y="102"/>
                  </a:cubicBezTo>
                  <a:cubicBezTo>
                    <a:pt x="54" y="100"/>
                    <a:pt x="54" y="99"/>
                    <a:pt x="54" y="97"/>
                  </a:cubicBezTo>
                  <a:cubicBezTo>
                    <a:pt x="54" y="87"/>
                    <a:pt x="58" y="78"/>
                    <a:pt x="65" y="70"/>
                  </a:cubicBezTo>
                  <a:cubicBezTo>
                    <a:pt x="72" y="63"/>
                    <a:pt x="81" y="57"/>
                    <a:pt x="88" y="54"/>
                  </a:cubicBezTo>
                  <a:cubicBezTo>
                    <a:pt x="90" y="53"/>
                    <a:pt x="93" y="52"/>
                    <a:pt x="97" y="52"/>
                  </a:cubicBezTo>
                  <a:cubicBezTo>
                    <a:pt x="103" y="52"/>
                    <a:pt x="111" y="55"/>
                    <a:pt x="117" y="57"/>
                  </a:cubicBezTo>
                  <a:cubicBezTo>
                    <a:pt x="120" y="59"/>
                    <a:pt x="122" y="60"/>
                    <a:pt x="124" y="61"/>
                  </a:cubicBezTo>
                  <a:cubicBezTo>
                    <a:pt x="125" y="61"/>
                    <a:pt x="125" y="62"/>
                    <a:pt x="126" y="62"/>
                  </a:cubicBezTo>
                  <a:cubicBezTo>
                    <a:pt x="126" y="62"/>
                    <a:pt x="126" y="62"/>
                    <a:pt x="126" y="62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30" y="62"/>
                    <a:pt x="132" y="62"/>
                    <a:pt x="134" y="62"/>
                  </a:cubicBezTo>
                  <a:cubicBezTo>
                    <a:pt x="140" y="62"/>
                    <a:pt x="146" y="64"/>
                    <a:pt x="151" y="67"/>
                  </a:cubicBezTo>
                  <a:cubicBezTo>
                    <a:pt x="156" y="70"/>
                    <a:pt x="161" y="74"/>
                    <a:pt x="163" y="78"/>
                  </a:cubicBezTo>
                  <a:cubicBezTo>
                    <a:pt x="165" y="81"/>
                    <a:pt x="165" y="85"/>
                    <a:pt x="165" y="88"/>
                  </a:cubicBezTo>
                  <a:cubicBezTo>
                    <a:pt x="165" y="93"/>
                    <a:pt x="164" y="97"/>
                    <a:pt x="163" y="101"/>
                  </a:cubicBezTo>
                  <a:cubicBezTo>
                    <a:pt x="163" y="103"/>
                    <a:pt x="162" y="104"/>
                    <a:pt x="162" y="105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1" y="107"/>
                    <a:pt x="161" y="107"/>
                    <a:pt x="161" y="107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2" y="109"/>
                    <a:pt x="162" y="109"/>
                    <a:pt x="162" y="109"/>
                  </a:cubicBezTo>
                  <a:cubicBezTo>
                    <a:pt x="162" y="109"/>
                    <a:pt x="162" y="109"/>
                    <a:pt x="162" y="109"/>
                  </a:cubicBezTo>
                  <a:cubicBezTo>
                    <a:pt x="162" y="109"/>
                    <a:pt x="166" y="116"/>
                    <a:pt x="166" y="125"/>
                  </a:cubicBezTo>
                  <a:cubicBezTo>
                    <a:pt x="166" y="133"/>
                    <a:pt x="163" y="141"/>
                    <a:pt x="155" y="150"/>
                  </a:cubicBezTo>
                  <a:cubicBezTo>
                    <a:pt x="145" y="159"/>
                    <a:pt x="134" y="161"/>
                    <a:pt x="125" y="161"/>
                  </a:cubicBezTo>
                  <a:cubicBezTo>
                    <a:pt x="120" y="161"/>
                    <a:pt x="116" y="161"/>
                    <a:pt x="113" y="160"/>
                  </a:cubicBezTo>
                  <a:cubicBezTo>
                    <a:pt x="111" y="160"/>
                    <a:pt x="110" y="159"/>
                    <a:pt x="109" y="159"/>
                  </a:cubicBezTo>
                  <a:cubicBezTo>
                    <a:pt x="109" y="159"/>
                    <a:pt x="108" y="159"/>
                    <a:pt x="108" y="159"/>
                  </a:cubicBezTo>
                  <a:cubicBezTo>
                    <a:pt x="108" y="158"/>
                    <a:pt x="108" y="158"/>
                    <a:pt x="108" y="158"/>
                  </a:cubicBezTo>
                  <a:cubicBezTo>
                    <a:pt x="107" y="158"/>
                    <a:pt x="107" y="158"/>
                    <a:pt x="107" y="158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97" y="165"/>
                    <a:pt x="87" y="168"/>
                    <a:pt x="77" y="168"/>
                  </a:cubicBezTo>
                  <a:cubicBezTo>
                    <a:pt x="65" y="168"/>
                    <a:pt x="53" y="163"/>
                    <a:pt x="44" y="155"/>
                  </a:cubicBezTo>
                  <a:cubicBezTo>
                    <a:pt x="36" y="148"/>
                    <a:pt x="32" y="138"/>
                    <a:pt x="29" y="130"/>
                  </a:cubicBezTo>
                  <a:cubicBezTo>
                    <a:pt x="28" y="126"/>
                    <a:pt x="27" y="123"/>
                    <a:pt x="27" y="120"/>
                  </a:cubicBezTo>
                  <a:cubicBezTo>
                    <a:pt x="27" y="119"/>
                    <a:pt x="27" y="118"/>
                    <a:pt x="27" y="117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12" y="105"/>
                    <a:pt x="4" y="89"/>
                    <a:pt x="4" y="76"/>
                  </a:cubicBezTo>
                  <a:cubicBezTo>
                    <a:pt x="4" y="75"/>
                    <a:pt x="4" y="73"/>
                    <a:pt x="4" y="72"/>
                  </a:cubicBezTo>
                  <a:cubicBezTo>
                    <a:pt x="6" y="57"/>
                    <a:pt x="13" y="41"/>
                    <a:pt x="29" y="29"/>
                  </a:cubicBezTo>
                  <a:cubicBezTo>
                    <a:pt x="40" y="21"/>
                    <a:pt x="53" y="19"/>
                    <a:pt x="60" y="19"/>
                  </a:cubicBezTo>
                  <a:cubicBezTo>
                    <a:pt x="61" y="19"/>
                    <a:pt x="63" y="19"/>
                    <a:pt x="63" y="1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8" y="17"/>
                    <a:pt x="83" y="3"/>
                    <a:pt x="103" y="4"/>
                  </a:cubicBezTo>
                  <a:cubicBezTo>
                    <a:pt x="107" y="4"/>
                    <a:pt x="111" y="4"/>
                    <a:pt x="116" y="6"/>
                  </a:cubicBezTo>
                  <a:cubicBezTo>
                    <a:pt x="129" y="10"/>
                    <a:pt x="140" y="20"/>
                    <a:pt x="147" y="29"/>
                  </a:cubicBezTo>
                  <a:cubicBezTo>
                    <a:pt x="150" y="33"/>
                    <a:pt x="153" y="37"/>
                    <a:pt x="155" y="40"/>
                  </a:cubicBezTo>
                  <a:cubicBezTo>
                    <a:pt x="156" y="41"/>
                    <a:pt x="156" y="43"/>
                    <a:pt x="157" y="43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57" y="45"/>
                    <a:pt x="157" y="45"/>
                    <a:pt x="157" y="45"/>
                  </a:cubicBezTo>
                  <a:cubicBezTo>
                    <a:pt x="158" y="46"/>
                    <a:pt x="158" y="46"/>
                    <a:pt x="158" y="46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60" y="46"/>
                    <a:pt x="161" y="46"/>
                    <a:pt x="162" y="46"/>
                  </a:cubicBezTo>
                  <a:cubicBezTo>
                    <a:pt x="166" y="45"/>
                    <a:pt x="172" y="49"/>
                    <a:pt x="177" y="53"/>
                  </a:cubicBezTo>
                  <a:cubicBezTo>
                    <a:pt x="181" y="56"/>
                    <a:pt x="185" y="61"/>
                    <a:pt x="186" y="62"/>
                  </a:cubicBezTo>
                  <a:cubicBezTo>
                    <a:pt x="187" y="63"/>
                    <a:pt x="187" y="64"/>
                    <a:pt x="188" y="66"/>
                  </a:cubicBezTo>
                  <a:cubicBezTo>
                    <a:pt x="189" y="68"/>
                    <a:pt x="190" y="71"/>
                    <a:pt x="191" y="73"/>
                  </a:cubicBezTo>
                  <a:cubicBezTo>
                    <a:pt x="192" y="76"/>
                    <a:pt x="193" y="79"/>
                    <a:pt x="195" y="80"/>
                  </a:cubicBezTo>
                  <a:cubicBezTo>
                    <a:pt x="197" y="82"/>
                    <a:pt x="199" y="82"/>
                    <a:pt x="202" y="83"/>
                  </a:cubicBezTo>
                  <a:cubicBezTo>
                    <a:pt x="204" y="83"/>
                    <a:pt x="208" y="83"/>
                    <a:pt x="211" y="83"/>
                  </a:cubicBezTo>
                  <a:cubicBezTo>
                    <a:pt x="217" y="83"/>
                    <a:pt x="223" y="83"/>
                    <a:pt x="227" y="82"/>
                  </a:cubicBezTo>
                  <a:cubicBezTo>
                    <a:pt x="230" y="81"/>
                    <a:pt x="234" y="81"/>
                    <a:pt x="240" y="81"/>
                  </a:cubicBezTo>
                  <a:cubicBezTo>
                    <a:pt x="249" y="81"/>
                    <a:pt x="260" y="82"/>
                    <a:pt x="270" y="88"/>
                  </a:cubicBezTo>
                  <a:cubicBezTo>
                    <a:pt x="278" y="92"/>
                    <a:pt x="287" y="101"/>
                    <a:pt x="293" y="108"/>
                  </a:cubicBezTo>
                  <a:cubicBezTo>
                    <a:pt x="297" y="111"/>
                    <a:pt x="300" y="114"/>
                    <a:pt x="302" y="117"/>
                  </a:cubicBezTo>
                  <a:cubicBezTo>
                    <a:pt x="302" y="118"/>
                    <a:pt x="303" y="119"/>
                    <a:pt x="304" y="120"/>
                  </a:cubicBezTo>
                  <a:cubicBezTo>
                    <a:pt x="304" y="120"/>
                    <a:pt x="305" y="121"/>
                    <a:pt x="305" y="121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06" y="119"/>
                    <a:pt x="306" y="119"/>
                    <a:pt x="306" y="11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4334608" y="2731765"/>
              <a:ext cx="396987" cy="270289"/>
            </a:xfrm>
            <a:custGeom>
              <a:avLst/>
              <a:gdLst>
                <a:gd name="T0" fmla="*/ 48 w 119"/>
                <a:gd name="T1" fmla="*/ 56 h 81"/>
                <a:gd name="T2" fmla="*/ 48 w 119"/>
                <a:gd name="T3" fmla="*/ 56 h 81"/>
                <a:gd name="T4" fmla="*/ 50 w 119"/>
                <a:gd name="T5" fmla="*/ 53 h 81"/>
                <a:gd name="T6" fmla="*/ 52 w 119"/>
                <a:gd name="T7" fmla="*/ 52 h 81"/>
                <a:gd name="T8" fmla="*/ 54 w 119"/>
                <a:gd name="T9" fmla="*/ 51 h 81"/>
                <a:gd name="T10" fmla="*/ 60 w 119"/>
                <a:gd name="T11" fmla="*/ 55 h 81"/>
                <a:gd name="T12" fmla="*/ 62 w 119"/>
                <a:gd name="T13" fmla="*/ 59 h 81"/>
                <a:gd name="T14" fmla="*/ 57 w 119"/>
                <a:gd name="T15" fmla="*/ 66 h 81"/>
                <a:gd name="T16" fmla="*/ 47 w 119"/>
                <a:gd name="T17" fmla="*/ 69 h 81"/>
                <a:gd name="T18" fmla="*/ 37 w 119"/>
                <a:gd name="T19" fmla="*/ 64 h 81"/>
                <a:gd name="T20" fmla="*/ 30 w 119"/>
                <a:gd name="T21" fmla="*/ 48 h 81"/>
                <a:gd name="T22" fmla="*/ 35 w 119"/>
                <a:gd name="T23" fmla="*/ 37 h 81"/>
                <a:gd name="T24" fmla="*/ 50 w 119"/>
                <a:gd name="T25" fmla="*/ 30 h 81"/>
                <a:gd name="T26" fmla="*/ 65 w 119"/>
                <a:gd name="T27" fmla="*/ 38 h 81"/>
                <a:gd name="T28" fmla="*/ 69 w 119"/>
                <a:gd name="T29" fmla="*/ 50 h 81"/>
                <a:gd name="T30" fmla="*/ 64 w 119"/>
                <a:gd name="T31" fmla="*/ 65 h 81"/>
                <a:gd name="T32" fmla="*/ 54 w 119"/>
                <a:gd name="T33" fmla="*/ 74 h 81"/>
                <a:gd name="T34" fmla="*/ 37 w 119"/>
                <a:gd name="T35" fmla="*/ 77 h 81"/>
                <a:gd name="T36" fmla="*/ 13 w 119"/>
                <a:gd name="T37" fmla="*/ 68 h 81"/>
                <a:gd name="T38" fmla="*/ 4 w 119"/>
                <a:gd name="T39" fmla="*/ 49 h 81"/>
                <a:gd name="T40" fmla="*/ 16 w 119"/>
                <a:gd name="T41" fmla="*/ 21 h 81"/>
                <a:gd name="T42" fmla="*/ 52 w 119"/>
                <a:gd name="T43" fmla="*/ 4 h 81"/>
                <a:gd name="T44" fmla="*/ 77 w 119"/>
                <a:gd name="T45" fmla="*/ 12 h 81"/>
                <a:gd name="T46" fmla="*/ 78 w 119"/>
                <a:gd name="T47" fmla="*/ 13 h 81"/>
                <a:gd name="T48" fmla="*/ 79 w 119"/>
                <a:gd name="T49" fmla="*/ 13 h 81"/>
                <a:gd name="T50" fmla="*/ 79 w 119"/>
                <a:gd name="T51" fmla="*/ 13 h 81"/>
                <a:gd name="T52" fmla="*/ 87 w 119"/>
                <a:gd name="T53" fmla="*/ 11 h 81"/>
                <a:gd name="T54" fmla="*/ 105 w 119"/>
                <a:gd name="T55" fmla="*/ 19 h 81"/>
                <a:gd name="T56" fmla="*/ 115 w 119"/>
                <a:gd name="T57" fmla="*/ 43 h 81"/>
                <a:gd name="T58" fmla="*/ 113 w 119"/>
                <a:gd name="T59" fmla="*/ 57 h 81"/>
                <a:gd name="T60" fmla="*/ 112 w 119"/>
                <a:gd name="T61" fmla="*/ 57 h 81"/>
                <a:gd name="T62" fmla="*/ 115 w 119"/>
                <a:gd name="T63" fmla="*/ 65 h 81"/>
                <a:gd name="T64" fmla="*/ 119 w 119"/>
                <a:gd name="T65" fmla="*/ 63 h 81"/>
                <a:gd name="T66" fmla="*/ 116 w 119"/>
                <a:gd name="T67" fmla="*/ 57 h 81"/>
                <a:gd name="T68" fmla="*/ 114 w 119"/>
                <a:gd name="T69" fmla="*/ 58 h 81"/>
                <a:gd name="T70" fmla="*/ 116 w 119"/>
                <a:gd name="T71" fmla="*/ 59 h 81"/>
                <a:gd name="T72" fmla="*/ 119 w 119"/>
                <a:gd name="T73" fmla="*/ 43 h 81"/>
                <a:gd name="T74" fmla="*/ 108 w 119"/>
                <a:gd name="T75" fmla="*/ 16 h 81"/>
                <a:gd name="T76" fmla="*/ 87 w 119"/>
                <a:gd name="T77" fmla="*/ 7 h 81"/>
                <a:gd name="T78" fmla="*/ 78 w 119"/>
                <a:gd name="T79" fmla="*/ 9 h 81"/>
                <a:gd name="T80" fmla="*/ 79 w 119"/>
                <a:gd name="T81" fmla="*/ 11 h 81"/>
                <a:gd name="T82" fmla="*/ 80 w 119"/>
                <a:gd name="T83" fmla="*/ 9 h 81"/>
                <a:gd name="T84" fmla="*/ 52 w 119"/>
                <a:gd name="T85" fmla="*/ 0 h 81"/>
                <a:gd name="T86" fmla="*/ 13 w 119"/>
                <a:gd name="T87" fmla="*/ 18 h 81"/>
                <a:gd name="T88" fmla="*/ 0 w 119"/>
                <a:gd name="T89" fmla="*/ 49 h 81"/>
                <a:gd name="T90" fmla="*/ 10 w 119"/>
                <a:gd name="T91" fmla="*/ 71 h 81"/>
                <a:gd name="T92" fmla="*/ 37 w 119"/>
                <a:gd name="T93" fmla="*/ 81 h 81"/>
                <a:gd name="T94" fmla="*/ 55 w 119"/>
                <a:gd name="T95" fmla="*/ 78 h 81"/>
                <a:gd name="T96" fmla="*/ 68 w 119"/>
                <a:gd name="T97" fmla="*/ 67 h 81"/>
                <a:gd name="T98" fmla="*/ 73 w 119"/>
                <a:gd name="T99" fmla="*/ 50 h 81"/>
                <a:gd name="T100" fmla="*/ 68 w 119"/>
                <a:gd name="T101" fmla="*/ 36 h 81"/>
                <a:gd name="T102" fmla="*/ 50 w 119"/>
                <a:gd name="T103" fmla="*/ 26 h 81"/>
                <a:gd name="T104" fmla="*/ 32 w 119"/>
                <a:gd name="T105" fmla="*/ 34 h 81"/>
                <a:gd name="T106" fmla="*/ 26 w 119"/>
                <a:gd name="T107" fmla="*/ 48 h 81"/>
                <a:gd name="T108" fmla="*/ 34 w 119"/>
                <a:gd name="T109" fmla="*/ 67 h 81"/>
                <a:gd name="T110" fmla="*/ 47 w 119"/>
                <a:gd name="T111" fmla="*/ 73 h 81"/>
                <a:gd name="T112" fmla="*/ 60 w 119"/>
                <a:gd name="T113" fmla="*/ 69 h 81"/>
                <a:gd name="T114" fmla="*/ 66 w 119"/>
                <a:gd name="T115" fmla="*/ 59 h 81"/>
                <a:gd name="T116" fmla="*/ 63 w 119"/>
                <a:gd name="T117" fmla="*/ 52 h 81"/>
                <a:gd name="T118" fmla="*/ 54 w 119"/>
                <a:gd name="T119" fmla="*/ 47 h 81"/>
                <a:gd name="T120" fmla="*/ 50 w 119"/>
                <a:gd name="T121" fmla="*/ 48 h 81"/>
                <a:gd name="T122" fmla="*/ 45 w 119"/>
                <a:gd name="T123" fmla="*/ 54 h 81"/>
                <a:gd name="T124" fmla="*/ 48 w 119"/>
                <a:gd name="T125" fmla="*/ 5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9" h="81">
                  <a:moveTo>
                    <a:pt x="48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9" y="56"/>
                    <a:pt x="49" y="54"/>
                    <a:pt x="50" y="53"/>
                  </a:cubicBezTo>
                  <a:cubicBezTo>
                    <a:pt x="51" y="53"/>
                    <a:pt x="51" y="52"/>
                    <a:pt x="52" y="52"/>
                  </a:cubicBezTo>
                  <a:cubicBezTo>
                    <a:pt x="53" y="51"/>
                    <a:pt x="53" y="51"/>
                    <a:pt x="54" y="51"/>
                  </a:cubicBezTo>
                  <a:cubicBezTo>
                    <a:pt x="55" y="51"/>
                    <a:pt x="57" y="52"/>
                    <a:pt x="60" y="55"/>
                  </a:cubicBezTo>
                  <a:cubicBezTo>
                    <a:pt x="61" y="56"/>
                    <a:pt x="62" y="58"/>
                    <a:pt x="62" y="59"/>
                  </a:cubicBezTo>
                  <a:cubicBezTo>
                    <a:pt x="62" y="61"/>
                    <a:pt x="60" y="64"/>
                    <a:pt x="57" y="66"/>
                  </a:cubicBezTo>
                  <a:cubicBezTo>
                    <a:pt x="55" y="68"/>
                    <a:pt x="51" y="69"/>
                    <a:pt x="47" y="69"/>
                  </a:cubicBezTo>
                  <a:cubicBezTo>
                    <a:pt x="44" y="69"/>
                    <a:pt x="40" y="68"/>
                    <a:pt x="37" y="64"/>
                  </a:cubicBezTo>
                  <a:cubicBezTo>
                    <a:pt x="32" y="58"/>
                    <a:pt x="30" y="53"/>
                    <a:pt x="30" y="48"/>
                  </a:cubicBezTo>
                  <a:cubicBezTo>
                    <a:pt x="30" y="44"/>
                    <a:pt x="32" y="41"/>
                    <a:pt x="35" y="37"/>
                  </a:cubicBezTo>
                  <a:cubicBezTo>
                    <a:pt x="39" y="33"/>
                    <a:pt x="44" y="30"/>
                    <a:pt x="50" y="30"/>
                  </a:cubicBezTo>
                  <a:cubicBezTo>
                    <a:pt x="55" y="30"/>
                    <a:pt x="60" y="32"/>
                    <a:pt x="65" y="38"/>
                  </a:cubicBezTo>
                  <a:cubicBezTo>
                    <a:pt x="68" y="42"/>
                    <a:pt x="69" y="46"/>
                    <a:pt x="69" y="50"/>
                  </a:cubicBezTo>
                  <a:cubicBezTo>
                    <a:pt x="69" y="55"/>
                    <a:pt x="67" y="61"/>
                    <a:pt x="64" y="65"/>
                  </a:cubicBezTo>
                  <a:cubicBezTo>
                    <a:pt x="62" y="70"/>
                    <a:pt x="58" y="73"/>
                    <a:pt x="54" y="74"/>
                  </a:cubicBezTo>
                  <a:cubicBezTo>
                    <a:pt x="49" y="76"/>
                    <a:pt x="43" y="77"/>
                    <a:pt x="37" y="77"/>
                  </a:cubicBezTo>
                  <a:cubicBezTo>
                    <a:pt x="28" y="77"/>
                    <a:pt x="20" y="75"/>
                    <a:pt x="13" y="68"/>
                  </a:cubicBezTo>
                  <a:cubicBezTo>
                    <a:pt x="7" y="63"/>
                    <a:pt x="4" y="56"/>
                    <a:pt x="4" y="49"/>
                  </a:cubicBezTo>
                  <a:cubicBezTo>
                    <a:pt x="4" y="41"/>
                    <a:pt x="7" y="32"/>
                    <a:pt x="16" y="21"/>
                  </a:cubicBezTo>
                  <a:cubicBezTo>
                    <a:pt x="25" y="9"/>
                    <a:pt x="39" y="4"/>
                    <a:pt x="52" y="4"/>
                  </a:cubicBezTo>
                  <a:cubicBezTo>
                    <a:pt x="62" y="4"/>
                    <a:pt x="72" y="7"/>
                    <a:pt x="77" y="12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80" y="13"/>
                    <a:pt x="82" y="11"/>
                    <a:pt x="87" y="11"/>
                  </a:cubicBezTo>
                  <a:cubicBezTo>
                    <a:pt x="91" y="11"/>
                    <a:pt x="98" y="13"/>
                    <a:pt x="105" y="19"/>
                  </a:cubicBezTo>
                  <a:cubicBezTo>
                    <a:pt x="113" y="25"/>
                    <a:pt x="115" y="35"/>
                    <a:pt x="115" y="43"/>
                  </a:cubicBezTo>
                  <a:cubicBezTo>
                    <a:pt x="115" y="49"/>
                    <a:pt x="114" y="54"/>
                    <a:pt x="113" y="57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4" y="58"/>
                    <a:pt x="114" y="58"/>
                    <a:pt x="114" y="58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8" y="55"/>
                    <a:pt x="119" y="50"/>
                    <a:pt x="119" y="43"/>
                  </a:cubicBezTo>
                  <a:cubicBezTo>
                    <a:pt x="119" y="34"/>
                    <a:pt x="117" y="23"/>
                    <a:pt x="108" y="16"/>
                  </a:cubicBezTo>
                  <a:cubicBezTo>
                    <a:pt x="100" y="9"/>
                    <a:pt x="92" y="7"/>
                    <a:pt x="87" y="7"/>
                  </a:cubicBezTo>
                  <a:cubicBezTo>
                    <a:pt x="81" y="7"/>
                    <a:pt x="78" y="9"/>
                    <a:pt x="78" y="9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73" y="3"/>
                    <a:pt x="63" y="0"/>
                    <a:pt x="52" y="0"/>
                  </a:cubicBezTo>
                  <a:cubicBezTo>
                    <a:pt x="38" y="0"/>
                    <a:pt x="22" y="5"/>
                    <a:pt x="13" y="18"/>
                  </a:cubicBezTo>
                  <a:cubicBezTo>
                    <a:pt x="4" y="30"/>
                    <a:pt x="0" y="40"/>
                    <a:pt x="0" y="49"/>
                  </a:cubicBezTo>
                  <a:cubicBezTo>
                    <a:pt x="0" y="57"/>
                    <a:pt x="4" y="65"/>
                    <a:pt x="10" y="71"/>
                  </a:cubicBezTo>
                  <a:cubicBezTo>
                    <a:pt x="18" y="79"/>
                    <a:pt x="28" y="81"/>
                    <a:pt x="37" y="81"/>
                  </a:cubicBezTo>
                  <a:cubicBezTo>
                    <a:pt x="44" y="81"/>
                    <a:pt x="50" y="80"/>
                    <a:pt x="55" y="78"/>
                  </a:cubicBezTo>
                  <a:cubicBezTo>
                    <a:pt x="60" y="76"/>
                    <a:pt x="65" y="72"/>
                    <a:pt x="68" y="67"/>
                  </a:cubicBezTo>
                  <a:cubicBezTo>
                    <a:pt x="71" y="62"/>
                    <a:pt x="73" y="56"/>
                    <a:pt x="73" y="50"/>
                  </a:cubicBezTo>
                  <a:cubicBezTo>
                    <a:pt x="73" y="45"/>
                    <a:pt x="72" y="40"/>
                    <a:pt x="68" y="36"/>
                  </a:cubicBezTo>
                  <a:cubicBezTo>
                    <a:pt x="63" y="29"/>
                    <a:pt x="56" y="26"/>
                    <a:pt x="50" y="26"/>
                  </a:cubicBezTo>
                  <a:cubicBezTo>
                    <a:pt x="43" y="26"/>
                    <a:pt x="37" y="29"/>
                    <a:pt x="32" y="34"/>
                  </a:cubicBezTo>
                  <a:cubicBezTo>
                    <a:pt x="28" y="38"/>
                    <a:pt x="26" y="43"/>
                    <a:pt x="26" y="48"/>
                  </a:cubicBezTo>
                  <a:cubicBezTo>
                    <a:pt x="26" y="54"/>
                    <a:pt x="29" y="60"/>
                    <a:pt x="34" y="67"/>
                  </a:cubicBezTo>
                  <a:cubicBezTo>
                    <a:pt x="38" y="71"/>
                    <a:pt x="43" y="73"/>
                    <a:pt x="47" y="73"/>
                  </a:cubicBezTo>
                  <a:cubicBezTo>
                    <a:pt x="52" y="73"/>
                    <a:pt x="56" y="71"/>
                    <a:pt x="60" y="69"/>
                  </a:cubicBezTo>
                  <a:cubicBezTo>
                    <a:pt x="63" y="66"/>
                    <a:pt x="65" y="63"/>
                    <a:pt x="66" y="59"/>
                  </a:cubicBezTo>
                  <a:cubicBezTo>
                    <a:pt x="66" y="57"/>
                    <a:pt x="65" y="55"/>
                    <a:pt x="63" y="52"/>
                  </a:cubicBezTo>
                  <a:cubicBezTo>
                    <a:pt x="60" y="49"/>
                    <a:pt x="57" y="47"/>
                    <a:pt x="54" y="47"/>
                  </a:cubicBezTo>
                  <a:cubicBezTo>
                    <a:pt x="52" y="47"/>
                    <a:pt x="51" y="48"/>
                    <a:pt x="50" y="48"/>
                  </a:cubicBezTo>
                  <a:cubicBezTo>
                    <a:pt x="46" y="51"/>
                    <a:pt x="45" y="54"/>
                    <a:pt x="45" y="54"/>
                  </a:cubicBezTo>
                  <a:lnTo>
                    <a:pt x="48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2138507" y="908720"/>
              <a:ext cx="1190962" cy="1038924"/>
            </a:xfrm>
            <a:custGeom>
              <a:avLst/>
              <a:gdLst>
                <a:gd name="T0" fmla="*/ 302 w 357"/>
                <a:gd name="T1" fmla="*/ 41 h 311"/>
                <a:gd name="T2" fmla="*/ 292 w 357"/>
                <a:gd name="T3" fmla="*/ 26 h 311"/>
                <a:gd name="T4" fmla="*/ 181 w 357"/>
                <a:gd name="T5" fmla="*/ 34 h 311"/>
                <a:gd name="T6" fmla="*/ 161 w 357"/>
                <a:gd name="T7" fmla="*/ 38 h 311"/>
                <a:gd name="T8" fmla="*/ 125 w 357"/>
                <a:gd name="T9" fmla="*/ 98 h 311"/>
                <a:gd name="T10" fmla="*/ 103 w 357"/>
                <a:gd name="T11" fmla="*/ 91 h 311"/>
                <a:gd name="T12" fmla="*/ 37 w 357"/>
                <a:gd name="T13" fmla="*/ 145 h 311"/>
                <a:gd name="T14" fmla="*/ 19 w 357"/>
                <a:gd name="T15" fmla="*/ 160 h 311"/>
                <a:gd name="T16" fmla="*/ 9 w 357"/>
                <a:gd name="T17" fmla="*/ 228 h 311"/>
                <a:gd name="T18" fmla="*/ 24 w 357"/>
                <a:gd name="T19" fmla="*/ 239 h 311"/>
                <a:gd name="T20" fmla="*/ 15 w 357"/>
                <a:gd name="T21" fmla="*/ 291 h 311"/>
                <a:gd name="T22" fmla="*/ 28 w 357"/>
                <a:gd name="T23" fmla="*/ 301 h 311"/>
                <a:gd name="T24" fmla="*/ 51 w 357"/>
                <a:gd name="T25" fmla="*/ 310 h 311"/>
                <a:gd name="T26" fmla="*/ 94 w 357"/>
                <a:gd name="T27" fmla="*/ 300 h 311"/>
                <a:gd name="T28" fmla="*/ 133 w 357"/>
                <a:gd name="T29" fmla="*/ 308 h 311"/>
                <a:gd name="T30" fmla="*/ 205 w 357"/>
                <a:gd name="T31" fmla="*/ 242 h 311"/>
                <a:gd name="T32" fmla="*/ 225 w 357"/>
                <a:gd name="T33" fmla="*/ 220 h 311"/>
                <a:gd name="T34" fmla="*/ 246 w 357"/>
                <a:gd name="T35" fmla="*/ 224 h 311"/>
                <a:gd name="T36" fmla="*/ 308 w 357"/>
                <a:gd name="T37" fmla="*/ 179 h 311"/>
                <a:gd name="T38" fmla="*/ 322 w 357"/>
                <a:gd name="T39" fmla="*/ 174 h 311"/>
                <a:gd name="T40" fmla="*/ 353 w 357"/>
                <a:gd name="T41" fmla="*/ 82 h 311"/>
                <a:gd name="T42" fmla="*/ 353 w 357"/>
                <a:gd name="T43" fmla="*/ 108 h 311"/>
                <a:gd name="T44" fmla="*/ 310 w 357"/>
                <a:gd name="T45" fmla="*/ 175 h 311"/>
                <a:gd name="T46" fmla="*/ 306 w 357"/>
                <a:gd name="T47" fmla="*/ 177 h 311"/>
                <a:gd name="T48" fmla="*/ 304 w 357"/>
                <a:gd name="T49" fmla="*/ 178 h 311"/>
                <a:gd name="T50" fmla="*/ 246 w 357"/>
                <a:gd name="T51" fmla="*/ 220 h 311"/>
                <a:gd name="T52" fmla="*/ 221 w 357"/>
                <a:gd name="T53" fmla="*/ 218 h 311"/>
                <a:gd name="T54" fmla="*/ 203 w 357"/>
                <a:gd name="T55" fmla="*/ 240 h 311"/>
                <a:gd name="T56" fmla="*/ 201 w 357"/>
                <a:gd name="T57" fmla="*/ 241 h 311"/>
                <a:gd name="T58" fmla="*/ 196 w 357"/>
                <a:gd name="T59" fmla="*/ 266 h 311"/>
                <a:gd name="T60" fmla="*/ 105 w 357"/>
                <a:gd name="T61" fmla="*/ 301 h 311"/>
                <a:gd name="T62" fmla="*/ 93 w 357"/>
                <a:gd name="T63" fmla="*/ 297 h 311"/>
                <a:gd name="T64" fmla="*/ 80 w 357"/>
                <a:gd name="T65" fmla="*/ 305 h 311"/>
                <a:gd name="T66" fmla="*/ 40 w 357"/>
                <a:gd name="T67" fmla="*/ 302 h 311"/>
                <a:gd name="T68" fmla="*/ 26 w 357"/>
                <a:gd name="T69" fmla="*/ 297 h 311"/>
                <a:gd name="T70" fmla="*/ 14 w 357"/>
                <a:gd name="T71" fmla="*/ 258 h 311"/>
                <a:gd name="T72" fmla="*/ 26 w 357"/>
                <a:gd name="T73" fmla="*/ 238 h 311"/>
                <a:gd name="T74" fmla="*/ 4 w 357"/>
                <a:gd name="T75" fmla="*/ 198 h 311"/>
                <a:gd name="T76" fmla="*/ 39 w 357"/>
                <a:gd name="T77" fmla="*/ 148 h 311"/>
                <a:gd name="T78" fmla="*/ 41 w 357"/>
                <a:gd name="T79" fmla="*/ 147 h 311"/>
                <a:gd name="T80" fmla="*/ 103 w 357"/>
                <a:gd name="T81" fmla="*/ 95 h 311"/>
                <a:gd name="T82" fmla="*/ 130 w 357"/>
                <a:gd name="T83" fmla="*/ 101 h 311"/>
                <a:gd name="T84" fmla="*/ 132 w 357"/>
                <a:gd name="T85" fmla="*/ 72 h 311"/>
                <a:gd name="T86" fmla="*/ 181 w 357"/>
                <a:gd name="T87" fmla="*/ 37 h 311"/>
                <a:gd name="T88" fmla="*/ 184 w 357"/>
                <a:gd name="T89" fmla="*/ 37 h 311"/>
                <a:gd name="T90" fmla="*/ 259 w 357"/>
                <a:gd name="T91" fmla="*/ 7 h 311"/>
                <a:gd name="T92" fmla="*/ 299 w 357"/>
                <a:gd name="T93" fmla="*/ 42 h 311"/>
                <a:gd name="T94" fmla="*/ 300 w 357"/>
                <a:gd name="T95" fmla="*/ 44 h 311"/>
                <a:gd name="T96" fmla="*/ 351 w 357"/>
                <a:gd name="T97" fmla="*/ 8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7" h="311">
                  <a:moveTo>
                    <a:pt x="351" y="82"/>
                  </a:moveTo>
                  <a:cubicBezTo>
                    <a:pt x="353" y="82"/>
                    <a:pt x="353" y="82"/>
                    <a:pt x="353" y="82"/>
                  </a:cubicBezTo>
                  <a:cubicBezTo>
                    <a:pt x="346" y="62"/>
                    <a:pt x="327" y="45"/>
                    <a:pt x="302" y="41"/>
                  </a:cubicBezTo>
                  <a:cubicBezTo>
                    <a:pt x="301" y="43"/>
                    <a:pt x="301" y="43"/>
                    <a:pt x="301" y="43"/>
                  </a:cubicBezTo>
                  <a:cubicBezTo>
                    <a:pt x="303" y="42"/>
                    <a:pt x="303" y="42"/>
                    <a:pt x="303" y="42"/>
                  </a:cubicBezTo>
                  <a:cubicBezTo>
                    <a:pt x="303" y="41"/>
                    <a:pt x="300" y="34"/>
                    <a:pt x="292" y="26"/>
                  </a:cubicBezTo>
                  <a:cubicBezTo>
                    <a:pt x="285" y="18"/>
                    <a:pt x="274" y="8"/>
                    <a:pt x="260" y="4"/>
                  </a:cubicBezTo>
                  <a:cubicBezTo>
                    <a:pt x="253" y="1"/>
                    <a:pt x="245" y="0"/>
                    <a:pt x="238" y="0"/>
                  </a:cubicBezTo>
                  <a:cubicBezTo>
                    <a:pt x="216" y="0"/>
                    <a:pt x="194" y="11"/>
                    <a:pt x="181" y="34"/>
                  </a:cubicBezTo>
                  <a:cubicBezTo>
                    <a:pt x="183" y="35"/>
                    <a:pt x="183" y="35"/>
                    <a:pt x="183" y="35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2" y="33"/>
                    <a:pt x="172" y="33"/>
                    <a:pt x="161" y="38"/>
                  </a:cubicBezTo>
                  <a:cubicBezTo>
                    <a:pt x="149" y="43"/>
                    <a:pt x="135" y="53"/>
                    <a:pt x="128" y="71"/>
                  </a:cubicBezTo>
                  <a:cubicBezTo>
                    <a:pt x="126" y="77"/>
                    <a:pt x="125" y="84"/>
                    <a:pt x="125" y="90"/>
                  </a:cubicBezTo>
                  <a:cubicBezTo>
                    <a:pt x="125" y="93"/>
                    <a:pt x="125" y="95"/>
                    <a:pt x="125" y="98"/>
                  </a:cubicBezTo>
                  <a:cubicBezTo>
                    <a:pt x="127" y="98"/>
                    <a:pt x="127" y="98"/>
                    <a:pt x="127" y="98"/>
                  </a:cubicBezTo>
                  <a:cubicBezTo>
                    <a:pt x="128" y="96"/>
                    <a:pt x="128" y="96"/>
                    <a:pt x="128" y="96"/>
                  </a:cubicBezTo>
                  <a:cubicBezTo>
                    <a:pt x="121" y="93"/>
                    <a:pt x="112" y="91"/>
                    <a:pt x="103" y="91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87" y="91"/>
                    <a:pt x="73" y="96"/>
                    <a:pt x="61" y="105"/>
                  </a:cubicBezTo>
                  <a:cubicBezTo>
                    <a:pt x="49" y="114"/>
                    <a:pt x="41" y="128"/>
                    <a:pt x="37" y="145"/>
                  </a:cubicBezTo>
                  <a:cubicBezTo>
                    <a:pt x="39" y="145"/>
                    <a:pt x="39" y="145"/>
                    <a:pt x="39" y="145"/>
                  </a:cubicBezTo>
                  <a:cubicBezTo>
                    <a:pt x="38" y="144"/>
                    <a:pt x="38" y="144"/>
                    <a:pt x="38" y="144"/>
                  </a:cubicBezTo>
                  <a:cubicBezTo>
                    <a:pt x="38" y="144"/>
                    <a:pt x="29" y="150"/>
                    <a:pt x="19" y="160"/>
                  </a:cubicBezTo>
                  <a:cubicBezTo>
                    <a:pt x="10" y="169"/>
                    <a:pt x="0" y="183"/>
                    <a:pt x="0" y="198"/>
                  </a:cubicBezTo>
                  <a:cubicBezTo>
                    <a:pt x="0" y="199"/>
                    <a:pt x="0" y="199"/>
                    <a:pt x="0" y="200"/>
                  </a:cubicBezTo>
                  <a:cubicBezTo>
                    <a:pt x="0" y="212"/>
                    <a:pt x="4" y="221"/>
                    <a:pt x="9" y="228"/>
                  </a:cubicBezTo>
                  <a:cubicBezTo>
                    <a:pt x="13" y="235"/>
                    <a:pt x="19" y="239"/>
                    <a:pt x="24" y="242"/>
                  </a:cubicBezTo>
                  <a:cubicBezTo>
                    <a:pt x="25" y="240"/>
                    <a:pt x="25" y="240"/>
                    <a:pt x="25" y="240"/>
                  </a:cubicBezTo>
                  <a:cubicBezTo>
                    <a:pt x="24" y="239"/>
                    <a:pt x="24" y="239"/>
                    <a:pt x="24" y="239"/>
                  </a:cubicBezTo>
                  <a:cubicBezTo>
                    <a:pt x="18" y="245"/>
                    <a:pt x="13" y="251"/>
                    <a:pt x="11" y="256"/>
                  </a:cubicBezTo>
                  <a:cubicBezTo>
                    <a:pt x="9" y="260"/>
                    <a:pt x="8" y="264"/>
                    <a:pt x="8" y="269"/>
                  </a:cubicBezTo>
                  <a:cubicBezTo>
                    <a:pt x="8" y="277"/>
                    <a:pt x="11" y="285"/>
                    <a:pt x="15" y="291"/>
                  </a:cubicBezTo>
                  <a:cubicBezTo>
                    <a:pt x="17" y="294"/>
                    <a:pt x="19" y="296"/>
                    <a:pt x="21" y="298"/>
                  </a:cubicBezTo>
                  <a:cubicBezTo>
                    <a:pt x="22" y="299"/>
                    <a:pt x="23" y="300"/>
                    <a:pt x="24" y="300"/>
                  </a:cubicBezTo>
                  <a:cubicBezTo>
                    <a:pt x="25" y="301"/>
                    <a:pt x="26" y="301"/>
                    <a:pt x="28" y="301"/>
                  </a:cubicBezTo>
                  <a:cubicBezTo>
                    <a:pt x="29" y="301"/>
                    <a:pt x="30" y="302"/>
                    <a:pt x="32" y="302"/>
                  </a:cubicBezTo>
                  <a:cubicBezTo>
                    <a:pt x="35" y="303"/>
                    <a:pt x="38" y="305"/>
                    <a:pt x="42" y="307"/>
                  </a:cubicBezTo>
                  <a:cubicBezTo>
                    <a:pt x="45" y="308"/>
                    <a:pt x="48" y="310"/>
                    <a:pt x="51" y="310"/>
                  </a:cubicBezTo>
                  <a:cubicBezTo>
                    <a:pt x="53" y="311"/>
                    <a:pt x="57" y="311"/>
                    <a:pt x="63" y="311"/>
                  </a:cubicBezTo>
                  <a:cubicBezTo>
                    <a:pt x="69" y="311"/>
                    <a:pt x="75" y="311"/>
                    <a:pt x="81" y="309"/>
                  </a:cubicBezTo>
                  <a:cubicBezTo>
                    <a:pt x="86" y="308"/>
                    <a:pt x="91" y="305"/>
                    <a:pt x="94" y="300"/>
                  </a:cubicBezTo>
                  <a:cubicBezTo>
                    <a:pt x="93" y="299"/>
                    <a:pt x="93" y="299"/>
                    <a:pt x="93" y="299"/>
                  </a:cubicBezTo>
                  <a:cubicBezTo>
                    <a:pt x="92" y="301"/>
                    <a:pt x="92" y="301"/>
                    <a:pt x="92" y="301"/>
                  </a:cubicBezTo>
                  <a:cubicBezTo>
                    <a:pt x="92" y="301"/>
                    <a:pt x="110" y="308"/>
                    <a:pt x="133" y="308"/>
                  </a:cubicBezTo>
                  <a:cubicBezTo>
                    <a:pt x="144" y="308"/>
                    <a:pt x="157" y="307"/>
                    <a:pt x="168" y="301"/>
                  </a:cubicBezTo>
                  <a:cubicBezTo>
                    <a:pt x="186" y="293"/>
                    <a:pt x="195" y="278"/>
                    <a:pt x="200" y="265"/>
                  </a:cubicBezTo>
                  <a:cubicBezTo>
                    <a:pt x="205" y="252"/>
                    <a:pt x="205" y="242"/>
                    <a:pt x="205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4" y="243"/>
                    <a:pt x="204" y="243"/>
                    <a:pt x="204" y="243"/>
                  </a:cubicBezTo>
                  <a:cubicBezTo>
                    <a:pt x="205" y="243"/>
                    <a:pt x="217" y="235"/>
                    <a:pt x="225" y="220"/>
                  </a:cubicBezTo>
                  <a:cubicBezTo>
                    <a:pt x="223" y="219"/>
                    <a:pt x="223" y="219"/>
                    <a:pt x="223" y="219"/>
                  </a:cubicBezTo>
                  <a:cubicBezTo>
                    <a:pt x="222" y="220"/>
                    <a:pt x="222" y="220"/>
                    <a:pt x="222" y="220"/>
                  </a:cubicBezTo>
                  <a:cubicBezTo>
                    <a:pt x="230" y="223"/>
                    <a:pt x="238" y="224"/>
                    <a:pt x="246" y="224"/>
                  </a:cubicBezTo>
                  <a:cubicBezTo>
                    <a:pt x="249" y="224"/>
                    <a:pt x="252" y="224"/>
                    <a:pt x="254" y="224"/>
                  </a:cubicBezTo>
                  <a:cubicBezTo>
                    <a:pt x="274" y="221"/>
                    <a:pt x="288" y="210"/>
                    <a:pt x="296" y="200"/>
                  </a:cubicBezTo>
                  <a:cubicBezTo>
                    <a:pt x="305" y="189"/>
                    <a:pt x="308" y="180"/>
                    <a:pt x="308" y="179"/>
                  </a:cubicBezTo>
                  <a:cubicBezTo>
                    <a:pt x="307" y="179"/>
                    <a:pt x="307" y="179"/>
                    <a:pt x="307" y="179"/>
                  </a:cubicBezTo>
                  <a:cubicBezTo>
                    <a:pt x="307" y="181"/>
                    <a:pt x="307" y="181"/>
                    <a:pt x="307" y="181"/>
                  </a:cubicBezTo>
                  <a:cubicBezTo>
                    <a:pt x="307" y="181"/>
                    <a:pt x="314" y="179"/>
                    <a:pt x="322" y="174"/>
                  </a:cubicBezTo>
                  <a:cubicBezTo>
                    <a:pt x="330" y="169"/>
                    <a:pt x="340" y="161"/>
                    <a:pt x="347" y="148"/>
                  </a:cubicBezTo>
                  <a:cubicBezTo>
                    <a:pt x="354" y="134"/>
                    <a:pt x="357" y="121"/>
                    <a:pt x="357" y="108"/>
                  </a:cubicBezTo>
                  <a:cubicBezTo>
                    <a:pt x="357" y="98"/>
                    <a:pt x="355" y="90"/>
                    <a:pt x="353" y="82"/>
                  </a:cubicBezTo>
                  <a:cubicBezTo>
                    <a:pt x="351" y="82"/>
                    <a:pt x="351" y="82"/>
                    <a:pt x="351" y="82"/>
                  </a:cubicBezTo>
                  <a:cubicBezTo>
                    <a:pt x="349" y="83"/>
                    <a:pt x="349" y="83"/>
                    <a:pt x="349" y="83"/>
                  </a:cubicBezTo>
                  <a:cubicBezTo>
                    <a:pt x="351" y="91"/>
                    <a:pt x="353" y="99"/>
                    <a:pt x="353" y="108"/>
                  </a:cubicBezTo>
                  <a:cubicBezTo>
                    <a:pt x="353" y="120"/>
                    <a:pt x="350" y="133"/>
                    <a:pt x="343" y="147"/>
                  </a:cubicBezTo>
                  <a:cubicBezTo>
                    <a:pt x="337" y="158"/>
                    <a:pt x="328" y="165"/>
                    <a:pt x="320" y="170"/>
                  </a:cubicBezTo>
                  <a:cubicBezTo>
                    <a:pt x="316" y="173"/>
                    <a:pt x="313" y="174"/>
                    <a:pt x="310" y="175"/>
                  </a:cubicBezTo>
                  <a:cubicBezTo>
                    <a:pt x="309" y="176"/>
                    <a:pt x="308" y="176"/>
                    <a:pt x="307" y="177"/>
                  </a:cubicBezTo>
                  <a:cubicBezTo>
                    <a:pt x="306" y="177"/>
                    <a:pt x="306" y="177"/>
                    <a:pt x="306" y="177"/>
                  </a:cubicBezTo>
                  <a:cubicBezTo>
                    <a:pt x="306" y="177"/>
                    <a:pt x="306" y="177"/>
                    <a:pt x="306" y="177"/>
                  </a:cubicBezTo>
                  <a:cubicBezTo>
                    <a:pt x="305" y="177"/>
                    <a:pt x="305" y="177"/>
                    <a:pt x="305" y="177"/>
                  </a:cubicBezTo>
                  <a:cubicBezTo>
                    <a:pt x="305" y="178"/>
                    <a:pt x="305" y="178"/>
                    <a:pt x="305" y="178"/>
                  </a:cubicBezTo>
                  <a:cubicBezTo>
                    <a:pt x="304" y="178"/>
                    <a:pt x="304" y="178"/>
                    <a:pt x="304" y="178"/>
                  </a:cubicBezTo>
                  <a:cubicBezTo>
                    <a:pt x="304" y="180"/>
                    <a:pt x="300" y="190"/>
                    <a:pt x="291" y="199"/>
                  </a:cubicBezTo>
                  <a:cubicBezTo>
                    <a:pt x="283" y="209"/>
                    <a:pt x="271" y="218"/>
                    <a:pt x="254" y="220"/>
                  </a:cubicBezTo>
                  <a:cubicBezTo>
                    <a:pt x="251" y="220"/>
                    <a:pt x="249" y="220"/>
                    <a:pt x="246" y="220"/>
                  </a:cubicBezTo>
                  <a:cubicBezTo>
                    <a:pt x="238" y="220"/>
                    <a:pt x="231" y="219"/>
                    <a:pt x="224" y="217"/>
                  </a:cubicBezTo>
                  <a:cubicBezTo>
                    <a:pt x="222" y="216"/>
                    <a:pt x="222" y="216"/>
                    <a:pt x="222" y="216"/>
                  </a:cubicBezTo>
                  <a:cubicBezTo>
                    <a:pt x="221" y="218"/>
                    <a:pt x="221" y="218"/>
                    <a:pt x="221" y="218"/>
                  </a:cubicBezTo>
                  <a:cubicBezTo>
                    <a:pt x="217" y="225"/>
                    <a:pt x="213" y="230"/>
                    <a:pt x="209" y="234"/>
                  </a:cubicBezTo>
                  <a:cubicBezTo>
                    <a:pt x="207" y="236"/>
                    <a:pt x="205" y="238"/>
                    <a:pt x="204" y="239"/>
                  </a:cubicBezTo>
                  <a:cubicBezTo>
                    <a:pt x="203" y="239"/>
                    <a:pt x="203" y="239"/>
                    <a:pt x="203" y="240"/>
                  </a:cubicBezTo>
                  <a:cubicBezTo>
                    <a:pt x="202" y="240"/>
                    <a:pt x="202" y="240"/>
                    <a:pt x="202" y="240"/>
                  </a:cubicBezTo>
                  <a:cubicBezTo>
                    <a:pt x="202" y="240"/>
                    <a:pt x="202" y="240"/>
                    <a:pt x="202" y="240"/>
                  </a:cubicBezTo>
                  <a:cubicBezTo>
                    <a:pt x="201" y="241"/>
                    <a:pt x="201" y="241"/>
                    <a:pt x="201" y="241"/>
                  </a:cubicBezTo>
                  <a:cubicBezTo>
                    <a:pt x="201" y="242"/>
                    <a:pt x="201" y="242"/>
                    <a:pt x="201" y="242"/>
                  </a:cubicBezTo>
                  <a:cubicBezTo>
                    <a:pt x="201" y="242"/>
                    <a:pt x="201" y="242"/>
                    <a:pt x="201" y="242"/>
                  </a:cubicBezTo>
                  <a:cubicBezTo>
                    <a:pt x="201" y="244"/>
                    <a:pt x="200" y="254"/>
                    <a:pt x="196" y="266"/>
                  </a:cubicBezTo>
                  <a:cubicBezTo>
                    <a:pt x="191" y="277"/>
                    <a:pt x="182" y="290"/>
                    <a:pt x="167" y="297"/>
                  </a:cubicBezTo>
                  <a:cubicBezTo>
                    <a:pt x="156" y="303"/>
                    <a:pt x="144" y="304"/>
                    <a:pt x="133" y="304"/>
                  </a:cubicBezTo>
                  <a:cubicBezTo>
                    <a:pt x="122" y="304"/>
                    <a:pt x="112" y="303"/>
                    <a:pt x="105" y="301"/>
                  </a:cubicBezTo>
                  <a:cubicBezTo>
                    <a:pt x="101" y="300"/>
                    <a:pt x="98" y="299"/>
                    <a:pt x="96" y="298"/>
                  </a:cubicBezTo>
                  <a:cubicBezTo>
                    <a:pt x="95" y="298"/>
                    <a:pt x="95" y="298"/>
                    <a:pt x="94" y="298"/>
                  </a:cubicBezTo>
                  <a:cubicBezTo>
                    <a:pt x="94" y="297"/>
                    <a:pt x="93" y="297"/>
                    <a:pt x="93" y="297"/>
                  </a:cubicBezTo>
                  <a:cubicBezTo>
                    <a:pt x="92" y="297"/>
                    <a:pt x="92" y="297"/>
                    <a:pt x="92" y="297"/>
                  </a:cubicBezTo>
                  <a:cubicBezTo>
                    <a:pt x="91" y="298"/>
                    <a:pt x="91" y="298"/>
                    <a:pt x="91" y="298"/>
                  </a:cubicBezTo>
                  <a:cubicBezTo>
                    <a:pt x="89" y="302"/>
                    <a:pt x="85" y="304"/>
                    <a:pt x="80" y="305"/>
                  </a:cubicBezTo>
                  <a:cubicBezTo>
                    <a:pt x="74" y="307"/>
                    <a:pt x="68" y="307"/>
                    <a:pt x="63" y="307"/>
                  </a:cubicBezTo>
                  <a:cubicBezTo>
                    <a:pt x="58" y="307"/>
                    <a:pt x="53" y="307"/>
                    <a:pt x="51" y="306"/>
                  </a:cubicBezTo>
                  <a:cubicBezTo>
                    <a:pt x="49" y="306"/>
                    <a:pt x="45" y="304"/>
                    <a:pt x="40" y="302"/>
                  </a:cubicBezTo>
                  <a:cubicBezTo>
                    <a:pt x="38" y="300"/>
                    <a:pt x="36" y="299"/>
                    <a:pt x="34" y="299"/>
                  </a:cubicBezTo>
                  <a:cubicBezTo>
                    <a:pt x="32" y="298"/>
                    <a:pt x="30" y="297"/>
                    <a:pt x="28" y="297"/>
                  </a:cubicBezTo>
                  <a:cubicBezTo>
                    <a:pt x="27" y="297"/>
                    <a:pt x="27" y="297"/>
                    <a:pt x="26" y="297"/>
                  </a:cubicBezTo>
                  <a:cubicBezTo>
                    <a:pt x="24" y="296"/>
                    <a:pt x="20" y="292"/>
                    <a:pt x="17" y="287"/>
                  </a:cubicBezTo>
                  <a:cubicBezTo>
                    <a:pt x="14" y="282"/>
                    <a:pt x="12" y="275"/>
                    <a:pt x="12" y="269"/>
                  </a:cubicBezTo>
                  <a:cubicBezTo>
                    <a:pt x="12" y="265"/>
                    <a:pt x="13" y="261"/>
                    <a:pt x="14" y="258"/>
                  </a:cubicBezTo>
                  <a:cubicBezTo>
                    <a:pt x="16" y="253"/>
                    <a:pt x="21" y="248"/>
                    <a:pt x="27" y="241"/>
                  </a:cubicBezTo>
                  <a:cubicBezTo>
                    <a:pt x="28" y="240"/>
                    <a:pt x="28" y="240"/>
                    <a:pt x="28" y="240"/>
                  </a:cubicBezTo>
                  <a:cubicBezTo>
                    <a:pt x="26" y="238"/>
                    <a:pt x="26" y="238"/>
                    <a:pt x="26" y="238"/>
                  </a:cubicBezTo>
                  <a:cubicBezTo>
                    <a:pt x="22" y="236"/>
                    <a:pt x="16" y="232"/>
                    <a:pt x="12" y="225"/>
                  </a:cubicBezTo>
                  <a:cubicBezTo>
                    <a:pt x="8" y="219"/>
                    <a:pt x="4" y="211"/>
                    <a:pt x="4" y="200"/>
                  </a:cubicBezTo>
                  <a:cubicBezTo>
                    <a:pt x="4" y="199"/>
                    <a:pt x="4" y="199"/>
                    <a:pt x="4" y="198"/>
                  </a:cubicBezTo>
                  <a:cubicBezTo>
                    <a:pt x="4" y="185"/>
                    <a:pt x="13" y="172"/>
                    <a:pt x="22" y="162"/>
                  </a:cubicBezTo>
                  <a:cubicBezTo>
                    <a:pt x="27" y="158"/>
                    <a:pt x="31" y="154"/>
                    <a:pt x="35" y="151"/>
                  </a:cubicBezTo>
                  <a:cubicBezTo>
                    <a:pt x="36" y="150"/>
                    <a:pt x="38" y="149"/>
                    <a:pt x="39" y="148"/>
                  </a:cubicBezTo>
                  <a:cubicBezTo>
                    <a:pt x="39" y="148"/>
                    <a:pt x="40" y="147"/>
                    <a:pt x="40" y="147"/>
                  </a:cubicBezTo>
                  <a:cubicBezTo>
                    <a:pt x="40" y="147"/>
                    <a:pt x="40" y="147"/>
                    <a:pt x="40" y="147"/>
                  </a:cubicBezTo>
                  <a:cubicBezTo>
                    <a:pt x="41" y="147"/>
                    <a:pt x="41" y="147"/>
                    <a:pt x="41" y="147"/>
                  </a:cubicBezTo>
                  <a:cubicBezTo>
                    <a:pt x="41" y="146"/>
                    <a:pt x="41" y="146"/>
                    <a:pt x="41" y="146"/>
                  </a:cubicBezTo>
                  <a:cubicBezTo>
                    <a:pt x="44" y="129"/>
                    <a:pt x="53" y="117"/>
                    <a:pt x="64" y="108"/>
                  </a:cubicBezTo>
                  <a:cubicBezTo>
                    <a:pt x="74" y="100"/>
                    <a:pt x="88" y="95"/>
                    <a:pt x="103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12" y="95"/>
                    <a:pt x="120" y="97"/>
                    <a:pt x="127" y="100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5"/>
                    <a:pt x="129" y="92"/>
                    <a:pt x="129" y="90"/>
                  </a:cubicBezTo>
                  <a:cubicBezTo>
                    <a:pt x="129" y="84"/>
                    <a:pt x="130" y="78"/>
                    <a:pt x="132" y="72"/>
                  </a:cubicBezTo>
                  <a:cubicBezTo>
                    <a:pt x="139" y="55"/>
                    <a:pt x="151" y="47"/>
                    <a:pt x="162" y="42"/>
                  </a:cubicBezTo>
                  <a:cubicBezTo>
                    <a:pt x="168" y="40"/>
                    <a:pt x="173" y="38"/>
                    <a:pt x="177" y="37"/>
                  </a:cubicBezTo>
                  <a:cubicBezTo>
                    <a:pt x="179" y="37"/>
                    <a:pt x="180" y="37"/>
                    <a:pt x="181" y="37"/>
                  </a:cubicBezTo>
                  <a:cubicBezTo>
                    <a:pt x="182" y="37"/>
                    <a:pt x="182" y="37"/>
                    <a:pt x="182" y="37"/>
                  </a:cubicBezTo>
                  <a:cubicBezTo>
                    <a:pt x="183" y="37"/>
                    <a:pt x="183" y="37"/>
                    <a:pt x="183" y="37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184" y="36"/>
                    <a:pt x="184" y="36"/>
                    <a:pt x="184" y="36"/>
                  </a:cubicBezTo>
                  <a:cubicBezTo>
                    <a:pt x="197" y="14"/>
                    <a:pt x="217" y="4"/>
                    <a:pt x="238" y="4"/>
                  </a:cubicBezTo>
                  <a:cubicBezTo>
                    <a:pt x="245" y="4"/>
                    <a:pt x="252" y="5"/>
                    <a:pt x="259" y="7"/>
                  </a:cubicBezTo>
                  <a:cubicBezTo>
                    <a:pt x="272" y="12"/>
                    <a:pt x="282" y="21"/>
                    <a:pt x="289" y="29"/>
                  </a:cubicBezTo>
                  <a:cubicBezTo>
                    <a:pt x="293" y="33"/>
                    <a:pt x="295" y="36"/>
                    <a:pt x="297" y="39"/>
                  </a:cubicBezTo>
                  <a:cubicBezTo>
                    <a:pt x="298" y="40"/>
                    <a:pt x="299" y="42"/>
                    <a:pt x="299" y="42"/>
                  </a:cubicBezTo>
                  <a:cubicBezTo>
                    <a:pt x="299" y="43"/>
                    <a:pt x="299" y="43"/>
                    <a:pt x="300" y="43"/>
                  </a:cubicBezTo>
                  <a:cubicBezTo>
                    <a:pt x="300" y="43"/>
                    <a:pt x="300" y="43"/>
                    <a:pt x="300" y="43"/>
                  </a:cubicBezTo>
                  <a:cubicBezTo>
                    <a:pt x="300" y="44"/>
                    <a:pt x="300" y="44"/>
                    <a:pt x="300" y="44"/>
                  </a:cubicBezTo>
                  <a:cubicBezTo>
                    <a:pt x="301" y="44"/>
                    <a:pt x="301" y="44"/>
                    <a:pt x="301" y="44"/>
                  </a:cubicBezTo>
                  <a:cubicBezTo>
                    <a:pt x="325" y="48"/>
                    <a:pt x="343" y="65"/>
                    <a:pt x="349" y="83"/>
                  </a:cubicBezTo>
                  <a:lnTo>
                    <a:pt x="351" y="8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1721811" y="1830801"/>
              <a:ext cx="974168" cy="764412"/>
            </a:xfrm>
            <a:custGeom>
              <a:avLst/>
              <a:gdLst>
                <a:gd name="T0" fmla="*/ 72 w 292"/>
                <a:gd name="T1" fmla="*/ 211 h 229"/>
                <a:gd name="T2" fmla="*/ 130 w 292"/>
                <a:gd name="T3" fmla="*/ 166 h 229"/>
                <a:gd name="T4" fmla="*/ 149 w 292"/>
                <a:gd name="T5" fmla="*/ 173 h 229"/>
                <a:gd name="T6" fmla="*/ 182 w 292"/>
                <a:gd name="T7" fmla="*/ 164 h 229"/>
                <a:gd name="T8" fmla="*/ 267 w 292"/>
                <a:gd name="T9" fmla="*/ 137 h 229"/>
                <a:gd name="T10" fmla="*/ 280 w 292"/>
                <a:gd name="T11" fmla="*/ 111 h 229"/>
                <a:gd name="T12" fmla="*/ 239 w 292"/>
                <a:gd name="T13" fmla="*/ 16 h 229"/>
                <a:gd name="T14" fmla="*/ 191 w 292"/>
                <a:gd name="T15" fmla="*/ 0 h 229"/>
                <a:gd name="T16" fmla="*/ 141 w 292"/>
                <a:gd name="T17" fmla="*/ 43 h 229"/>
                <a:gd name="T18" fmla="*/ 109 w 292"/>
                <a:gd name="T19" fmla="*/ 86 h 229"/>
                <a:gd name="T20" fmla="*/ 134 w 292"/>
                <a:gd name="T21" fmla="*/ 121 h 229"/>
                <a:gd name="T22" fmla="*/ 182 w 292"/>
                <a:gd name="T23" fmla="*/ 143 h 229"/>
                <a:gd name="T24" fmla="*/ 210 w 292"/>
                <a:gd name="T25" fmla="*/ 127 h 229"/>
                <a:gd name="T26" fmla="*/ 201 w 292"/>
                <a:gd name="T27" fmla="*/ 39 h 229"/>
                <a:gd name="T28" fmla="*/ 188 w 292"/>
                <a:gd name="T29" fmla="*/ 103 h 229"/>
                <a:gd name="T30" fmla="*/ 206 w 292"/>
                <a:gd name="T31" fmla="*/ 67 h 229"/>
                <a:gd name="T32" fmla="*/ 170 w 292"/>
                <a:gd name="T33" fmla="*/ 81 h 229"/>
                <a:gd name="T34" fmla="*/ 147 w 292"/>
                <a:gd name="T35" fmla="*/ 99 h 229"/>
                <a:gd name="T36" fmla="*/ 102 w 292"/>
                <a:gd name="T37" fmla="*/ 161 h 229"/>
                <a:gd name="T38" fmla="*/ 13 w 292"/>
                <a:gd name="T39" fmla="*/ 201 h 229"/>
                <a:gd name="T40" fmla="*/ 5 w 292"/>
                <a:gd name="T41" fmla="*/ 219 h 229"/>
                <a:gd name="T42" fmla="*/ 6 w 292"/>
                <a:gd name="T43" fmla="*/ 219 h 229"/>
                <a:gd name="T44" fmla="*/ 23 w 292"/>
                <a:gd name="T45" fmla="*/ 209 h 229"/>
                <a:gd name="T46" fmla="*/ 6 w 292"/>
                <a:gd name="T47" fmla="*/ 219 h 229"/>
                <a:gd name="T48" fmla="*/ 88 w 292"/>
                <a:gd name="T49" fmla="*/ 184 h 229"/>
                <a:gd name="T50" fmla="*/ 132 w 292"/>
                <a:gd name="T51" fmla="*/ 118 h 229"/>
                <a:gd name="T52" fmla="*/ 174 w 292"/>
                <a:gd name="T53" fmla="*/ 83 h 229"/>
                <a:gd name="T54" fmla="*/ 190 w 292"/>
                <a:gd name="T55" fmla="*/ 62 h 229"/>
                <a:gd name="T56" fmla="*/ 206 w 292"/>
                <a:gd name="T57" fmla="*/ 89 h 229"/>
                <a:gd name="T58" fmla="*/ 167 w 292"/>
                <a:gd name="T59" fmla="*/ 77 h 229"/>
                <a:gd name="T60" fmla="*/ 233 w 292"/>
                <a:gd name="T61" fmla="*/ 82 h 229"/>
                <a:gd name="T62" fmla="*/ 195 w 292"/>
                <a:gd name="T63" fmla="*/ 128 h 229"/>
                <a:gd name="T64" fmla="*/ 192 w 292"/>
                <a:gd name="T65" fmla="*/ 129 h 229"/>
                <a:gd name="T66" fmla="*/ 143 w 292"/>
                <a:gd name="T67" fmla="*/ 129 h 229"/>
                <a:gd name="T68" fmla="*/ 137 w 292"/>
                <a:gd name="T69" fmla="*/ 119 h 229"/>
                <a:gd name="T70" fmla="*/ 124 w 292"/>
                <a:gd name="T71" fmla="*/ 111 h 229"/>
                <a:gd name="T72" fmla="*/ 137 w 292"/>
                <a:gd name="T73" fmla="*/ 47 h 229"/>
                <a:gd name="T74" fmla="*/ 142 w 292"/>
                <a:gd name="T75" fmla="*/ 45 h 229"/>
                <a:gd name="T76" fmla="*/ 191 w 292"/>
                <a:gd name="T77" fmla="*/ 4 h 229"/>
                <a:gd name="T78" fmla="*/ 229 w 292"/>
                <a:gd name="T79" fmla="*/ 20 h 229"/>
                <a:gd name="T80" fmla="*/ 239 w 292"/>
                <a:gd name="T81" fmla="*/ 20 h 229"/>
                <a:gd name="T82" fmla="*/ 277 w 292"/>
                <a:gd name="T83" fmla="*/ 109 h 229"/>
                <a:gd name="T84" fmla="*/ 268 w 292"/>
                <a:gd name="T85" fmla="*/ 117 h 229"/>
                <a:gd name="T86" fmla="*/ 263 w 292"/>
                <a:gd name="T87" fmla="*/ 138 h 229"/>
                <a:gd name="T88" fmla="*/ 185 w 292"/>
                <a:gd name="T89" fmla="*/ 163 h 229"/>
                <a:gd name="T90" fmla="*/ 181 w 292"/>
                <a:gd name="T91" fmla="*/ 163 h 229"/>
                <a:gd name="T92" fmla="*/ 141 w 292"/>
                <a:gd name="T93" fmla="*/ 165 h 229"/>
                <a:gd name="T94" fmla="*/ 117 w 292"/>
                <a:gd name="T95" fmla="*/ 171 h 229"/>
                <a:gd name="T96" fmla="*/ 32 w 292"/>
                <a:gd name="T97" fmla="*/ 209 h 229"/>
                <a:gd name="T98" fmla="*/ 23 w 292"/>
                <a:gd name="T99" fmla="*/ 2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229">
                  <a:moveTo>
                    <a:pt x="23" y="209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3" y="211"/>
                    <a:pt x="36" y="214"/>
                    <a:pt x="51" y="214"/>
                  </a:cubicBezTo>
                  <a:cubicBezTo>
                    <a:pt x="58" y="214"/>
                    <a:pt x="66" y="213"/>
                    <a:pt x="72" y="211"/>
                  </a:cubicBezTo>
                  <a:cubicBezTo>
                    <a:pt x="92" y="206"/>
                    <a:pt x="105" y="191"/>
                    <a:pt x="110" y="185"/>
                  </a:cubicBezTo>
                  <a:cubicBezTo>
                    <a:pt x="112" y="181"/>
                    <a:pt x="117" y="177"/>
                    <a:pt x="121" y="173"/>
                  </a:cubicBezTo>
                  <a:cubicBezTo>
                    <a:pt x="123" y="171"/>
                    <a:pt x="126" y="169"/>
                    <a:pt x="127" y="168"/>
                  </a:cubicBezTo>
                  <a:cubicBezTo>
                    <a:pt x="128" y="167"/>
                    <a:pt x="129" y="166"/>
                    <a:pt x="130" y="166"/>
                  </a:cubicBezTo>
                  <a:cubicBezTo>
                    <a:pt x="131" y="166"/>
                    <a:pt x="131" y="166"/>
                    <a:pt x="131" y="166"/>
                  </a:cubicBezTo>
                  <a:cubicBezTo>
                    <a:pt x="132" y="166"/>
                    <a:pt x="133" y="166"/>
                    <a:pt x="135" y="167"/>
                  </a:cubicBezTo>
                  <a:cubicBezTo>
                    <a:pt x="137" y="167"/>
                    <a:pt x="140" y="169"/>
                    <a:pt x="142" y="170"/>
                  </a:cubicBezTo>
                  <a:cubicBezTo>
                    <a:pt x="145" y="171"/>
                    <a:pt x="147" y="172"/>
                    <a:pt x="149" y="173"/>
                  </a:cubicBezTo>
                  <a:cubicBezTo>
                    <a:pt x="151" y="173"/>
                    <a:pt x="155" y="174"/>
                    <a:pt x="159" y="174"/>
                  </a:cubicBezTo>
                  <a:cubicBezTo>
                    <a:pt x="163" y="174"/>
                    <a:pt x="168" y="173"/>
                    <a:pt x="173" y="172"/>
                  </a:cubicBezTo>
                  <a:cubicBezTo>
                    <a:pt x="177" y="171"/>
                    <a:pt x="182" y="169"/>
                    <a:pt x="184" y="165"/>
                  </a:cubicBezTo>
                  <a:cubicBezTo>
                    <a:pt x="182" y="164"/>
                    <a:pt x="182" y="164"/>
                    <a:pt x="182" y="164"/>
                  </a:cubicBezTo>
                  <a:cubicBezTo>
                    <a:pt x="181" y="166"/>
                    <a:pt x="181" y="166"/>
                    <a:pt x="181" y="166"/>
                  </a:cubicBezTo>
                  <a:cubicBezTo>
                    <a:pt x="182" y="166"/>
                    <a:pt x="196" y="171"/>
                    <a:pt x="214" y="171"/>
                  </a:cubicBezTo>
                  <a:cubicBezTo>
                    <a:pt x="223" y="171"/>
                    <a:pt x="232" y="170"/>
                    <a:pt x="242" y="166"/>
                  </a:cubicBezTo>
                  <a:cubicBezTo>
                    <a:pt x="256" y="159"/>
                    <a:pt x="263" y="147"/>
                    <a:pt x="267" y="137"/>
                  </a:cubicBezTo>
                  <a:cubicBezTo>
                    <a:pt x="271" y="127"/>
                    <a:pt x="271" y="119"/>
                    <a:pt x="271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70" y="120"/>
                    <a:pt x="275" y="117"/>
                    <a:pt x="280" y="111"/>
                  </a:cubicBezTo>
                  <a:cubicBezTo>
                    <a:pt x="284" y="105"/>
                    <a:pt x="290" y="97"/>
                    <a:pt x="291" y="86"/>
                  </a:cubicBezTo>
                  <a:cubicBezTo>
                    <a:pt x="292" y="82"/>
                    <a:pt x="292" y="78"/>
                    <a:pt x="292" y="75"/>
                  </a:cubicBezTo>
                  <a:cubicBezTo>
                    <a:pt x="292" y="59"/>
                    <a:pt x="287" y="45"/>
                    <a:pt x="279" y="35"/>
                  </a:cubicBezTo>
                  <a:cubicBezTo>
                    <a:pt x="271" y="24"/>
                    <a:pt x="255" y="16"/>
                    <a:pt x="239" y="16"/>
                  </a:cubicBezTo>
                  <a:cubicBezTo>
                    <a:pt x="236" y="16"/>
                    <a:pt x="233" y="16"/>
                    <a:pt x="230" y="17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2" y="17"/>
                    <a:pt x="232" y="17"/>
                    <a:pt x="232" y="17"/>
                  </a:cubicBezTo>
                  <a:cubicBezTo>
                    <a:pt x="232" y="17"/>
                    <a:pt x="214" y="0"/>
                    <a:pt x="191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78" y="0"/>
                    <a:pt x="167" y="4"/>
                    <a:pt x="157" y="11"/>
                  </a:cubicBezTo>
                  <a:cubicBezTo>
                    <a:pt x="148" y="19"/>
                    <a:pt x="141" y="29"/>
                    <a:pt x="139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0" y="41"/>
                    <a:pt x="140" y="41"/>
                    <a:pt x="140" y="41"/>
                  </a:cubicBezTo>
                  <a:cubicBezTo>
                    <a:pt x="140" y="41"/>
                    <a:pt x="132" y="44"/>
                    <a:pt x="125" y="51"/>
                  </a:cubicBezTo>
                  <a:cubicBezTo>
                    <a:pt x="117" y="58"/>
                    <a:pt x="110" y="68"/>
                    <a:pt x="109" y="83"/>
                  </a:cubicBezTo>
                  <a:cubicBezTo>
                    <a:pt x="109" y="84"/>
                    <a:pt x="109" y="85"/>
                    <a:pt x="109" y="86"/>
                  </a:cubicBezTo>
                  <a:cubicBezTo>
                    <a:pt x="109" y="100"/>
                    <a:pt x="116" y="109"/>
                    <a:pt x="122" y="115"/>
                  </a:cubicBezTo>
                  <a:cubicBezTo>
                    <a:pt x="128" y="120"/>
                    <a:pt x="135" y="122"/>
                    <a:pt x="135" y="122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4" y="121"/>
                    <a:pt x="134" y="121"/>
                    <a:pt x="134" y="121"/>
                  </a:cubicBezTo>
                  <a:cubicBezTo>
                    <a:pt x="134" y="121"/>
                    <a:pt x="136" y="126"/>
                    <a:pt x="139" y="131"/>
                  </a:cubicBezTo>
                  <a:cubicBezTo>
                    <a:pt x="143" y="137"/>
                    <a:pt x="148" y="143"/>
                    <a:pt x="155" y="145"/>
                  </a:cubicBezTo>
                  <a:cubicBezTo>
                    <a:pt x="158" y="146"/>
                    <a:pt x="161" y="147"/>
                    <a:pt x="164" y="147"/>
                  </a:cubicBezTo>
                  <a:cubicBezTo>
                    <a:pt x="170" y="147"/>
                    <a:pt x="176" y="145"/>
                    <a:pt x="182" y="143"/>
                  </a:cubicBezTo>
                  <a:cubicBezTo>
                    <a:pt x="187" y="140"/>
                    <a:pt x="192" y="136"/>
                    <a:pt x="195" y="131"/>
                  </a:cubicBezTo>
                  <a:cubicBezTo>
                    <a:pt x="194" y="130"/>
                    <a:pt x="194" y="130"/>
                    <a:pt x="194" y="130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4" y="132"/>
                    <a:pt x="201" y="130"/>
                    <a:pt x="210" y="127"/>
                  </a:cubicBezTo>
                  <a:cubicBezTo>
                    <a:pt x="218" y="124"/>
                    <a:pt x="227" y="118"/>
                    <a:pt x="231" y="109"/>
                  </a:cubicBezTo>
                  <a:cubicBezTo>
                    <a:pt x="234" y="102"/>
                    <a:pt x="237" y="92"/>
                    <a:pt x="237" y="82"/>
                  </a:cubicBezTo>
                  <a:cubicBezTo>
                    <a:pt x="237" y="69"/>
                    <a:pt x="233" y="55"/>
                    <a:pt x="222" y="47"/>
                  </a:cubicBezTo>
                  <a:cubicBezTo>
                    <a:pt x="215" y="41"/>
                    <a:pt x="208" y="39"/>
                    <a:pt x="201" y="39"/>
                  </a:cubicBezTo>
                  <a:cubicBezTo>
                    <a:pt x="188" y="39"/>
                    <a:pt x="177" y="46"/>
                    <a:pt x="170" y="54"/>
                  </a:cubicBezTo>
                  <a:cubicBezTo>
                    <a:pt x="165" y="60"/>
                    <a:pt x="163" y="69"/>
                    <a:pt x="163" y="77"/>
                  </a:cubicBezTo>
                  <a:cubicBezTo>
                    <a:pt x="163" y="84"/>
                    <a:pt x="164" y="91"/>
                    <a:pt x="169" y="96"/>
                  </a:cubicBezTo>
                  <a:cubicBezTo>
                    <a:pt x="174" y="100"/>
                    <a:pt x="181" y="103"/>
                    <a:pt x="188" y="103"/>
                  </a:cubicBezTo>
                  <a:cubicBezTo>
                    <a:pt x="192" y="103"/>
                    <a:pt x="197" y="102"/>
                    <a:pt x="200" y="100"/>
                  </a:cubicBezTo>
                  <a:cubicBezTo>
                    <a:pt x="204" y="98"/>
                    <a:pt x="207" y="95"/>
                    <a:pt x="209" y="91"/>
                  </a:cubicBezTo>
                  <a:cubicBezTo>
                    <a:pt x="211" y="88"/>
                    <a:pt x="212" y="84"/>
                    <a:pt x="212" y="81"/>
                  </a:cubicBezTo>
                  <a:cubicBezTo>
                    <a:pt x="212" y="76"/>
                    <a:pt x="209" y="70"/>
                    <a:pt x="206" y="67"/>
                  </a:cubicBezTo>
                  <a:cubicBezTo>
                    <a:pt x="203" y="63"/>
                    <a:pt x="199" y="60"/>
                    <a:pt x="195" y="59"/>
                  </a:cubicBezTo>
                  <a:cubicBezTo>
                    <a:pt x="194" y="59"/>
                    <a:pt x="192" y="58"/>
                    <a:pt x="190" y="58"/>
                  </a:cubicBezTo>
                  <a:cubicBezTo>
                    <a:pt x="186" y="58"/>
                    <a:pt x="181" y="60"/>
                    <a:pt x="177" y="64"/>
                  </a:cubicBezTo>
                  <a:cubicBezTo>
                    <a:pt x="173" y="67"/>
                    <a:pt x="170" y="73"/>
                    <a:pt x="170" y="81"/>
                  </a:cubicBezTo>
                  <a:cubicBezTo>
                    <a:pt x="170" y="81"/>
                    <a:pt x="170" y="81"/>
                    <a:pt x="170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71" y="80"/>
                    <a:pt x="159" y="88"/>
                    <a:pt x="147" y="99"/>
                  </a:cubicBezTo>
                  <a:cubicBezTo>
                    <a:pt x="141" y="104"/>
                    <a:pt x="134" y="109"/>
                    <a:pt x="129" y="115"/>
                  </a:cubicBezTo>
                  <a:cubicBezTo>
                    <a:pt x="124" y="120"/>
                    <a:pt x="120" y="125"/>
                    <a:pt x="118" y="130"/>
                  </a:cubicBezTo>
                  <a:cubicBezTo>
                    <a:pt x="114" y="138"/>
                    <a:pt x="113" y="142"/>
                    <a:pt x="112" y="145"/>
                  </a:cubicBezTo>
                  <a:cubicBezTo>
                    <a:pt x="111" y="149"/>
                    <a:pt x="109" y="153"/>
                    <a:pt x="102" y="161"/>
                  </a:cubicBezTo>
                  <a:cubicBezTo>
                    <a:pt x="95" y="170"/>
                    <a:pt x="91" y="176"/>
                    <a:pt x="85" y="181"/>
                  </a:cubicBezTo>
                  <a:cubicBezTo>
                    <a:pt x="80" y="185"/>
                    <a:pt x="74" y="188"/>
                    <a:pt x="65" y="189"/>
                  </a:cubicBezTo>
                  <a:cubicBezTo>
                    <a:pt x="56" y="190"/>
                    <a:pt x="42" y="190"/>
                    <a:pt x="30" y="193"/>
                  </a:cubicBezTo>
                  <a:cubicBezTo>
                    <a:pt x="23" y="195"/>
                    <a:pt x="17" y="197"/>
                    <a:pt x="13" y="201"/>
                  </a:cubicBezTo>
                  <a:cubicBezTo>
                    <a:pt x="8" y="205"/>
                    <a:pt x="4" y="211"/>
                    <a:pt x="2" y="218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10" y="213"/>
                    <a:pt x="24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8" y="209"/>
                    <a:pt x="3" y="217"/>
                    <a:pt x="3" y="217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8" y="212"/>
                    <a:pt x="11" y="208"/>
                    <a:pt x="15" y="204"/>
                  </a:cubicBezTo>
                  <a:cubicBezTo>
                    <a:pt x="21" y="199"/>
                    <a:pt x="31" y="197"/>
                    <a:pt x="40" y="195"/>
                  </a:cubicBezTo>
                  <a:cubicBezTo>
                    <a:pt x="49" y="194"/>
                    <a:pt x="59" y="194"/>
                    <a:pt x="66" y="193"/>
                  </a:cubicBezTo>
                  <a:cubicBezTo>
                    <a:pt x="75" y="192"/>
                    <a:pt x="82" y="189"/>
                    <a:pt x="88" y="184"/>
                  </a:cubicBezTo>
                  <a:cubicBezTo>
                    <a:pt x="94" y="179"/>
                    <a:pt x="99" y="172"/>
                    <a:pt x="105" y="164"/>
                  </a:cubicBezTo>
                  <a:cubicBezTo>
                    <a:pt x="112" y="155"/>
                    <a:pt x="114" y="151"/>
                    <a:pt x="116" y="147"/>
                  </a:cubicBezTo>
                  <a:cubicBezTo>
                    <a:pt x="117" y="143"/>
                    <a:pt x="118" y="139"/>
                    <a:pt x="121" y="131"/>
                  </a:cubicBezTo>
                  <a:cubicBezTo>
                    <a:pt x="123" y="128"/>
                    <a:pt x="127" y="123"/>
                    <a:pt x="132" y="118"/>
                  </a:cubicBezTo>
                  <a:cubicBezTo>
                    <a:pt x="140" y="110"/>
                    <a:pt x="150" y="101"/>
                    <a:pt x="158" y="95"/>
                  </a:cubicBezTo>
                  <a:cubicBezTo>
                    <a:pt x="163" y="91"/>
                    <a:pt x="166" y="88"/>
                    <a:pt x="169" y="86"/>
                  </a:cubicBezTo>
                  <a:cubicBezTo>
                    <a:pt x="172" y="84"/>
                    <a:pt x="173" y="83"/>
                    <a:pt x="173" y="83"/>
                  </a:cubicBezTo>
                  <a:cubicBezTo>
                    <a:pt x="174" y="83"/>
                    <a:pt x="174" y="83"/>
                    <a:pt x="174" y="83"/>
                  </a:cubicBezTo>
                  <a:cubicBezTo>
                    <a:pt x="174" y="82"/>
                    <a:pt x="174" y="82"/>
                    <a:pt x="174" y="82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74"/>
                    <a:pt x="176" y="69"/>
                    <a:pt x="179" y="66"/>
                  </a:cubicBezTo>
                  <a:cubicBezTo>
                    <a:pt x="182" y="64"/>
                    <a:pt x="187" y="62"/>
                    <a:pt x="190" y="62"/>
                  </a:cubicBezTo>
                  <a:cubicBezTo>
                    <a:pt x="192" y="62"/>
                    <a:pt x="193" y="63"/>
                    <a:pt x="194" y="63"/>
                  </a:cubicBezTo>
                  <a:cubicBezTo>
                    <a:pt x="197" y="64"/>
                    <a:pt x="201" y="66"/>
                    <a:pt x="203" y="69"/>
                  </a:cubicBezTo>
                  <a:cubicBezTo>
                    <a:pt x="206" y="72"/>
                    <a:pt x="208" y="77"/>
                    <a:pt x="208" y="81"/>
                  </a:cubicBezTo>
                  <a:cubicBezTo>
                    <a:pt x="208" y="84"/>
                    <a:pt x="207" y="86"/>
                    <a:pt x="206" y="89"/>
                  </a:cubicBezTo>
                  <a:cubicBezTo>
                    <a:pt x="204" y="92"/>
                    <a:pt x="202" y="95"/>
                    <a:pt x="198" y="96"/>
                  </a:cubicBezTo>
                  <a:cubicBezTo>
                    <a:pt x="195" y="98"/>
                    <a:pt x="192" y="99"/>
                    <a:pt x="188" y="99"/>
                  </a:cubicBezTo>
                  <a:cubicBezTo>
                    <a:pt x="182" y="99"/>
                    <a:pt x="175" y="96"/>
                    <a:pt x="172" y="93"/>
                  </a:cubicBezTo>
                  <a:cubicBezTo>
                    <a:pt x="168" y="89"/>
                    <a:pt x="167" y="83"/>
                    <a:pt x="167" y="77"/>
                  </a:cubicBezTo>
                  <a:cubicBezTo>
                    <a:pt x="167" y="70"/>
                    <a:pt x="169" y="62"/>
                    <a:pt x="174" y="56"/>
                  </a:cubicBezTo>
                  <a:cubicBezTo>
                    <a:pt x="179" y="50"/>
                    <a:pt x="190" y="43"/>
                    <a:pt x="201" y="43"/>
                  </a:cubicBezTo>
                  <a:cubicBezTo>
                    <a:pt x="207" y="43"/>
                    <a:pt x="213" y="45"/>
                    <a:pt x="220" y="50"/>
                  </a:cubicBezTo>
                  <a:cubicBezTo>
                    <a:pt x="229" y="57"/>
                    <a:pt x="233" y="69"/>
                    <a:pt x="233" y="82"/>
                  </a:cubicBezTo>
                  <a:cubicBezTo>
                    <a:pt x="233" y="91"/>
                    <a:pt x="230" y="101"/>
                    <a:pt x="227" y="108"/>
                  </a:cubicBezTo>
                  <a:cubicBezTo>
                    <a:pt x="224" y="115"/>
                    <a:pt x="216" y="120"/>
                    <a:pt x="208" y="123"/>
                  </a:cubicBezTo>
                  <a:cubicBezTo>
                    <a:pt x="204" y="125"/>
                    <a:pt x="200" y="126"/>
                    <a:pt x="198" y="127"/>
                  </a:cubicBezTo>
                  <a:cubicBezTo>
                    <a:pt x="196" y="127"/>
                    <a:pt x="195" y="128"/>
                    <a:pt x="195" y="128"/>
                  </a:cubicBezTo>
                  <a:cubicBezTo>
                    <a:pt x="194" y="128"/>
                    <a:pt x="194" y="128"/>
                    <a:pt x="194" y="128"/>
                  </a:cubicBezTo>
                  <a:cubicBezTo>
                    <a:pt x="193" y="128"/>
                    <a:pt x="193" y="128"/>
                    <a:pt x="193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92" y="129"/>
                    <a:pt x="192" y="129"/>
                    <a:pt x="192" y="129"/>
                  </a:cubicBezTo>
                  <a:cubicBezTo>
                    <a:pt x="189" y="133"/>
                    <a:pt x="185" y="137"/>
                    <a:pt x="180" y="139"/>
                  </a:cubicBezTo>
                  <a:cubicBezTo>
                    <a:pt x="175" y="141"/>
                    <a:pt x="169" y="143"/>
                    <a:pt x="164" y="143"/>
                  </a:cubicBezTo>
                  <a:cubicBezTo>
                    <a:pt x="161" y="143"/>
                    <a:pt x="158" y="142"/>
                    <a:pt x="156" y="141"/>
                  </a:cubicBezTo>
                  <a:cubicBezTo>
                    <a:pt x="151" y="140"/>
                    <a:pt x="146" y="134"/>
                    <a:pt x="143" y="129"/>
                  </a:cubicBezTo>
                  <a:cubicBezTo>
                    <a:pt x="141" y="127"/>
                    <a:pt x="140" y="124"/>
                    <a:pt x="139" y="122"/>
                  </a:cubicBezTo>
                  <a:cubicBezTo>
                    <a:pt x="138" y="122"/>
                    <a:pt x="138" y="121"/>
                    <a:pt x="138" y="120"/>
                  </a:cubicBezTo>
                  <a:cubicBezTo>
                    <a:pt x="138" y="120"/>
                    <a:pt x="138" y="120"/>
                    <a:pt x="138" y="120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0" y="116"/>
                    <a:pt x="124" y="111"/>
                  </a:cubicBezTo>
                  <a:cubicBezTo>
                    <a:pt x="118" y="106"/>
                    <a:pt x="113" y="98"/>
                    <a:pt x="113" y="86"/>
                  </a:cubicBezTo>
                  <a:cubicBezTo>
                    <a:pt x="113" y="85"/>
                    <a:pt x="113" y="84"/>
                    <a:pt x="113" y="84"/>
                  </a:cubicBezTo>
                  <a:cubicBezTo>
                    <a:pt x="114" y="70"/>
                    <a:pt x="121" y="60"/>
                    <a:pt x="128" y="54"/>
                  </a:cubicBezTo>
                  <a:cubicBezTo>
                    <a:pt x="131" y="51"/>
                    <a:pt x="135" y="49"/>
                    <a:pt x="137" y="47"/>
                  </a:cubicBezTo>
                  <a:cubicBezTo>
                    <a:pt x="138" y="46"/>
                    <a:pt x="140" y="46"/>
                    <a:pt x="140" y="46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43" y="44"/>
                    <a:pt x="143" y="44"/>
                    <a:pt x="143" y="44"/>
                  </a:cubicBezTo>
                  <a:cubicBezTo>
                    <a:pt x="145" y="31"/>
                    <a:pt x="151" y="21"/>
                    <a:pt x="160" y="15"/>
                  </a:cubicBezTo>
                  <a:cubicBezTo>
                    <a:pt x="168" y="8"/>
                    <a:pt x="179" y="4"/>
                    <a:pt x="190" y="4"/>
                  </a:cubicBezTo>
                  <a:cubicBezTo>
                    <a:pt x="191" y="4"/>
                    <a:pt x="191" y="4"/>
                    <a:pt x="191" y="4"/>
                  </a:cubicBezTo>
                  <a:cubicBezTo>
                    <a:pt x="201" y="4"/>
                    <a:pt x="211" y="8"/>
                    <a:pt x="218" y="12"/>
                  </a:cubicBezTo>
                  <a:cubicBezTo>
                    <a:pt x="222" y="14"/>
                    <a:pt x="224" y="16"/>
                    <a:pt x="226" y="18"/>
                  </a:cubicBezTo>
                  <a:cubicBezTo>
                    <a:pt x="227" y="19"/>
                    <a:pt x="228" y="19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30" y="21"/>
                    <a:pt x="230" y="21"/>
                    <a:pt x="230" y="21"/>
                  </a:cubicBezTo>
                  <a:cubicBezTo>
                    <a:pt x="231" y="21"/>
                    <a:pt x="231" y="21"/>
                    <a:pt x="231" y="21"/>
                  </a:cubicBezTo>
                  <a:cubicBezTo>
                    <a:pt x="234" y="20"/>
                    <a:pt x="236" y="20"/>
                    <a:pt x="239" y="20"/>
                  </a:cubicBezTo>
                  <a:cubicBezTo>
                    <a:pt x="254" y="20"/>
                    <a:pt x="268" y="27"/>
                    <a:pt x="276" y="37"/>
                  </a:cubicBezTo>
                  <a:cubicBezTo>
                    <a:pt x="283" y="47"/>
                    <a:pt x="288" y="60"/>
                    <a:pt x="288" y="75"/>
                  </a:cubicBezTo>
                  <a:cubicBezTo>
                    <a:pt x="288" y="78"/>
                    <a:pt x="288" y="82"/>
                    <a:pt x="287" y="85"/>
                  </a:cubicBezTo>
                  <a:cubicBezTo>
                    <a:pt x="286" y="95"/>
                    <a:pt x="281" y="103"/>
                    <a:pt x="277" y="109"/>
                  </a:cubicBezTo>
                  <a:cubicBezTo>
                    <a:pt x="274" y="111"/>
                    <a:pt x="272" y="114"/>
                    <a:pt x="270" y="115"/>
                  </a:cubicBezTo>
                  <a:cubicBezTo>
                    <a:pt x="270" y="116"/>
                    <a:pt x="269" y="116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7" y="118"/>
                    <a:pt x="267" y="118"/>
                    <a:pt x="267" y="118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21"/>
                    <a:pt x="266" y="129"/>
                    <a:pt x="263" y="138"/>
                  </a:cubicBezTo>
                  <a:cubicBezTo>
                    <a:pt x="259" y="146"/>
                    <a:pt x="252" y="156"/>
                    <a:pt x="240" y="162"/>
                  </a:cubicBezTo>
                  <a:cubicBezTo>
                    <a:pt x="231" y="166"/>
                    <a:pt x="222" y="167"/>
                    <a:pt x="214" y="167"/>
                  </a:cubicBezTo>
                  <a:cubicBezTo>
                    <a:pt x="205" y="167"/>
                    <a:pt x="198" y="166"/>
                    <a:pt x="192" y="165"/>
                  </a:cubicBezTo>
                  <a:cubicBezTo>
                    <a:pt x="189" y="164"/>
                    <a:pt x="187" y="163"/>
                    <a:pt x="185" y="163"/>
                  </a:cubicBezTo>
                  <a:cubicBezTo>
                    <a:pt x="185" y="162"/>
                    <a:pt x="184" y="162"/>
                    <a:pt x="184" y="162"/>
                  </a:cubicBezTo>
                  <a:cubicBezTo>
                    <a:pt x="183" y="162"/>
                    <a:pt x="183" y="162"/>
                    <a:pt x="183" y="162"/>
                  </a:cubicBezTo>
                  <a:cubicBezTo>
                    <a:pt x="181" y="161"/>
                    <a:pt x="181" y="161"/>
                    <a:pt x="181" y="161"/>
                  </a:cubicBezTo>
                  <a:cubicBezTo>
                    <a:pt x="181" y="163"/>
                    <a:pt x="181" y="163"/>
                    <a:pt x="181" y="163"/>
                  </a:cubicBezTo>
                  <a:cubicBezTo>
                    <a:pt x="179" y="165"/>
                    <a:pt x="176" y="167"/>
                    <a:pt x="172" y="168"/>
                  </a:cubicBezTo>
                  <a:cubicBezTo>
                    <a:pt x="168" y="169"/>
                    <a:pt x="163" y="170"/>
                    <a:pt x="159" y="170"/>
                  </a:cubicBezTo>
                  <a:cubicBezTo>
                    <a:pt x="155" y="170"/>
                    <a:pt x="151" y="169"/>
                    <a:pt x="150" y="169"/>
                  </a:cubicBezTo>
                  <a:cubicBezTo>
                    <a:pt x="148" y="169"/>
                    <a:pt x="145" y="167"/>
                    <a:pt x="141" y="165"/>
                  </a:cubicBezTo>
                  <a:cubicBezTo>
                    <a:pt x="140" y="164"/>
                    <a:pt x="138" y="164"/>
                    <a:pt x="136" y="163"/>
                  </a:cubicBezTo>
                  <a:cubicBezTo>
                    <a:pt x="135" y="162"/>
                    <a:pt x="133" y="162"/>
                    <a:pt x="131" y="162"/>
                  </a:cubicBezTo>
                  <a:cubicBezTo>
                    <a:pt x="130" y="162"/>
                    <a:pt x="129" y="162"/>
                    <a:pt x="128" y="163"/>
                  </a:cubicBezTo>
                  <a:cubicBezTo>
                    <a:pt x="125" y="164"/>
                    <a:pt x="121" y="167"/>
                    <a:pt x="117" y="171"/>
                  </a:cubicBezTo>
                  <a:cubicBezTo>
                    <a:pt x="113" y="175"/>
                    <a:pt x="109" y="179"/>
                    <a:pt x="107" y="182"/>
                  </a:cubicBezTo>
                  <a:cubicBezTo>
                    <a:pt x="102" y="188"/>
                    <a:pt x="89" y="203"/>
                    <a:pt x="71" y="208"/>
                  </a:cubicBezTo>
                  <a:cubicBezTo>
                    <a:pt x="65" y="209"/>
                    <a:pt x="58" y="210"/>
                    <a:pt x="51" y="210"/>
                  </a:cubicBezTo>
                  <a:cubicBezTo>
                    <a:pt x="44" y="210"/>
                    <a:pt x="37" y="209"/>
                    <a:pt x="32" y="209"/>
                  </a:cubicBezTo>
                  <a:cubicBezTo>
                    <a:pt x="30" y="208"/>
                    <a:pt x="27" y="208"/>
                    <a:pt x="26" y="208"/>
                  </a:cubicBezTo>
                  <a:cubicBezTo>
                    <a:pt x="25" y="208"/>
                    <a:pt x="24" y="207"/>
                    <a:pt x="24" y="207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23" y="207"/>
                    <a:pt x="23" y="207"/>
                    <a:pt x="23" y="207"/>
                  </a:cubicBezTo>
                  <a:lnTo>
                    <a:pt x="23" y="2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2152584" y="1960315"/>
              <a:ext cx="360386" cy="357570"/>
            </a:xfrm>
            <a:custGeom>
              <a:avLst/>
              <a:gdLst>
                <a:gd name="T0" fmla="*/ 56 w 108"/>
                <a:gd name="T1" fmla="*/ 37 h 107"/>
                <a:gd name="T2" fmla="*/ 55 w 108"/>
                <a:gd name="T3" fmla="*/ 44 h 107"/>
                <a:gd name="T4" fmla="*/ 48 w 108"/>
                <a:gd name="T5" fmla="*/ 46 h 107"/>
                <a:gd name="T6" fmla="*/ 42 w 108"/>
                <a:gd name="T7" fmla="*/ 39 h 107"/>
                <a:gd name="T8" fmla="*/ 57 w 108"/>
                <a:gd name="T9" fmla="*/ 24 h 107"/>
                <a:gd name="T10" fmla="*/ 74 w 108"/>
                <a:gd name="T11" fmla="*/ 30 h 107"/>
                <a:gd name="T12" fmla="*/ 79 w 108"/>
                <a:gd name="T13" fmla="*/ 42 h 107"/>
                <a:gd name="T14" fmla="*/ 74 w 108"/>
                <a:gd name="T15" fmla="*/ 56 h 107"/>
                <a:gd name="T16" fmla="*/ 56 w 108"/>
                <a:gd name="T17" fmla="*/ 62 h 107"/>
                <a:gd name="T18" fmla="*/ 37 w 108"/>
                <a:gd name="T19" fmla="*/ 36 h 107"/>
                <a:gd name="T20" fmla="*/ 52 w 108"/>
                <a:gd name="T21" fmla="*/ 12 h 107"/>
                <a:gd name="T22" fmla="*/ 73 w 108"/>
                <a:gd name="T23" fmla="*/ 4 h 107"/>
                <a:gd name="T24" fmla="*/ 104 w 108"/>
                <a:gd name="T25" fmla="*/ 41 h 107"/>
                <a:gd name="T26" fmla="*/ 90 w 108"/>
                <a:gd name="T27" fmla="*/ 76 h 107"/>
                <a:gd name="T28" fmla="*/ 63 w 108"/>
                <a:gd name="T29" fmla="*/ 89 h 107"/>
                <a:gd name="T30" fmla="*/ 63 w 108"/>
                <a:gd name="T31" fmla="*/ 90 h 107"/>
                <a:gd name="T32" fmla="*/ 40 w 108"/>
                <a:gd name="T33" fmla="*/ 103 h 107"/>
                <a:gd name="T34" fmla="*/ 18 w 108"/>
                <a:gd name="T35" fmla="*/ 94 h 107"/>
                <a:gd name="T36" fmla="*/ 8 w 108"/>
                <a:gd name="T37" fmla="*/ 80 h 107"/>
                <a:gd name="T38" fmla="*/ 0 w 108"/>
                <a:gd name="T39" fmla="*/ 80 h 107"/>
                <a:gd name="T40" fmla="*/ 7 w 108"/>
                <a:gd name="T41" fmla="*/ 81 h 107"/>
                <a:gd name="T42" fmla="*/ 15 w 108"/>
                <a:gd name="T43" fmla="*/ 97 h 107"/>
                <a:gd name="T44" fmla="*/ 40 w 108"/>
                <a:gd name="T45" fmla="*/ 107 h 107"/>
                <a:gd name="T46" fmla="*/ 67 w 108"/>
                <a:gd name="T47" fmla="*/ 92 h 107"/>
                <a:gd name="T48" fmla="*/ 65 w 108"/>
                <a:gd name="T49" fmla="*/ 93 h 107"/>
                <a:gd name="T50" fmla="*/ 108 w 108"/>
                <a:gd name="T51" fmla="*/ 45 h 107"/>
                <a:gd name="T52" fmla="*/ 96 w 108"/>
                <a:gd name="T53" fmla="*/ 10 h 107"/>
                <a:gd name="T54" fmla="*/ 72 w 108"/>
                <a:gd name="T55" fmla="*/ 0 h 107"/>
                <a:gd name="T56" fmla="*/ 35 w 108"/>
                <a:gd name="T57" fmla="*/ 26 h 107"/>
                <a:gd name="T58" fmla="*/ 39 w 108"/>
                <a:gd name="T59" fmla="*/ 55 h 107"/>
                <a:gd name="T60" fmla="*/ 59 w 108"/>
                <a:gd name="T61" fmla="*/ 66 h 107"/>
                <a:gd name="T62" fmla="*/ 83 w 108"/>
                <a:gd name="T63" fmla="*/ 42 h 107"/>
                <a:gd name="T64" fmla="*/ 83 w 108"/>
                <a:gd name="T65" fmla="*/ 42 h 107"/>
                <a:gd name="T66" fmla="*/ 59 w 108"/>
                <a:gd name="T67" fmla="*/ 20 h 107"/>
                <a:gd name="T68" fmla="*/ 43 w 108"/>
                <a:gd name="T69" fmla="*/ 26 h 107"/>
                <a:gd name="T70" fmla="*/ 41 w 108"/>
                <a:gd name="T71" fmla="*/ 46 h 107"/>
                <a:gd name="T72" fmla="*/ 50 w 108"/>
                <a:gd name="T73" fmla="*/ 50 h 107"/>
                <a:gd name="T74" fmla="*/ 60 w 108"/>
                <a:gd name="T75" fmla="*/ 41 h 107"/>
                <a:gd name="T76" fmla="*/ 56 w 108"/>
                <a:gd name="T77" fmla="*/ 3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" h="107"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8"/>
                    <a:pt x="56" y="39"/>
                    <a:pt x="56" y="41"/>
                  </a:cubicBezTo>
                  <a:cubicBezTo>
                    <a:pt x="56" y="42"/>
                    <a:pt x="56" y="44"/>
                    <a:pt x="55" y="44"/>
                  </a:cubicBezTo>
                  <a:cubicBezTo>
                    <a:pt x="55" y="45"/>
                    <a:pt x="53" y="46"/>
                    <a:pt x="50" y="46"/>
                  </a:cubicBezTo>
                  <a:cubicBezTo>
                    <a:pt x="50" y="46"/>
                    <a:pt x="49" y="46"/>
                    <a:pt x="48" y="46"/>
                  </a:cubicBezTo>
                  <a:cubicBezTo>
                    <a:pt x="46" y="46"/>
                    <a:pt x="45" y="45"/>
                    <a:pt x="44" y="44"/>
                  </a:cubicBezTo>
                  <a:cubicBezTo>
                    <a:pt x="43" y="42"/>
                    <a:pt x="42" y="41"/>
                    <a:pt x="42" y="39"/>
                  </a:cubicBezTo>
                  <a:cubicBezTo>
                    <a:pt x="42" y="36"/>
                    <a:pt x="44" y="32"/>
                    <a:pt x="46" y="29"/>
                  </a:cubicBezTo>
                  <a:cubicBezTo>
                    <a:pt x="49" y="26"/>
                    <a:pt x="52" y="24"/>
                    <a:pt x="57" y="24"/>
                  </a:cubicBezTo>
                  <a:cubicBezTo>
                    <a:pt x="57" y="24"/>
                    <a:pt x="58" y="24"/>
                    <a:pt x="58" y="24"/>
                  </a:cubicBezTo>
                  <a:cubicBezTo>
                    <a:pt x="66" y="25"/>
                    <a:pt x="71" y="27"/>
                    <a:pt x="74" y="30"/>
                  </a:cubicBezTo>
                  <a:cubicBezTo>
                    <a:pt x="77" y="33"/>
                    <a:pt x="78" y="37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8" y="47"/>
                    <a:pt x="77" y="52"/>
                    <a:pt x="74" y="56"/>
                  </a:cubicBezTo>
                  <a:cubicBezTo>
                    <a:pt x="70" y="59"/>
                    <a:pt x="66" y="62"/>
                    <a:pt x="59" y="62"/>
                  </a:cubicBezTo>
                  <a:cubicBezTo>
                    <a:pt x="58" y="62"/>
                    <a:pt x="57" y="62"/>
                    <a:pt x="56" y="62"/>
                  </a:cubicBezTo>
                  <a:cubicBezTo>
                    <a:pt x="50" y="61"/>
                    <a:pt x="45" y="57"/>
                    <a:pt x="42" y="52"/>
                  </a:cubicBezTo>
                  <a:cubicBezTo>
                    <a:pt x="39" y="48"/>
                    <a:pt x="37" y="41"/>
                    <a:pt x="37" y="36"/>
                  </a:cubicBezTo>
                  <a:cubicBezTo>
                    <a:pt x="37" y="33"/>
                    <a:pt x="38" y="30"/>
                    <a:pt x="39" y="28"/>
                  </a:cubicBezTo>
                  <a:cubicBezTo>
                    <a:pt x="42" y="23"/>
                    <a:pt x="46" y="17"/>
                    <a:pt x="52" y="12"/>
                  </a:cubicBezTo>
                  <a:cubicBezTo>
                    <a:pt x="57" y="7"/>
                    <a:pt x="64" y="4"/>
                    <a:pt x="72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81" y="4"/>
                    <a:pt x="88" y="7"/>
                    <a:pt x="93" y="12"/>
                  </a:cubicBezTo>
                  <a:cubicBezTo>
                    <a:pt x="98" y="18"/>
                    <a:pt x="102" y="27"/>
                    <a:pt x="104" y="41"/>
                  </a:cubicBezTo>
                  <a:cubicBezTo>
                    <a:pt x="104" y="42"/>
                    <a:pt x="104" y="44"/>
                    <a:pt x="104" y="45"/>
                  </a:cubicBezTo>
                  <a:cubicBezTo>
                    <a:pt x="104" y="57"/>
                    <a:pt x="98" y="68"/>
                    <a:pt x="90" y="76"/>
                  </a:cubicBezTo>
                  <a:cubicBezTo>
                    <a:pt x="83" y="84"/>
                    <a:pt x="73" y="89"/>
                    <a:pt x="65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1" y="93"/>
                    <a:pt x="58" y="97"/>
                  </a:cubicBezTo>
                  <a:cubicBezTo>
                    <a:pt x="54" y="100"/>
                    <a:pt x="49" y="103"/>
                    <a:pt x="40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0" y="103"/>
                    <a:pt x="23" y="99"/>
                    <a:pt x="18" y="94"/>
                  </a:cubicBezTo>
                  <a:cubicBezTo>
                    <a:pt x="13" y="90"/>
                    <a:pt x="9" y="84"/>
                    <a:pt x="9" y="81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6" y="86"/>
                    <a:pt x="9" y="92"/>
                    <a:pt x="15" y="97"/>
                  </a:cubicBezTo>
                  <a:cubicBezTo>
                    <a:pt x="21" y="103"/>
                    <a:pt x="29" y="107"/>
                    <a:pt x="39" y="107"/>
                  </a:cubicBezTo>
                  <a:cubicBezTo>
                    <a:pt x="39" y="107"/>
                    <a:pt x="39" y="107"/>
                    <a:pt x="40" y="107"/>
                  </a:cubicBezTo>
                  <a:cubicBezTo>
                    <a:pt x="50" y="107"/>
                    <a:pt x="57" y="103"/>
                    <a:pt x="61" y="99"/>
                  </a:cubicBezTo>
                  <a:cubicBezTo>
                    <a:pt x="65" y="95"/>
                    <a:pt x="67" y="92"/>
                    <a:pt x="67" y="92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74" y="93"/>
                    <a:pt x="85" y="87"/>
                    <a:pt x="93" y="79"/>
                  </a:cubicBezTo>
                  <a:cubicBezTo>
                    <a:pt x="102" y="71"/>
                    <a:pt x="108" y="59"/>
                    <a:pt x="108" y="45"/>
                  </a:cubicBezTo>
                  <a:cubicBezTo>
                    <a:pt x="108" y="44"/>
                    <a:pt x="108" y="42"/>
                    <a:pt x="108" y="40"/>
                  </a:cubicBezTo>
                  <a:cubicBezTo>
                    <a:pt x="106" y="26"/>
                    <a:pt x="102" y="16"/>
                    <a:pt x="96" y="10"/>
                  </a:cubicBezTo>
                  <a:cubicBezTo>
                    <a:pt x="90" y="3"/>
                    <a:pt x="82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63" y="0"/>
                    <a:pt x="55" y="4"/>
                    <a:pt x="49" y="9"/>
                  </a:cubicBezTo>
                  <a:cubicBezTo>
                    <a:pt x="43" y="14"/>
                    <a:pt x="38" y="20"/>
                    <a:pt x="35" y="26"/>
                  </a:cubicBezTo>
                  <a:cubicBezTo>
                    <a:pt x="34" y="29"/>
                    <a:pt x="33" y="32"/>
                    <a:pt x="33" y="36"/>
                  </a:cubicBezTo>
                  <a:cubicBezTo>
                    <a:pt x="33" y="42"/>
                    <a:pt x="35" y="49"/>
                    <a:pt x="39" y="55"/>
                  </a:cubicBezTo>
                  <a:cubicBezTo>
                    <a:pt x="42" y="60"/>
                    <a:pt x="48" y="65"/>
                    <a:pt x="55" y="66"/>
                  </a:cubicBezTo>
                  <a:cubicBezTo>
                    <a:pt x="56" y="66"/>
                    <a:pt x="58" y="66"/>
                    <a:pt x="59" y="66"/>
                  </a:cubicBezTo>
                  <a:cubicBezTo>
                    <a:pt x="67" y="66"/>
                    <a:pt x="73" y="63"/>
                    <a:pt x="77" y="58"/>
                  </a:cubicBezTo>
                  <a:cubicBezTo>
                    <a:pt x="81" y="54"/>
                    <a:pt x="82" y="48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36"/>
                    <a:pt x="81" y="31"/>
                    <a:pt x="77" y="27"/>
                  </a:cubicBezTo>
                  <a:cubicBezTo>
                    <a:pt x="73" y="23"/>
                    <a:pt x="67" y="21"/>
                    <a:pt x="59" y="20"/>
                  </a:cubicBezTo>
                  <a:cubicBezTo>
                    <a:pt x="58" y="20"/>
                    <a:pt x="57" y="20"/>
                    <a:pt x="57" y="20"/>
                  </a:cubicBezTo>
                  <a:cubicBezTo>
                    <a:pt x="51" y="20"/>
                    <a:pt x="46" y="22"/>
                    <a:pt x="43" y="26"/>
                  </a:cubicBezTo>
                  <a:cubicBezTo>
                    <a:pt x="40" y="30"/>
                    <a:pt x="38" y="35"/>
                    <a:pt x="38" y="39"/>
                  </a:cubicBezTo>
                  <a:cubicBezTo>
                    <a:pt x="38" y="41"/>
                    <a:pt x="39" y="44"/>
                    <a:pt x="41" y="46"/>
                  </a:cubicBezTo>
                  <a:cubicBezTo>
                    <a:pt x="42" y="48"/>
                    <a:pt x="45" y="49"/>
                    <a:pt x="48" y="50"/>
                  </a:cubicBezTo>
                  <a:cubicBezTo>
                    <a:pt x="49" y="50"/>
                    <a:pt x="50" y="50"/>
                    <a:pt x="50" y="50"/>
                  </a:cubicBezTo>
                  <a:cubicBezTo>
                    <a:pt x="54" y="50"/>
                    <a:pt x="57" y="49"/>
                    <a:pt x="58" y="47"/>
                  </a:cubicBezTo>
                  <a:cubicBezTo>
                    <a:pt x="60" y="45"/>
                    <a:pt x="60" y="43"/>
                    <a:pt x="60" y="41"/>
                  </a:cubicBezTo>
                  <a:cubicBezTo>
                    <a:pt x="60" y="38"/>
                    <a:pt x="60" y="36"/>
                    <a:pt x="59" y="36"/>
                  </a:cubicBezTo>
                  <a:lnTo>
                    <a:pt x="56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2218749" y="1380319"/>
              <a:ext cx="460337" cy="450482"/>
            </a:xfrm>
            <a:custGeom>
              <a:avLst/>
              <a:gdLst>
                <a:gd name="T0" fmla="*/ 72 w 138"/>
                <a:gd name="T1" fmla="*/ 46 h 135"/>
                <a:gd name="T2" fmla="*/ 72 w 138"/>
                <a:gd name="T3" fmla="*/ 56 h 135"/>
                <a:gd name="T4" fmla="*/ 62 w 138"/>
                <a:gd name="T5" fmla="*/ 58 h 135"/>
                <a:gd name="T6" fmla="*/ 54 w 138"/>
                <a:gd name="T7" fmla="*/ 49 h 135"/>
                <a:gd name="T8" fmla="*/ 73 w 138"/>
                <a:gd name="T9" fmla="*/ 28 h 135"/>
                <a:gd name="T10" fmla="*/ 96 w 138"/>
                <a:gd name="T11" fmla="*/ 36 h 135"/>
                <a:gd name="T12" fmla="*/ 101 w 138"/>
                <a:gd name="T13" fmla="*/ 53 h 135"/>
                <a:gd name="T14" fmla="*/ 95 w 138"/>
                <a:gd name="T15" fmla="*/ 71 h 135"/>
                <a:gd name="T16" fmla="*/ 71 w 138"/>
                <a:gd name="T17" fmla="*/ 78 h 135"/>
                <a:gd name="T18" fmla="*/ 48 w 138"/>
                <a:gd name="T19" fmla="*/ 45 h 135"/>
                <a:gd name="T20" fmla="*/ 66 w 138"/>
                <a:gd name="T21" fmla="*/ 14 h 135"/>
                <a:gd name="T22" fmla="*/ 94 w 138"/>
                <a:gd name="T23" fmla="*/ 4 h 135"/>
                <a:gd name="T24" fmla="*/ 133 w 138"/>
                <a:gd name="T25" fmla="*/ 51 h 135"/>
                <a:gd name="T26" fmla="*/ 116 w 138"/>
                <a:gd name="T27" fmla="*/ 97 h 135"/>
                <a:gd name="T28" fmla="*/ 82 w 138"/>
                <a:gd name="T29" fmla="*/ 113 h 135"/>
                <a:gd name="T30" fmla="*/ 81 w 138"/>
                <a:gd name="T31" fmla="*/ 114 h 135"/>
                <a:gd name="T32" fmla="*/ 51 w 138"/>
                <a:gd name="T33" fmla="*/ 131 h 135"/>
                <a:gd name="T34" fmla="*/ 23 w 138"/>
                <a:gd name="T35" fmla="*/ 120 h 135"/>
                <a:gd name="T36" fmla="*/ 11 w 138"/>
                <a:gd name="T37" fmla="*/ 101 h 135"/>
                <a:gd name="T38" fmla="*/ 0 w 138"/>
                <a:gd name="T39" fmla="*/ 101 h 135"/>
                <a:gd name="T40" fmla="*/ 9 w 138"/>
                <a:gd name="T41" fmla="*/ 103 h 135"/>
                <a:gd name="T42" fmla="*/ 20 w 138"/>
                <a:gd name="T43" fmla="*/ 123 h 135"/>
                <a:gd name="T44" fmla="*/ 52 w 138"/>
                <a:gd name="T45" fmla="*/ 135 h 135"/>
                <a:gd name="T46" fmla="*/ 85 w 138"/>
                <a:gd name="T47" fmla="*/ 116 h 135"/>
                <a:gd name="T48" fmla="*/ 83 w 138"/>
                <a:gd name="T49" fmla="*/ 117 h 135"/>
                <a:gd name="T50" fmla="*/ 138 w 138"/>
                <a:gd name="T51" fmla="*/ 57 h 135"/>
                <a:gd name="T52" fmla="*/ 123 w 138"/>
                <a:gd name="T53" fmla="*/ 12 h 135"/>
                <a:gd name="T54" fmla="*/ 92 w 138"/>
                <a:gd name="T55" fmla="*/ 0 h 135"/>
                <a:gd name="T56" fmla="*/ 46 w 138"/>
                <a:gd name="T57" fmla="*/ 32 h 135"/>
                <a:gd name="T58" fmla="*/ 51 w 138"/>
                <a:gd name="T59" fmla="*/ 68 h 135"/>
                <a:gd name="T60" fmla="*/ 76 w 138"/>
                <a:gd name="T61" fmla="*/ 83 h 135"/>
                <a:gd name="T62" fmla="*/ 105 w 138"/>
                <a:gd name="T63" fmla="*/ 53 h 135"/>
                <a:gd name="T64" fmla="*/ 105 w 138"/>
                <a:gd name="T65" fmla="*/ 53 h 135"/>
                <a:gd name="T66" fmla="*/ 75 w 138"/>
                <a:gd name="T67" fmla="*/ 25 h 135"/>
                <a:gd name="T68" fmla="*/ 56 w 138"/>
                <a:gd name="T69" fmla="*/ 33 h 135"/>
                <a:gd name="T70" fmla="*/ 53 w 138"/>
                <a:gd name="T71" fmla="*/ 57 h 135"/>
                <a:gd name="T72" fmla="*/ 65 w 138"/>
                <a:gd name="T73" fmla="*/ 62 h 135"/>
                <a:gd name="T74" fmla="*/ 77 w 138"/>
                <a:gd name="T75" fmla="*/ 51 h 135"/>
                <a:gd name="T76" fmla="*/ 72 w 138"/>
                <a:gd name="T77" fmla="*/ 46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8" h="135">
                  <a:moveTo>
                    <a:pt x="72" y="46"/>
                  </a:moveTo>
                  <a:cubicBezTo>
                    <a:pt x="72" y="46"/>
                    <a:pt x="72" y="46"/>
                    <a:pt x="72" y="46"/>
                  </a:cubicBezTo>
                  <a:cubicBezTo>
                    <a:pt x="72" y="47"/>
                    <a:pt x="73" y="49"/>
                    <a:pt x="73" y="51"/>
                  </a:cubicBezTo>
                  <a:cubicBezTo>
                    <a:pt x="73" y="53"/>
                    <a:pt x="73" y="55"/>
                    <a:pt x="72" y="56"/>
                  </a:cubicBezTo>
                  <a:cubicBezTo>
                    <a:pt x="71" y="57"/>
                    <a:pt x="69" y="58"/>
                    <a:pt x="65" y="58"/>
                  </a:cubicBezTo>
                  <a:cubicBezTo>
                    <a:pt x="64" y="58"/>
                    <a:pt x="63" y="58"/>
                    <a:pt x="62" y="58"/>
                  </a:cubicBezTo>
                  <a:cubicBezTo>
                    <a:pt x="59" y="58"/>
                    <a:pt x="57" y="57"/>
                    <a:pt x="56" y="55"/>
                  </a:cubicBezTo>
                  <a:cubicBezTo>
                    <a:pt x="55" y="53"/>
                    <a:pt x="54" y="51"/>
                    <a:pt x="54" y="49"/>
                  </a:cubicBezTo>
                  <a:cubicBezTo>
                    <a:pt x="54" y="44"/>
                    <a:pt x="56" y="39"/>
                    <a:pt x="59" y="35"/>
                  </a:cubicBezTo>
                  <a:cubicBezTo>
                    <a:pt x="63" y="31"/>
                    <a:pt x="67" y="28"/>
                    <a:pt x="73" y="28"/>
                  </a:cubicBezTo>
                  <a:cubicBezTo>
                    <a:pt x="73" y="28"/>
                    <a:pt x="74" y="29"/>
                    <a:pt x="75" y="29"/>
                  </a:cubicBezTo>
                  <a:cubicBezTo>
                    <a:pt x="85" y="30"/>
                    <a:pt x="92" y="33"/>
                    <a:pt x="96" y="36"/>
                  </a:cubicBezTo>
                  <a:cubicBezTo>
                    <a:pt x="100" y="40"/>
                    <a:pt x="101" y="45"/>
                    <a:pt x="101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9"/>
                    <a:pt x="99" y="66"/>
                    <a:pt x="95" y="71"/>
                  </a:cubicBezTo>
                  <a:cubicBezTo>
                    <a:pt x="91" y="75"/>
                    <a:pt x="85" y="79"/>
                    <a:pt x="76" y="79"/>
                  </a:cubicBezTo>
                  <a:cubicBezTo>
                    <a:pt x="75" y="79"/>
                    <a:pt x="73" y="79"/>
                    <a:pt x="71" y="78"/>
                  </a:cubicBezTo>
                  <a:cubicBezTo>
                    <a:pt x="64" y="77"/>
                    <a:pt x="58" y="73"/>
                    <a:pt x="54" y="66"/>
                  </a:cubicBezTo>
                  <a:cubicBezTo>
                    <a:pt x="50" y="60"/>
                    <a:pt x="48" y="52"/>
                    <a:pt x="48" y="45"/>
                  </a:cubicBezTo>
                  <a:cubicBezTo>
                    <a:pt x="48" y="41"/>
                    <a:pt x="48" y="37"/>
                    <a:pt x="50" y="34"/>
                  </a:cubicBezTo>
                  <a:cubicBezTo>
                    <a:pt x="53" y="28"/>
                    <a:pt x="59" y="20"/>
                    <a:pt x="66" y="14"/>
                  </a:cubicBezTo>
                  <a:cubicBezTo>
                    <a:pt x="73" y="8"/>
                    <a:pt x="82" y="4"/>
                    <a:pt x="92" y="4"/>
                  </a:cubicBezTo>
                  <a:cubicBezTo>
                    <a:pt x="93" y="4"/>
                    <a:pt x="93" y="4"/>
                    <a:pt x="94" y="4"/>
                  </a:cubicBezTo>
                  <a:cubicBezTo>
                    <a:pt x="105" y="4"/>
                    <a:pt x="113" y="7"/>
                    <a:pt x="120" y="14"/>
                  </a:cubicBezTo>
                  <a:cubicBezTo>
                    <a:pt x="127" y="22"/>
                    <a:pt x="131" y="33"/>
                    <a:pt x="133" y="51"/>
                  </a:cubicBezTo>
                  <a:cubicBezTo>
                    <a:pt x="134" y="53"/>
                    <a:pt x="134" y="55"/>
                    <a:pt x="134" y="57"/>
                  </a:cubicBezTo>
                  <a:cubicBezTo>
                    <a:pt x="134" y="72"/>
                    <a:pt x="126" y="86"/>
                    <a:pt x="116" y="97"/>
                  </a:cubicBezTo>
                  <a:cubicBezTo>
                    <a:pt x="106" y="107"/>
                    <a:pt x="93" y="113"/>
                    <a:pt x="83" y="113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5"/>
                    <a:pt x="79" y="119"/>
                    <a:pt x="75" y="123"/>
                  </a:cubicBezTo>
                  <a:cubicBezTo>
                    <a:pt x="70" y="127"/>
                    <a:pt x="63" y="131"/>
                    <a:pt x="51" y="131"/>
                  </a:cubicBezTo>
                  <a:cubicBezTo>
                    <a:pt x="51" y="131"/>
                    <a:pt x="50" y="131"/>
                    <a:pt x="50" y="131"/>
                  </a:cubicBezTo>
                  <a:cubicBezTo>
                    <a:pt x="39" y="131"/>
                    <a:pt x="30" y="126"/>
                    <a:pt x="23" y="120"/>
                  </a:cubicBezTo>
                  <a:cubicBezTo>
                    <a:pt x="16" y="114"/>
                    <a:pt x="12" y="106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8" y="108"/>
                    <a:pt x="13" y="116"/>
                    <a:pt x="20" y="123"/>
                  </a:cubicBezTo>
                  <a:cubicBezTo>
                    <a:pt x="27" y="130"/>
                    <a:pt x="37" y="135"/>
                    <a:pt x="50" y="135"/>
                  </a:cubicBezTo>
                  <a:cubicBezTo>
                    <a:pt x="50" y="135"/>
                    <a:pt x="51" y="135"/>
                    <a:pt x="52" y="135"/>
                  </a:cubicBezTo>
                  <a:cubicBezTo>
                    <a:pt x="64" y="135"/>
                    <a:pt x="73" y="130"/>
                    <a:pt x="78" y="125"/>
                  </a:cubicBezTo>
                  <a:cubicBezTo>
                    <a:pt x="83" y="120"/>
                    <a:pt x="85" y="116"/>
                    <a:pt x="85" y="116"/>
                  </a:cubicBezTo>
                  <a:cubicBezTo>
                    <a:pt x="83" y="115"/>
                    <a:pt x="83" y="115"/>
                    <a:pt x="83" y="115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95" y="117"/>
                    <a:pt x="108" y="110"/>
                    <a:pt x="119" y="99"/>
                  </a:cubicBezTo>
                  <a:cubicBezTo>
                    <a:pt x="130" y="89"/>
                    <a:pt x="138" y="74"/>
                    <a:pt x="138" y="57"/>
                  </a:cubicBezTo>
                  <a:cubicBezTo>
                    <a:pt x="138" y="55"/>
                    <a:pt x="138" y="52"/>
                    <a:pt x="137" y="50"/>
                  </a:cubicBezTo>
                  <a:cubicBezTo>
                    <a:pt x="135" y="32"/>
                    <a:pt x="130" y="20"/>
                    <a:pt x="123" y="12"/>
                  </a:cubicBezTo>
                  <a:cubicBezTo>
                    <a:pt x="116" y="3"/>
                    <a:pt x="105" y="0"/>
                    <a:pt x="94" y="0"/>
                  </a:cubicBezTo>
                  <a:cubicBezTo>
                    <a:pt x="93" y="0"/>
                    <a:pt x="93" y="0"/>
                    <a:pt x="92" y="0"/>
                  </a:cubicBezTo>
                  <a:cubicBezTo>
                    <a:pt x="81" y="0"/>
                    <a:pt x="71" y="4"/>
                    <a:pt x="64" y="11"/>
                  </a:cubicBezTo>
                  <a:cubicBezTo>
                    <a:pt x="56" y="17"/>
                    <a:pt x="50" y="25"/>
                    <a:pt x="46" y="32"/>
                  </a:cubicBezTo>
                  <a:cubicBezTo>
                    <a:pt x="44" y="36"/>
                    <a:pt x="44" y="40"/>
                    <a:pt x="44" y="45"/>
                  </a:cubicBezTo>
                  <a:cubicBezTo>
                    <a:pt x="44" y="53"/>
                    <a:pt x="46" y="61"/>
                    <a:pt x="51" y="68"/>
                  </a:cubicBezTo>
                  <a:cubicBezTo>
                    <a:pt x="55" y="75"/>
                    <a:pt x="62" y="81"/>
                    <a:pt x="71" y="82"/>
                  </a:cubicBezTo>
                  <a:cubicBezTo>
                    <a:pt x="73" y="83"/>
                    <a:pt x="75" y="83"/>
                    <a:pt x="76" y="83"/>
                  </a:cubicBezTo>
                  <a:cubicBezTo>
                    <a:pt x="86" y="83"/>
                    <a:pt x="93" y="79"/>
                    <a:pt x="98" y="73"/>
                  </a:cubicBezTo>
                  <a:cubicBezTo>
                    <a:pt x="103" y="68"/>
                    <a:pt x="105" y="60"/>
                    <a:pt x="105" y="53"/>
                  </a:cubicBezTo>
                  <a:cubicBezTo>
                    <a:pt x="105" y="53"/>
                    <a:pt x="105" y="53"/>
                    <a:pt x="105" y="53"/>
                  </a:cubicBezTo>
                  <a:cubicBezTo>
                    <a:pt x="105" y="53"/>
                    <a:pt x="105" y="53"/>
                    <a:pt x="105" y="53"/>
                  </a:cubicBezTo>
                  <a:cubicBezTo>
                    <a:pt x="105" y="45"/>
                    <a:pt x="103" y="38"/>
                    <a:pt x="98" y="34"/>
                  </a:cubicBezTo>
                  <a:cubicBezTo>
                    <a:pt x="94" y="29"/>
                    <a:pt x="86" y="26"/>
                    <a:pt x="75" y="25"/>
                  </a:cubicBezTo>
                  <a:cubicBezTo>
                    <a:pt x="74" y="25"/>
                    <a:pt x="74" y="24"/>
                    <a:pt x="73" y="24"/>
                  </a:cubicBezTo>
                  <a:cubicBezTo>
                    <a:pt x="66" y="24"/>
                    <a:pt x="60" y="28"/>
                    <a:pt x="56" y="33"/>
                  </a:cubicBezTo>
                  <a:cubicBezTo>
                    <a:pt x="52" y="37"/>
                    <a:pt x="50" y="43"/>
                    <a:pt x="50" y="49"/>
                  </a:cubicBezTo>
                  <a:cubicBezTo>
                    <a:pt x="50" y="52"/>
                    <a:pt x="51" y="55"/>
                    <a:pt x="53" y="57"/>
                  </a:cubicBezTo>
                  <a:cubicBezTo>
                    <a:pt x="55" y="60"/>
                    <a:pt x="58" y="62"/>
                    <a:pt x="61" y="62"/>
                  </a:cubicBezTo>
                  <a:cubicBezTo>
                    <a:pt x="63" y="62"/>
                    <a:pt x="64" y="62"/>
                    <a:pt x="65" y="62"/>
                  </a:cubicBezTo>
                  <a:cubicBezTo>
                    <a:pt x="70" y="62"/>
                    <a:pt x="73" y="61"/>
                    <a:pt x="75" y="59"/>
                  </a:cubicBezTo>
                  <a:cubicBezTo>
                    <a:pt x="77" y="56"/>
                    <a:pt x="77" y="54"/>
                    <a:pt x="77" y="51"/>
                  </a:cubicBezTo>
                  <a:cubicBezTo>
                    <a:pt x="77" y="48"/>
                    <a:pt x="76" y="45"/>
                    <a:pt x="76" y="45"/>
                  </a:cubicBezTo>
                  <a:lnTo>
                    <a:pt x="7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556611" y="1086097"/>
              <a:ext cx="536355" cy="396987"/>
            </a:xfrm>
            <a:custGeom>
              <a:avLst/>
              <a:gdLst>
                <a:gd name="T0" fmla="*/ 98 w 161"/>
                <a:gd name="T1" fmla="*/ 40 h 119"/>
                <a:gd name="T2" fmla="*/ 95 w 161"/>
                <a:gd name="T3" fmla="*/ 48 h 119"/>
                <a:gd name="T4" fmla="*/ 84 w 161"/>
                <a:gd name="T5" fmla="*/ 47 h 119"/>
                <a:gd name="T6" fmla="*/ 79 w 161"/>
                <a:gd name="T7" fmla="*/ 40 h 119"/>
                <a:gd name="T8" fmla="*/ 99 w 161"/>
                <a:gd name="T9" fmla="*/ 22 h 119"/>
                <a:gd name="T10" fmla="*/ 121 w 161"/>
                <a:gd name="T11" fmla="*/ 34 h 119"/>
                <a:gd name="T12" fmla="*/ 123 w 161"/>
                <a:gd name="T13" fmla="*/ 55 h 119"/>
                <a:gd name="T14" fmla="*/ 100 w 161"/>
                <a:gd name="T15" fmla="*/ 73 h 119"/>
                <a:gd name="T16" fmla="*/ 76 w 161"/>
                <a:gd name="T17" fmla="*/ 59 h 119"/>
                <a:gd name="T18" fmla="*/ 81 w 161"/>
                <a:gd name="T19" fmla="*/ 21 h 119"/>
                <a:gd name="T20" fmla="*/ 132 w 161"/>
                <a:gd name="T21" fmla="*/ 6 h 119"/>
                <a:gd name="T22" fmla="*/ 157 w 161"/>
                <a:gd name="T23" fmla="*/ 43 h 119"/>
                <a:gd name="T24" fmla="*/ 132 w 161"/>
                <a:gd name="T25" fmla="*/ 97 h 119"/>
                <a:gd name="T26" fmla="*/ 87 w 161"/>
                <a:gd name="T27" fmla="*/ 106 h 119"/>
                <a:gd name="T28" fmla="*/ 85 w 161"/>
                <a:gd name="T29" fmla="*/ 107 h 119"/>
                <a:gd name="T30" fmla="*/ 63 w 161"/>
                <a:gd name="T31" fmla="*/ 115 h 119"/>
                <a:gd name="T32" fmla="*/ 28 w 161"/>
                <a:gd name="T33" fmla="*/ 95 h 119"/>
                <a:gd name="T34" fmla="*/ 22 w 161"/>
                <a:gd name="T35" fmla="*/ 73 h 119"/>
                <a:gd name="T36" fmla="*/ 21 w 161"/>
                <a:gd name="T37" fmla="*/ 71 h 119"/>
                <a:gd name="T38" fmla="*/ 12 w 161"/>
                <a:gd name="T39" fmla="*/ 63 h 119"/>
                <a:gd name="T40" fmla="*/ 0 w 161"/>
                <a:gd name="T41" fmla="*/ 45 h 119"/>
                <a:gd name="T42" fmla="*/ 19 w 161"/>
                <a:gd name="T43" fmla="*/ 74 h 119"/>
                <a:gd name="T44" fmla="*/ 18 w 161"/>
                <a:gd name="T45" fmla="*/ 72 h 119"/>
                <a:gd name="T46" fmla="*/ 25 w 161"/>
                <a:gd name="T47" fmla="*/ 97 h 119"/>
                <a:gd name="T48" fmla="*/ 63 w 161"/>
                <a:gd name="T49" fmla="*/ 119 h 119"/>
                <a:gd name="T50" fmla="*/ 86 w 161"/>
                <a:gd name="T51" fmla="*/ 108 h 119"/>
                <a:gd name="T52" fmla="*/ 98 w 161"/>
                <a:gd name="T53" fmla="*/ 112 h 119"/>
                <a:gd name="T54" fmla="*/ 158 w 161"/>
                <a:gd name="T55" fmla="*/ 65 h 119"/>
                <a:gd name="T56" fmla="*/ 153 w 161"/>
                <a:gd name="T57" fmla="*/ 17 h 119"/>
                <a:gd name="T58" fmla="*/ 119 w 161"/>
                <a:gd name="T59" fmla="*/ 0 h 119"/>
                <a:gd name="T60" fmla="*/ 69 w 161"/>
                <a:gd name="T61" fmla="*/ 43 h 119"/>
                <a:gd name="T62" fmla="*/ 85 w 161"/>
                <a:gd name="T63" fmla="*/ 73 h 119"/>
                <a:gd name="T64" fmla="*/ 117 w 161"/>
                <a:gd name="T65" fmla="*/ 71 h 119"/>
                <a:gd name="T66" fmla="*/ 129 w 161"/>
                <a:gd name="T67" fmla="*/ 46 h 119"/>
                <a:gd name="T68" fmla="*/ 108 w 161"/>
                <a:gd name="T69" fmla="*/ 20 h 119"/>
                <a:gd name="T70" fmla="*/ 82 w 161"/>
                <a:gd name="T71" fmla="*/ 25 h 119"/>
                <a:gd name="T72" fmla="*/ 77 w 161"/>
                <a:gd name="T73" fmla="*/ 46 h 119"/>
                <a:gd name="T74" fmla="*/ 91 w 161"/>
                <a:gd name="T75" fmla="*/ 53 h 119"/>
                <a:gd name="T76" fmla="*/ 101 w 161"/>
                <a:gd name="T77" fmla="*/ 44 h 119"/>
                <a:gd name="T78" fmla="*/ 102 w 161"/>
                <a:gd name="T79" fmla="*/ 4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1" h="119">
                  <a:moveTo>
                    <a:pt x="98" y="40"/>
                  </a:move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3"/>
                    <a:pt x="97" y="45"/>
                  </a:cubicBezTo>
                  <a:cubicBezTo>
                    <a:pt x="96" y="46"/>
                    <a:pt x="96" y="47"/>
                    <a:pt x="95" y="48"/>
                  </a:cubicBezTo>
                  <a:cubicBezTo>
                    <a:pt x="94" y="49"/>
                    <a:pt x="93" y="49"/>
                    <a:pt x="91" y="49"/>
                  </a:cubicBezTo>
                  <a:cubicBezTo>
                    <a:pt x="89" y="49"/>
                    <a:pt x="87" y="49"/>
                    <a:pt x="84" y="47"/>
                  </a:cubicBezTo>
                  <a:cubicBezTo>
                    <a:pt x="82" y="47"/>
                    <a:pt x="81" y="45"/>
                    <a:pt x="80" y="44"/>
                  </a:cubicBezTo>
                  <a:cubicBezTo>
                    <a:pt x="80" y="43"/>
                    <a:pt x="79" y="42"/>
                    <a:pt x="79" y="40"/>
                  </a:cubicBezTo>
                  <a:cubicBezTo>
                    <a:pt x="79" y="36"/>
                    <a:pt x="81" y="32"/>
                    <a:pt x="85" y="28"/>
                  </a:cubicBezTo>
                  <a:cubicBezTo>
                    <a:pt x="89" y="25"/>
                    <a:pt x="94" y="22"/>
                    <a:pt x="99" y="22"/>
                  </a:cubicBezTo>
                  <a:cubicBezTo>
                    <a:pt x="101" y="22"/>
                    <a:pt x="104" y="23"/>
                    <a:pt x="106" y="24"/>
                  </a:cubicBezTo>
                  <a:cubicBezTo>
                    <a:pt x="113" y="27"/>
                    <a:pt x="118" y="31"/>
                    <a:pt x="121" y="34"/>
                  </a:cubicBezTo>
                  <a:cubicBezTo>
                    <a:pt x="124" y="38"/>
                    <a:pt x="125" y="42"/>
                    <a:pt x="125" y="46"/>
                  </a:cubicBezTo>
                  <a:cubicBezTo>
                    <a:pt x="125" y="49"/>
                    <a:pt x="124" y="52"/>
                    <a:pt x="123" y="55"/>
                  </a:cubicBezTo>
                  <a:cubicBezTo>
                    <a:pt x="122" y="60"/>
                    <a:pt x="119" y="65"/>
                    <a:pt x="115" y="68"/>
                  </a:cubicBezTo>
                  <a:cubicBezTo>
                    <a:pt x="111" y="71"/>
                    <a:pt x="106" y="73"/>
                    <a:pt x="100" y="73"/>
                  </a:cubicBezTo>
                  <a:cubicBezTo>
                    <a:pt x="96" y="73"/>
                    <a:pt x="92" y="72"/>
                    <a:pt x="87" y="70"/>
                  </a:cubicBezTo>
                  <a:cubicBezTo>
                    <a:pt x="82" y="67"/>
                    <a:pt x="78" y="63"/>
                    <a:pt x="76" y="59"/>
                  </a:cubicBezTo>
                  <a:cubicBezTo>
                    <a:pt x="74" y="54"/>
                    <a:pt x="73" y="49"/>
                    <a:pt x="73" y="43"/>
                  </a:cubicBezTo>
                  <a:cubicBezTo>
                    <a:pt x="73" y="34"/>
                    <a:pt x="76" y="25"/>
                    <a:pt x="81" y="21"/>
                  </a:cubicBezTo>
                  <a:cubicBezTo>
                    <a:pt x="89" y="13"/>
                    <a:pt x="104" y="4"/>
                    <a:pt x="119" y="4"/>
                  </a:cubicBezTo>
                  <a:cubicBezTo>
                    <a:pt x="123" y="4"/>
                    <a:pt x="127" y="5"/>
                    <a:pt x="132" y="6"/>
                  </a:cubicBezTo>
                  <a:cubicBezTo>
                    <a:pt x="140" y="9"/>
                    <a:pt x="146" y="13"/>
                    <a:pt x="150" y="19"/>
                  </a:cubicBezTo>
                  <a:cubicBezTo>
                    <a:pt x="154" y="25"/>
                    <a:pt x="157" y="33"/>
                    <a:pt x="157" y="43"/>
                  </a:cubicBezTo>
                  <a:cubicBezTo>
                    <a:pt x="157" y="49"/>
                    <a:pt x="156" y="56"/>
                    <a:pt x="154" y="64"/>
                  </a:cubicBezTo>
                  <a:cubicBezTo>
                    <a:pt x="151" y="78"/>
                    <a:pt x="143" y="89"/>
                    <a:pt x="132" y="97"/>
                  </a:cubicBezTo>
                  <a:cubicBezTo>
                    <a:pt x="121" y="104"/>
                    <a:pt x="108" y="108"/>
                    <a:pt x="98" y="108"/>
                  </a:cubicBezTo>
                  <a:cubicBezTo>
                    <a:pt x="94" y="108"/>
                    <a:pt x="90" y="107"/>
                    <a:pt x="87" y="106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4" y="107"/>
                    <a:pt x="77" y="115"/>
                    <a:pt x="63" y="115"/>
                  </a:cubicBezTo>
                  <a:cubicBezTo>
                    <a:pt x="59" y="115"/>
                    <a:pt x="55" y="115"/>
                    <a:pt x="51" y="113"/>
                  </a:cubicBezTo>
                  <a:cubicBezTo>
                    <a:pt x="40" y="110"/>
                    <a:pt x="33" y="103"/>
                    <a:pt x="28" y="95"/>
                  </a:cubicBezTo>
                  <a:cubicBezTo>
                    <a:pt x="24" y="87"/>
                    <a:pt x="22" y="79"/>
                    <a:pt x="22" y="74"/>
                  </a:cubicBezTo>
                  <a:cubicBezTo>
                    <a:pt x="22" y="74"/>
                    <a:pt x="22" y="73"/>
                    <a:pt x="22" y="73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0" y="70"/>
                    <a:pt x="16" y="68"/>
                    <a:pt x="12" y="63"/>
                  </a:cubicBezTo>
                  <a:cubicBezTo>
                    <a:pt x="8" y="59"/>
                    <a:pt x="4" y="53"/>
                    <a:pt x="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55"/>
                    <a:pt x="5" y="62"/>
                    <a:pt x="10" y="67"/>
                  </a:cubicBezTo>
                  <a:cubicBezTo>
                    <a:pt x="14" y="72"/>
                    <a:pt x="19" y="74"/>
                    <a:pt x="19" y="74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8" y="73"/>
                    <a:pt x="18" y="74"/>
                    <a:pt x="18" y="74"/>
                  </a:cubicBezTo>
                  <a:cubicBezTo>
                    <a:pt x="18" y="80"/>
                    <a:pt x="20" y="89"/>
                    <a:pt x="25" y="97"/>
                  </a:cubicBezTo>
                  <a:cubicBezTo>
                    <a:pt x="30" y="106"/>
                    <a:pt x="38" y="114"/>
                    <a:pt x="50" y="117"/>
                  </a:cubicBezTo>
                  <a:cubicBezTo>
                    <a:pt x="54" y="119"/>
                    <a:pt x="59" y="119"/>
                    <a:pt x="63" y="119"/>
                  </a:cubicBezTo>
                  <a:cubicBezTo>
                    <a:pt x="79" y="119"/>
                    <a:pt x="87" y="110"/>
                    <a:pt x="88" y="110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5" y="110"/>
                    <a:pt x="85" y="110"/>
                    <a:pt x="85" y="110"/>
                  </a:cubicBezTo>
                  <a:cubicBezTo>
                    <a:pt x="89" y="111"/>
                    <a:pt x="93" y="112"/>
                    <a:pt x="98" y="112"/>
                  </a:cubicBezTo>
                  <a:cubicBezTo>
                    <a:pt x="109" y="112"/>
                    <a:pt x="123" y="108"/>
                    <a:pt x="134" y="100"/>
                  </a:cubicBezTo>
                  <a:cubicBezTo>
                    <a:pt x="145" y="92"/>
                    <a:pt x="155" y="80"/>
                    <a:pt x="158" y="65"/>
                  </a:cubicBezTo>
                  <a:cubicBezTo>
                    <a:pt x="160" y="57"/>
                    <a:pt x="161" y="49"/>
                    <a:pt x="161" y="43"/>
                  </a:cubicBezTo>
                  <a:cubicBezTo>
                    <a:pt x="161" y="32"/>
                    <a:pt x="158" y="24"/>
                    <a:pt x="153" y="17"/>
                  </a:cubicBezTo>
                  <a:cubicBezTo>
                    <a:pt x="149" y="10"/>
                    <a:pt x="142" y="6"/>
                    <a:pt x="133" y="2"/>
                  </a:cubicBezTo>
                  <a:cubicBezTo>
                    <a:pt x="128" y="1"/>
                    <a:pt x="124" y="0"/>
                    <a:pt x="119" y="0"/>
                  </a:cubicBezTo>
                  <a:cubicBezTo>
                    <a:pt x="102" y="0"/>
                    <a:pt x="87" y="10"/>
                    <a:pt x="78" y="18"/>
                  </a:cubicBezTo>
                  <a:cubicBezTo>
                    <a:pt x="72" y="24"/>
                    <a:pt x="69" y="33"/>
                    <a:pt x="69" y="43"/>
                  </a:cubicBezTo>
                  <a:cubicBezTo>
                    <a:pt x="69" y="49"/>
                    <a:pt x="70" y="55"/>
                    <a:pt x="73" y="61"/>
                  </a:cubicBezTo>
                  <a:cubicBezTo>
                    <a:pt x="75" y="66"/>
                    <a:pt x="79" y="70"/>
                    <a:pt x="85" y="73"/>
                  </a:cubicBezTo>
                  <a:cubicBezTo>
                    <a:pt x="90" y="76"/>
                    <a:pt x="95" y="77"/>
                    <a:pt x="100" y="77"/>
                  </a:cubicBezTo>
                  <a:cubicBezTo>
                    <a:pt x="107" y="77"/>
                    <a:pt x="113" y="75"/>
                    <a:pt x="117" y="71"/>
                  </a:cubicBezTo>
                  <a:cubicBezTo>
                    <a:pt x="122" y="67"/>
                    <a:pt x="125" y="62"/>
                    <a:pt x="127" y="57"/>
                  </a:cubicBezTo>
                  <a:cubicBezTo>
                    <a:pt x="128" y="53"/>
                    <a:pt x="129" y="49"/>
                    <a:pt x="129" y="46"/>
                  </a:cubicBezTo>
                  <a:cubicBezTo>
                    <a:pt x="129" y="41"/>
                    <a:pt x="127" y="36"/>
                    <a:pt x="124" y="32"/>
                  </a:cubicBezTo>
                  <a:cubicBezTo>
                    <a:pt x="120" y="27"/>
                    <a:pt x="115" y="24"/>
                    <a:pt x="108" y="20"/>
                  </a:cubicBezTo>
                  <a:cubicBezTo>
                    <a:pt x="105" y="19"/>
                    <a:pt x="102" y="18"/>
                    <a:pt x="99" y="18"/>
                  </a:cubicBezTo>
                  <a:cubicBezTo>
                    <a:pt x="93" y="18"/>
                    <a:pt x="87" y="21"/>
                    <a:pt x="82" y="25"/>
                  </a:cubicBezTo>
                  <a:cubicBezTo>
                    <a:pt x="78" y="29"/>
                    <a:pt x="75" y="35"/>
                    <a:pt x="75" y="40"/>
                  </a:cubicBezTo>
                  <a:cubicBezTo>
                    <a:pt x="75" y="42"/>
                    <a:pt x="76" y="44"/>
                    <a:pt x="77" y="46"/>
                  </a:cubicBezTo>
                  <a:cubicBezTo>
                    <a:pt x="78" y="48"/>
                    <a:pt x="80" y="50"/>
                    <a:pt x="82" y="51"/>
                  </a:cubicBezTo>
                  <a:cubicBezTo>
                    <a:pt x="86" y="53"/>
                    <a:pt x="89" y="53"/>
                    <a:pt x="91" y="53"/>
                  </a:cubicBezTo>
                  <a:cubicBezTo>
                    <a:pt x="94" y="53"/>
                    <a:pt x="96" y="53"/>
                    <a:pt x="97" y="51"/>
                  </a:cubicBezTo>
                  <a:cubicBezTo>
                    <a:pt x="100" y="49"/>
                    <a:pt x="101" y="47"/>
                    <a:pt x="101" y="44"/>
                  </a:cubicBezTo>
                  <a:cubicBezTo>
                    <a:pt x="102" y="42"/>
                    <a:pt x="102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lnTo>
                    <a:pt x="98" y="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2439767" y="2434728"/>
              <a:ext cx="1958189" cy="1154361"/>
            </a:xfrm>
            <a:custGeom>
              <a:avLst/>
              <a:gdLst>
                <a:gd name="T0" fmla="*/ 8 w 587"/>
                <a:gd name="T1" fmla="*/ 0 h 346"/>
                <a:gd name="T2" fmla="*/ 0 w 587"/>
                <a:gd name="T3" fmla="*/ 0 h 346"/>
                <a:gd name="T4" fmla="*/ 99 w 587"/>
                <a:gd name="T5" fmla="*/ 261 h 346"/>
                <a:gd name="T6" fmla="*/ 318 w 587"/>
                <a:gd name="T7" fmla="*/ 346 h 346"/>
                <a:gd name="T8" fmla="*/ 318 w 587"/>
                <a:gd name="T9" fmla="*/ 346 h 346"/>
                <a:gd name="T10" fmla="*/ 587 w 587"/>
                <a:gd name="T11" fmla="*/ 215 h 346"/>
                <a:gd name="T12" fmla="*/ 580 w 587"/>
                <a:gd name="T13" fmla="*/ 210 h 346"/>
                <a:gd name="T14" fmla="*/ 318 w 587"/>
                <a:gd name="T15" fmla="*/ 338 h 346"/>
                <a:gd name="T16" fmla="*/ 104 w 587"/>
                <a:gd name="T17" fmla="*/ 255 h 346"/>
                <a:gd name="T18" fmla="*/ 8 w 587"/>
                <a:gd name="T19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7" h="346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7"/>
                    <a:pt x="39" y="204"/>
                    <a:pt x="99" y="261"/>
                  </a:cubicBezTo>
                  <a:cubicBezTo>
                    <a:pt x="158" y="318"/>
                    <a:pt x="238" y="346"/>
                    <a:pt x="318" y="346"/>
                  </a:cubicBezTo>
                  <a:cubicBezTo>
                    <a:pt x="318" y="346"/>
                    <a:pt x="318" y="346"/>
                    <a:pt x="318" y="346"/>
                  </a:cubicBezTo>
                  <a:cubicBezTo>
                    <a:pt x="420" y="346"/>
                    <a:pt x="523" y="301"/>
                    <a:pt x="587" y="215"/>
                  </a:cubicBezTo>
                  <a:cubicBezTo>
                    <a:pt x="580" y="210"/>
                    <a:pt x="580" y="210"/>
                    <a:pt x="580" y="210"/>
                  </a:cubicBezTo>
                  <a:cubicBezTo>
                    <a:pt x="518" y="294"/>
                    <a:pt x="418" y="338"/>
                    <a:pt x="318" y="338"/>
                  </a:cubicBezTo>
                  <a:cubicBezTo>
                    <a:pt x="240" y="338"/>
                    <a:pt x="162" y="311"/>
                    <a:pt x="104" y="255"/>
                  </a:cubicBezTo>
                  <a:cubicBezTo>
                    <a:pt x="46" y="200"/>
                    <a:pt x="8" y="116"/>
                    <a:pt x="8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336508" y="1439445"/>
              <a:ext cx="1254311" cy="1029070"/>
            </a:xfrm>
            <a:custGeom>
              <a:avLst/>
              <a:gdLst>
                <a:gd name="T0" fmla="*/ 47 w 376"/>
                <a:gd name="T1" fmla="*/ 0 h 308"/>
                <a:gd name="T2" fmla="*/ 0 w 376"/>
                <a:gd name="T3" fmla="*/ 3 h 308"/>
                <a:gd name="T4" fmla="*/ 2 w 376"/>
                <a:gd name="T5" fmla="*/ 11 h 308"/>
                <a:gd name="T6" fmla="*/ 47 w 376"/>
                <a:gd name="T7" fmla="*/ 8 h 308"/>
                <a:gd name="T8" fmla="*/ 47 w 376"/>
                <a:gd name="T9" fmla="*/ 8 h 308"/>
                <a:gd name="T10" fmla="*/ 267 w 376"/>
                <a:gd name="T11" fmla="*/ 89 h 308"/>
                <a:gd name="T12" fmla="*/ 368 w 376"/>
                <a:gd name="T13" fmla="*/ 308 h 308"/>
                <a:gd name="T14" fmla="*/ 376 w 376"/>
                <a:gd name="T15" fmla="*/ 308 h 308"/>
                <a:gd name="T16" fmla="*/ 272 w 376"/>
                <a:gd name="T17" fmla="*/ 83 h 308"/>
                <a:gd name="T18" fmla="*/ 47 w 376"/>
                <a:gd name="T19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6" h="308">
                  <a:moveTo>
                    <a:pt x="47" y="0"/>
                  </a:moveTo>
                  <a:cubicBezTo>
                    <a:pt x="32" y="0"/>
                    <a:pt x="16" y="1"/>
                    <a:pt x="0" y="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7" y="9"/>
                    <a:pt x="32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128" y="8"/>
                    <a:pt x="207" y="37"/>
                    <a:pt x="267" y="89"/>
                  </a:cubicBezTo>
                  <a:cubicBezTo>
                    <a:pt x="327" y="141"/>
                    <a:pt x="367" y="215"/>
                    <a:pt x="368" y="308"/>
                  </a:cubicBezTo>
                  <a:cubicBezTo>
                    <a:pt x="376" y="308"/>
                    <a:pt x="376" y="308"/>
                    <a:pt x="376" y="308"/>
                  </a:cubicBezTo>
                  <a:cubicBezTo>
                    <a:pt x="375" y="213"/>
                    <a:pt x="334" y="136"/>
                    <a:pt x="272" y="83"/>
                  </a:cubicBezTo>
                  <a:cubicBezTo>
                    <a:pt x="211" y="29"/>
                    <a:pt x="129" y="0"/>
                    <a:pt x="47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55" name="文本框 54"/>
          <p:cNvSpPr txBox="1"/>
          <p:nvPr/>
        </p:nvSpPr>
        <p:spPr>
          <a:xfrm>
            <a:off x="4669653" y="3107086"/>
            <a:ext cx="5313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dirty="0" smtClean="0">
                <a:solidFill>
                  <a:schemeClr val="bg1"/>
                </a:solidFill>
                <a:latin typeface="张海山锐谐体" panose="02000000000000000000" pitchFamily="2" charset="-122"/>
                <a:ea typeface="张海山锐谐体" panose="02000000000000000000" pitchFamily="2" charset="-122"/>
              </a:rPr>
              <a:t>点击此处添加文本</a:t>
            </a:r>
            <a:endParaRPr lang="zh-CN" altLang="en-US" sz="4800" dirty="0">
              <a:solidFill>
                <a:schemeClr val="bg1"/>
              </a:solidFill>
              <a:latin typeface="张海山锐谐体" panose="02000000000000000000" pitchFamily="2" charset="-122"/>
              <a:ea typeface="张海山锐谐体" panose="02000000000000000000" pitchFamily="2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9496021" y="3278703"/>
            <a:ext cx="974168" cy="764412"/>
            <a:chOff x="9496021" y="3278703"/>
            <a:chExt cx="974168" cy="764412"/>
          </a:xfrm>
        </p:grpSpPr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9496021" y="3278703"/>
              <a:ext cx="974168" cy="764412"/>
            </a:xfrm>
            <a:custGeom>
              <a:avLst/>
              <a:gdLst>
                <a:gd name="T0" fmla="*/ 72 w 292"/>
                <a:gd name="T1" fmla="*/ 211 h 229"/>
                <a:gd name="T2" fmla="*/ 130 w 292"/>
                <a:gd name="T3" fmla="*/ 166 h 229"/>
                <a:gd name="T4" fmla="*/ 149 w 292"/>
                <a:gd name="T5" fmla="*/ 173 h 229"/>
                <a:gd name="T6" fmla="*/ 182 w 292"/>
                <a:gd name="T7" fmla="*/ 164 h 229"/>
                <a:gd name="T8" fmla="*/ 267 w 292"/>
                <a:gd name="T9" fmla="*/ 137 h 229"/>
                <a:gd name="T10" fmla="*/ 280 w 292"/>
                <a:gd name="T11" fmla="*/ 111 h 229"/>
                <a:gd name="T12" fmla="*/ 239 w 292"/>
                <a:gd name="T13" fmla="*/ 16 h 229"/>
                <a:gd name="T14" fmla="*/ 191 w 292"/>
                <a:gd name="T15" fmla="*/ 0 h 229"/>
                <a:gd name="T16" fmla="*/ 141 w 292"/>
                <a:gd name="T17" fmla="*/ 43 h 229"/>
                <a:gd name="T18" fmla="*/ 109 w 292"/>
                <a:gd name="T19" fmla="*/ 86 h 229"/>
                <a:gd name="T20" fmla="*/ 134 w 292"/>
                <a:gd name="T21" fmla="*/ 121 h 229"/>
                <a:gd name="T22" fmla="*/ 182 w 292"/>
                <a:gd name="T23" fmla="*/ 143 h 229"/>
                <a:gd name="T24" fmla="*/ 210 w 292"/>
                <a:gd name="T25" fmla="*/ 127 h 229"/>
                <a:gd name="T26" fmla="*/ 201 w 292"/>
                <a:gd name="T27" fmla="*/ 39 h 229"/>
                <a:gd name="T28" fmla="*/ 188 w 292"/>
                <a:gd name="T29" fmla="*/ 103 h 229"/>
                <a:gd name="T30" fmla="*/ 206 w 292"/>
                <a:gd name="T31" fmla="*/ 67 h 229"/>
                <a:gd name="T32" fmla="*/ 170 w 292"/>
                <a:gd name="T33" fmla="*/ 81 h 229"/>
                <a:gd name="T34" fmla="*/ 147 w 292"/>
                <a:gd name="T35" fmla="*/ 99 h 229"/>
                <a:gd name="T36" fmla="*/ 102 w 292"/>
                <a:gd name="T37" fmla="*/ 161 h 229"/>
                <a:gd name="T38" fmla="*/ 13 w 292"/>
                <a:gd name="T39" fmla="*/ 201 h 229"/>
                <a:gd name="T40" fmla="*/ 5 w 292"/>
                <a:gd name="T41" fmla="*/ 219 h 229"/>
                <a:gd name="T42" fmla="*/ 6 w 292"/>
                <a:gd name="T43" fmla="*/ 219 h 229"/>
                <a:gd name="T44" fmla="*/ 23 w 292"/>
                <a:gd name="T45" fmla="*/ 209 h 229"/>
                <a:gd name="T46" fmla="*/ 6 w 292"/>
                <a:gd name="T47" fmla="*/ 219 h 229"/>
                <a:gd name="T48" fmla="*/ 88 w 292"/>
                <a:gd name="T49" fmla="*/ 184 h 229"/>
                <a:gd name="T50" fmla="*/ 132 w 292"/>
                <a:gd name="T51" fmla="*/ 118 h 229"/>
                <a:gd name="T52" fmla="*/ 174 w 292"/>
                <a:gd name="T53" fmla="*/ 83 h 229"/>
                <a:gd name="T54" fmla="*/ 190 w 292"/>
                <a:gd name="T55" fmla="*/ 62 h 229"/>
                <a:gd name="T56" fmla="*/ 206 w 292"/>
                <a:gd name="T57" fmla="*/ 89 h 229"/>
                <a:gd name="T58" fmla="*/ 167 w 292"/>
                <a:gd name="T59" fmla="*/ 77 h 229"/>
                <a:gd name="T60" fmla="*/ 233 w 292"/>
                <a:gd name="T61" fmla="*/ 82 h 229"/>
                <a:gd name="T62" fmla="*/ 195 w 292"/>
                <a:gd name="T63" fmla="*/ 128 h 229"/>
                <a:gd name="T64" fmla="*/ 192 w 292"/>
                <a:gd name="T65" fmla="*/ 129 h 229"/>
                <a:gd name="T66" fmla="*/ 143 w 292"/>
                <a:gd name="T67" fmla="*/ 129 h 229"/>
                <a:gd name="T68" fmla="*/ 137 w 292"/>
                <a:gd name="T69" fmla="*/ 119 h 229"/>
                <a:gd name="T70" fmla="*/ 124 w 292"/>
                <a:gd name="T71" fmla="*/ 111 h 229"/>
                <a:gd name="T72" fmla="*/ 137 w 292"/>
                <a:gd name="T73" fmla="*/ 47 h 229"/>
                <a:gd name="T74" fmla="*/ 142 w 292"/>
                <a:gd name="T75" fmla="*/ 45 h 229"/>
                <a:gd name="T76" fmla="*/ 191 w 292"/>
                <a:gd name="T77" fmla="*/ 4 h 229"/>
                <a:gd name="T78" fmla="*/ 229 w 292"/>
                <a:gd name="T79" fmla="*/ 20 h 229"/>
                <a:gd name="T80" fmla="*/ 239 w 292"/>
                <a:gd name="T81" fmla="*/ 20 h 229"/>
                <a:gd name="T82" fmla="*/ 277 w 292"/>
                <a:gd name="T83" fmla="*/ 109 h 229"/>
                <a:gd name="T84" fmla="*/ 268 w 292"/>
                <a:gd name="T85" fmla="*/ 117 h 229"/>
                <a:gd name="T86" fmla="*/ 263 w 292"/>
                <a:gd name="T87" fmla="*/ 138 h 229"/>
                <a:gd name="T88" fmla="*/ 185 w 292"/>
                <a:gd name="T89" fmla="*/ 163 h 229"/>
                <a:gd name="T90" fmla="*/ 181 w 292"/>
                <a:gd name="T91" fmla="*/ 163 h 229"/>
                <a:gd name="T92" fmla="*/ 141 w 292"/>
                <a:gd name="T93" fmla="*/ 165 h 229"/>
                <a:gd name="T94" fmla="*/ 117 w 292"/>
                <a:gd name="T95" fmla="*/ 171 h 229"/>
                <a:gd name="T96" fmla="*/ 32 w 292"/>
                <a:gd name="T97" fmla="*/ 209 h 229"/>
                <a:gd name="T98" fmla="*/ 23 w 292"/>
                <a:gd name="T99" fmla="*/ 2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229">
                  <a:moveTo>
                    <a:pt x="23" y="209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3" y="211"/>
                    <a:pt x="36" y="214"/>
                    <a:pt x="51" y="214"/>
                  </a:cubicBezTo>
                  <a:cubicBezTo>
                    <a:pt x="58" y="214"/>
                    <a:pt x="66" y="213"/>
                    <a:pt x="72" y="211"/>
                  </a:cubicBezTo>
                  <a:cubicBezTo>
                    <a:pt x="92" y="206"/>
                    <a:pt x="105" y="191"/>
                    <a:pt x="110" y="185"/>
                  </a:cubicBezTo>
                  <a:cubicBezTo>
                    <a:pt x="112" y="181"/>
                    <a:pt x="117" y="177"/>
                    <a:pt x="121" y="173"/>
                  </a:cubicBezTo>
                  <a:cubicBezTo>
                    <a:pt x="123" y="171"/>
                    <a:pt x="126" y="169"/>
                    <a:pt x="127" y="168"/>
                  </a:cubicBezTo>
                  <a:cubicBezTo>
                    <a:pt x="128" y="167"/>
                    <a:pt x="129" y="166"/>
                    <a:pt x="130" y="166"/>
                  </a:cubicBezTo>
                  <a:cubicBezTo>
                    <a:pt x="131" y="166"/>
                    <a:pt x="131" y="166"/>
                    <a:pt x="131" y="166"/>
                  </a:cubicBezTo>
                  <a:cubicBezTo>
                    <a:pt x="132" y="166"/>
                    <a:pt x="133" y="166"/>
                    <a:pt x="135" y="167"/>
                  </a:cubicBezTo>
                  <a:cubicBezTo>
                    <a:pt x="137" y="167"/>
                    <a:pt x="140" y="169"/>
                    <a:pt x="142" y="170"/>
                  </a:cubicBezTo>
                  <a:cubicBezTo>
                    <a:pt x="145" y="171"/>
                    <a:pt x="147" y="172"/>
                    <a:pt x="149" y="173"/>
                  </a:cubicBezTo>
                  <a:cubicBezTo>
                    <a:pt x="151" y="173"/>
                    <a:pt x="155" y="174"/>
                    <a:pt x="159" y="174"/>
                  </a:cubicBezTo>
                  <a:cubicBezTo>
                    <a:pt x="163" y="174"/>
                    <a:pt x="168" y="173"/>
                    <a:pt x="173" y="172"/>
                  </a:cubicBezTo>
                  <a:cubicBezTo>
                    <a:pt x="177" y="171"/>
                    <a:pt x="182" y="169"/>
                    <a:pt x="184" y="165"/>
                  </a:cubicBezTo>
                  <a:cubicBezTo>
                    <a:pt x="182" y="164"/>
                    <a:pt x="182" y="164"/>
                    <a:pt x="182" y="164"/>
                  </a:cubicBezTo>
                  <a:cubicBezTo>
                    <a:pt x="181" y="166"/>
                    <a:pt x="181" y="166"/>
                    <a:pt x="181" y="166"/>
                  </a:cubicBezTo>
                  <a:cubicBezTo>
                    <a:pt x="182" y="166"/>
                    <a:pt x="196" y="171"/>
                    <a:pt x="214" y="171"/>
                  </a:cubicBezTo>
                  <a:cubicBezTo>
                    <a:pt x="223" y="171"/>
                    <a:pt x="232" y="170"/>
                    <a:pt x="242" y="166"/>
                  </a:cubicBezTo>
                  <a:cubicBezTo>
                    <a:pt x="256" y="159"/>
                    <a:pt x="263" y="147"/>
                    <a:pt x="267" y="137"/>
                  </a:cubicBezTo>
                  <a:cubicBezTo>
                    <a:pt x="271" y="127"/>
                    <a:pt x="271" y="119"/>
                    <a:pt x="271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70" y="120"/>
                    <a:pt x="275" y="117"/>
                    <a:pt x="280" y="111"/>
                  </a:cubicBezTo>
                  <a:cubicBezTo>
                    <a:pt x="284" y="105"/>
                    <a:pt x="290" y="97"/>
                    <a:pt x="291" y="86"/>
                  </a:cubicBezTo>
                  <a:cubicBezTo>
                    <a:pt x="292" y="82"/>
                    <a:pt x="292" y="78"/>
                    <a:pt x="292" y="75"/>
                  </a:cubicBezTo>
                  <a:cubicBezTo>
                    <a:pt x="292" y="59"/>
                    <a:pt x="287" y="45"/>
                    <a:pt x="279" y="35"/>
                  </a:cubicBezTo>
                  <a:cubicBezTo>
                    <a:pt x="271" y="24"/>
                    <a:pt x="255" y="16"/>
                    <a:pt x="239" y="16"/>
                  </a:cubicBezTo>
                  <a:cubicBezTo>
                    <a:pt x="236" y="16"/>
                    <a:pt x="233" y="16"/>
                    <a:pt x="230" y="17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2" y="17"/>
                    <a:pt x="232" y="17"/>
                    <a:pt x="232" y="17"/>
                  </a:cubicBezTo>
                  <a:cubicBezTo>
                    <a:pt x="232" y="17"/>
                    <a:pt x="214" y="0"/>
                    <a:pt x="191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78" y="0"/>
                    <a:pt x="167" y="4"/>
                    <a:pt x="157" y="11"/>
                  </a:cubicBezTo>
                  <a:cubicBezTo>
                    <a:pt x="148" y="19"/>
                    <a:pt x="141" y="29"/>
                    <a:pt x="139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0" y="41"/>
                    <a:pt x="140" y="41"/>
                    <a:pt x="140" y="41"/>
                  </a:cubicBezTo>
                  <a:cubicBezTo>
                    <a:pt x="140" y="41"/>
                    <a:pt x="132" y="44"/>
                    <a:pt x="125" y="51"/>
                  </a:cubicBezTo>
                  <a:cubicBezTo>
                    <a:pt x="117" y="58"/>
                    <a:pt x="110" y="68"/>
                    <a:pt x="109" y="83"/>
                  </a:cubicBezTo>
                  <a:cubicBezTo>
                    <a:pt x="109" y="84"/>
                    <a:pt x="109" y="85"/>
                    <a:pt x="109" y="86"/>
                  </a:cubicBezTo>
                  <a:cubicBezTo>
                    <a:pt x="109" y="100"/>
                    <a:pt x="116" y="109"/>
                    <a:pt x="122" y="115"/>
                  </a:cubicBezTo>
                  <a:cubicBezTo>
                    <a:pt x="128" y="120"/>
                    <a:pt x="135" y="122"/>
                    <a:pt x="135" y="122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4" y="121"/>
                    <a:pt x="134" y="121"/>
                    <a:pt x="134" y="121"/>
                  </a:cubicBezTo>
                  <a:cubicBezTo>
                    <a:pt x="134" y="121"/>
                    <a:pt x="136" y="126"/>
                    <a:pt x="139" y="131"/>
                  </a:cubicBezTo>
                  <a:cubicBezTo>
                    <a:pt x="143" y="137"/>
                    <a:pt x="148" y="143"/>
                    <a:pt x="155" y="145"/>
                  </a:cubicBezTo>
                  <a:cubicBezTo>
                    <a:pt x="158" y="146"/>
                    <a:pt x="161" y="147"/>
                    <a:pt x="164" y="147"/>
                  </a:cubicBezTo>
                  <a:cubicBezTo>
                    <a:pt x="170" y="147"/>
                    <a:pt x="176" y="145"/>
                    <a:pt x="182" y="143"/>
                  </a:cubicBezTo>
                  <a:cubicBezTo>
                    <a:pt x="187" y="140"/>
                    <a:pt x="192" y="136"/>
                    <a:pt x="195" y="131"/>
                  </a:cubicBezTo>
                  <a:cubicBezTo>
                    <a:pt x="194" y="130"/>
                    <a:pt x="194" y="130"/>
                    <a:pt x="194" y="130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4" y="132"/>
                    <a:pt x="201" y="130"/>
                    <a:pt x="210" y="127"/>
                  </a:cubicBezTo>
                  <a:cubicBezTo>
                    <a:pt x="218" y="124"/>
                    <a:pt x="227" y="118"/>
                    <a:pt x="231" y="109"/>
                  </a:cubicBezTo>
                  <a:cubicBezTo>
                    <a:pt x="234" y="102"/>
                    <a:pt x="237" y="92"/>
                    <a:pt x="237" y="82"/>
                  </a:cubicBezTo>
                  <a:cubicBezTo>
                    <a:pt x="237" y="69"/>
                    <a:pt x="233" y="55"/>
                    <a:pt x="222" y="47"/>
                  </a:cubicBezTo>
                  <a:cubicBezTo>
                    <a:pt x="215" y="41"/>
                    <a:pt x="208" y="39"/>
                    <a:pt x="201" y="39"/>
                  </a:cubicBezTo>
                  <a:cubicBezTo>
                    <a:pt x="188" y="39"/>
                    <a:pt x="177" y="46"/>
                    <a:pt x="170" y="54"/>
                  </a:cubicBezTo>
                  <a:cubicBezTo>
                    <a:pt x="165" y="60"/>
                    <a:pt x="163" y="69"/>
                    <a:pt x="163" y="77"/>
                  </a:cubicBezTo>
                  <a:cubicBezTo>
                    <a:pt x="163" y="84"/>
                    <a:pt x="164" y="91"/>
                    <a:pt x="169" y="96"/>
                  </a:cubicBezTo>
                  <a:cubicBezTo>
                    <a:pt x="174" y="100"/>
                    <a:pt x="181" y="103"/>
                    <a:pt x="188" y="103"/>
                  </a:cubicBezTo>
                  <a:cubicBezTo>
                    <a:pt x="192" y="103"/>
                    <a:pt x="197" y="102"/>
                    <a:pt x="200" y="100"/>
                  </a:cubicBezTo>
                  <a:cubicBezTo>
                    <a:pt x="204" y="98"/>
                    <a:pt x="207" y="95"/>
                    <a:pt x="209" y="91"/>
                  </a:cubicBezTo>
                  <a:cubicBezTo>
                    <a:pt x="211" y="88"/>
                    <a:pt x="212" y="84"/>
                    <a:pt x="212" y="81"/>
                  </a:cubicBezTo>
                  <a:cubicBezTo>
                    <a:pt x="212" y="76"/>
                    <a:pt x="209" y="70"/>
                    <a:pt x="206" y="67"/>
                  </a:cubicBezTo>
                  <a:cubicBezTo>
                    <a:pt x="203" y="63"/>
                    <a:pt x="199" y="60"/>
                    <a:pt x="195" y="59"/>
                  </a:cubicBezTo>
                  <a:cubicBezTo>
                    <a:pt x="194" y="59"/>
                    <a:pt x="192" y="58"/>
                    <a:pt x="190" y="58"/>
                  </a:cubicBezTo>
                  <a:cubicBezTo>
                    <a:pt x="186" y="58"/>
                    <a:pt x="181" y="60"/>
                    <a:pt x="177" y="64"/>
                  </a:cubicBezTo>
                  <a:cubicBezTo>
                    <a:pt x="173" y="67"/>
                    <a:pt x="170" y="73"/>
                    <a:pt x="170" y="81"/>
                  </a:cubicBezTo>
                  <a:cubicBezTo>
                    <a:pt x="170" y="81"/>
                    <a:pt x="170" y="81"/>
                    <a:pt x="170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71" y="80"/>
                    <a:pt x="159" y="88"/>
                    <a:pt x="147" y="99"/>
                  </a:cubicBezTo>
                  <a:cubicBezTo>
                    <a:pt x="141" y="104"/>
                    <a:pt x="134" y="109"/>
                    <a:pt x="129" y="115"/>
                  </a:cubicBezTo>
                  <a:cubicBezTo>
                    <a:pt x="124" y="120"/>
                    <a:pt x="120" y="125"/>
                    <a:pt x="118" y="130"/>
                  </a:cubicBezTo>
                  <a:cubicBezTo>
                    <a:pt x="114" y="138"/>
                    <a:pt x="113" y="142"/>
                    <a:pt x="112" y="145"/>
                  </a:cubicBezTo>
                  <a:cubicBezTo>
                    <a:pt x="111" y="149"/>
                    <a:pt x="109" y="153"/>
                    <a:pt x="102" y="161"/>
                  </a:cubicBezTo>
                  <a:cubicBezTo>
                    <a:pt x="95" y="170"/>
                    <a:pt x="91" y="176"/>
                    <a:pt x="85" y="181"/>
                  </a:cubicBezTo>
                  <a:cubicBezTo>
                    <a:pt x="80" y="185"/>
                    <a:pt x="74" y="188"/>
                    <a:pt x="65" y="189"/>
                  </a:cubicBezTo>
                  <a:cubicBezTo>
                    <a:pt x="56" y="190"/>
                    <a:pt x="42" y="190"/>
                    <a:pt x="30" y="193"/>
                  </a:cubicBezTo>
                  <a:cubicBezTo>
                    <a:pt x="23" y="195"/>
                    <a:pt x="17" y="197"/>
                    <a:pt x="13" y="201"/>
                  </a:cubicBezTo>
                  <a:cubicBezTo>
                    <a:pt x="8" y="205"/>
                    <a:pt x="4" y="211"/>
                    <a:pt x="2" y="218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10" y="213"/>
                    <a:pt x="24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8" y="209"/>
                    <a:pt x="3" y="217"/>
                    <a:pt x="3" y="217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8" y="212"/>
                    <a:pt x="11" y="208"/>
                    <a:pt x="15" y="204"/>
                  </a:cubicBezTo>
                  <a:cubicBezTo>
                    <a:pt x="21" y="199"/>
                    <a:pt x="31" y="197"/>
                    <a:pt x="40" y="195"/>
                  </a:cubicBezTo>
                  <a:cubicBezTo>
                    <a:pt x="49" y="194"/>
                    <a:pt x="59" y="194"/>
                    <a:pt x="66" y="193"/>
                  </a:cubicBezTo>
                  <a:cubicBezTo>
                    <a:pt x="75" y="192"/>
                    <a:pt x="82" y="189"/>
                    <a:pt x="88" y="184"/>
                  </a:cubicBezTo>
                  <a:cubicBezTo>
                    <a:pt x="94" y="179"/>
                    <a:pt x="99" y="172"/>
                    <a:pt x="105" y="164"/>
                  </a:cubicBezTo>
                  <a:cubicBezTo>
                    <a:pt x="112" y="155"/>
                    <a:pt x="114" y="151"/>
                    <a:pt x="116" y="147"/>
                  </a:cubicBezTo>
                  <a:cubicBezTo>
                    <a:pt x="117" y="143"/>
                    <a:pt x="118" y="139"/>
                    <a:pt x="121" y="131"/>
                  </a:cubicBezTo>
                  <a:cubicBezTo>
                    <a:pt x="123" y="128"/>
                    <a:pt x="127" y="123"/>
                    <a:pt x="132" y="118"/>
                  </a:cubicBezTo>
                  <a:cubicBezTo>
                    <a:pt x="140" y="110"/>
                    <a:pt x="150" y="101"/>
                    <a:pt x="158" y="95"/>
                  </a:cubicBezTo>
                  <a:cubicBezTo>
                    <a:pt x="163" y="91"/>
                    <a:pt x="166" y="88"/>
                    <a:pt x="169" y="86"/>
                  </a:cubicBezTo>
                  <a:cubicBezTo>
                    <a:pt x="172" y="84"/>
                    <a:pt x="173" y="83"/>
                    <a:pt x="173" y="83"/>
                  </a:cubicBezTo>
                  <a:cubicBezTo>
                    <a:pt x="174" y="83"/>
                    <a:pt x="174" y="83"/>
                    <a:pt x="174" y="83"/>
                  </a:cubicBezTo>
                  <a:cubicBezTo>
                    <a:pt x="174" y="82"/>
                    <a:pt x="174" y="82"/>
                    <a:pt x="174" y="82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74"/>
                    <a:pt x="176" y="69"/>
                    <a:pt x="179" y="66"/>
                  </a:cubicBezTo>
                  <a:cubicBezTo>
                    <a:pt x="182" y="64"/>
                    <a:pt x="187" y="62"/>
                    <a:pt x="190" y="62"/>
                  </a:cubicBezTo>
                  <a:cubicBezTo>
                    <a:pt x="192" y="62"/>
                    <a:pt x="193" y="63"/>
                    <a:pt x="194" y="63"/>
                  </a:cubicBezTo>
                  <a:cubicBezTo>
                    <a:pt x="197" y="64"/>
                    <a:pt x="201" y="66"/>
                    <a:pt x="203" y="69"/>
                  </a:cubicBezTo>
                  <a:cubicBezTo>
                    <a:pt x="206" y="72"/>
                    <a:pt x="208" y="77"/>
                    <a:pt x="208" y="81"/>
                  </a:cubicBezTo>
                  <a:cubicBezTo>
                    <a:pt x="208" y="84"/>
                    <a:pt x="207" y="86"/>
                    <a:pt x="206" y="89"/>
                  </a:cubicBezTo>
                  <a:cubicBezTo>
                    <a:pt x="204" y="92"/>
                    <a:pt x="202" y="95"/>
                    <a:pt x="198" y="96"/>
                  </a:cubicBezTo>
                  <a:cubicBezTo>
                    <a:pt x="195" y="98"/>
                    <a:pt x="192" y="99"/>
                    <a:pt x="188" y="99"/>
                  </a:cubicBezTo>
                  <a:cubicBezTo>
                    <a:pt x="182" y="99"/>
                    <a:pt x="175" y="96"/>
                    <a:pt x="172" y="93"/>
                  </a:cubicBezTo>
                  <a:cubicBezTo>
                    <a:pt x="168" y="89"/>
                    <a:pt x="167" y="83"/>
                    <a:pt x="167" y="77"/>
                  </a:cubicBezTo>
                  <a:cubicBezTo>
                    <a:pt x="167" y="70"/>
                    <a:pt x="169" y="62"/>
                    <a:pt x="174" y="56"/>
                  </a:cubicBezTo>
                  <a:cubicBezTo>
                    <a:pt x="179" y="50"/>
                    <a:pt x="190" y="43"/>
                    <a:pt x="201" y="43"/>
                  </a:cubicBezTo>
                  <a:cubicBezTo>
                    <a:pt x="207" y="43"/>
                    <a:pt x="213" y="45"/>
                    <a:pt x="220" y="50"/>
                  </a:cubicBezTo>
                  <a:cubicBezTo>
                    <a:pt x="229" y="57"/>
                    <a:pt x="233" y="69"/>
                    <a:pt x="233" y="82"/>
                  </a:cubicBezTo>
                  <a:cubicBezTo>
                    <a:pt x="233" y="91"/>
                    <a:pt x="230" y="101"/>
                    <a:pt x="227" y="108"/>
                  </a:cubicBezTo>
                  <a:cubicBezTo>
                    <a:pt x="224" y="115"/>
                    <a:pt x="216" y="120"/>
                    <a:pt x="208" y="123"/>
                  </a:cubicBezTo>
                  <a:cubicBezTo>
                    <a:pt x="204" y="125"/>
                    <a:pt x="200" y="126"/>
                    <a:pt x="198" y="127"/>
                  </a:cubicBezTo>
                  <a:cubicBezTo>
                    <a:pt x="196" y="127"/>
                    <a:pt x="195" y="128"/>
                    <a:pt x="195" y="128"/>
                  </a:cubicBezTo>
                  <a:cubicBezTo>
                    <a:pt x="194" y="128"/>
                    <a:pt x="194" y="128"/>
                    <a:pt x="194" y="128"/>
                  </a:cubicBezTo>
                  <a:cubicBezTo>
                    <a:pt x="193" y="128"/>
                    <a:pt x="193" y="128"/>
                    <a:pt x="193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92" y="129"/>
                    <a:pt x="192" y="129"/>
                    <a:pt x="192" y="129"/>
                  </a:cubicBezTo>
                  <a:cubicBezTo>
                    <a:pt x="189" y="133"/>
                    <a:pt x="185" y="137"/>
                    <a:pt x="180" y="139"/>
                  </a:cubicBezTo>
                  <a:cubicBezTo>
                    <a:pt x="175" y="141"/>
                    <a:pt x="169" y="143"/>
                    <a:pt x="164" y="143"/>
                  </a:cubicBezTo>
                  <a:cubicBezTo>
                    <a:pt x="161" y="143"/>
                    <a:pt x="158" y="142"/>
                    <a:pt x="156" y="141"/>
                  </a:cubicBezTo>
                  <a:cubicBezTo>
                    <a:pt x="151" y="140"/>
                    <a:pt x="146" y="134"/>
                    <a:pt x="143" y="129"/>
                  </a:cubicBezTo>
                  <a:cubicBezTo>
                    <a:pt x="141" y="127"/>
                    <a:pt x="140" y="124"/>
                    <a:pt x="139" y="122"/>
                  </a:cubicBezTo>
                  <a:cubicBezTo>
                    <a:pt x="138" y="122"/>
                    <a:pt x="138" y="121"/>
                    <a:pt x="138" y="120"/>
                  </a:cubicBezTo>
                  <a:cubicBezTo>
                    <a:pt x="138" y="120"/>
                    <a:pt x="138" y="120"/>
                    <a:pt x="138" y="120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0" y="116"/>
                    <a:pt x="124" y="111"/>
                  </a:cubicBezTo>
                  <a:cubicBezTo>
                    <a:pt x="118" y="106"/>
                    <a:pt x="113" y="98"/>
                    <a:pt x="113" y="86"/>
                  </a:cubicBezTo>
                  <a:cubicBezTo>
                    <a:pt x="113" y="85"/>
                    <a:pt x="113" y="84"/>
                    <a:pt x="113" y="84"/>
                  </a:cubicBezTo>
                  <a:cubicBezTo>
                    <a:pt x="114" y="70"/>
                    <a:pt x="121" y="60"/>
                    <a:pt x="128" y="54"/>
                  </a:cubicBezTo>
                  <a:cubicBezTo>
                    <a:pt x="131" y="51"/>
                    <a:pt x="135" y="49"/>
                    <a:pt x="137" y="47"/>
                  </a:cubicBezTo>
                  <a:cubicBezTo>
                    <a:pt x="138" y="46"/>
                    <a:pt x="140" y="46"/>
                    <a:pt x="140" y="46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43" y="44"/>
                    <a:pt x="143" y="44"/>
                    <a:pt x="143" y="44"/>
                  </a:cubicBezTo>
                  <a:cubicBezTo>
                    <a:pt x="145" y="31"/>
                    <a:pt x="151" y="21"/>
                    <a:pt x="160" y="15"/>
                  </a:cubicBezTo>
                  <a:cubicBezTo>
                    <a:pt x="168" y="8"/>
                    <a:pt x="179" y="4"/>
                    <a:pt x="190" y="4"/>
                  </a:cubicBezTo>
                  <a:cubicBezTo>
                    <a:pt x="191" y="4"/>
                    <a:pt x="191" y="4"/>
                    <a:pt x="191" y="4"/>
                  </a:cubicBezTo>
                  <a:cubicBezTo>
                    <a:pt x="201" y="4"/>
                    <a:pt x="211" y="8"/>
                    <a:pt x="218" y="12"/>
                  </a:cubicBezTo>
                  <a:cubicBezTo>
                    <a:pt x="222" y="14"/>
                    <a:pt x="224" y="16"/>
                    <a:pt x="226" y="18"/>
                  </a:cubicBezTo>
                  <a:cubicBezTo>
                    <a:pt x="227" y="19"/>
                    <a:pt x="228" y="19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30" y="21"/>
                    <a:pt x="230" y="21"/>
                    <a:pt x="230" y="21"/>
                  </a:cubicBezTo>
                  <a:cubicBezTo>
                    <a:pt x="231" y="21"/>
                    <a:pt x="231" y="21"/>
                    <a:pt x="231" y="21"/>
                  </a:cubicBezTo>
                  <a:cubicBezTo>
                    <a:pt x="234" y="20"/>
                    <a:pt x="236" y="20"/>
                    <a:pt x="239" y="20"/>
                  </a:cubicBezTo>
                  <a:cubicBezTo>
                    <a:pt x="254" y="20"/>
                    <a:pt x="268" y="27"/>
                    <a:pt x="276" y="37"/>
                  </a:cubicBezTo>
                  <a:cubicBezTo>
                    <a:pt x="283" y="47"/>
                    <a:pt x="288" y="60"/>
                    <a:pt x="288" y="75"/>
                  </a:cubicBezTo>
                  <a:cubicBezTo>
                    <a:pt x="288" y="78"/>
                    <a:pt x="288" y="82"/>
                    <a:pt x="287" y="85"/>
                  </a:cubicBezTo>
                  <a:cubicBezTo>
                    <a:pt x="286" y="95"/>
                    <a:pt x="281" y="103"/>
                    <a:pt x="277" y="109"/>
                  </a:cubicBezTo>
                  <a:cubicBezTo>
                    <a:pt x="274" y="111"/>
                    <a:pt x="272" y="114"/>
                    <a:pt x="270" y="115"/>
                  </a:cubicBezTo>
                  <a:cubicBezTo>
                    <a:pt x="270" y="116"/>
                    <a:pt x="269" y="116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7" y="118"/>
                    <a:pt x="267" y="118"/>
                    <a:pt x="267" y="118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21"/>
                    <a:pt x="266" y="129"/>
                    <a:pt x="263" y="138"/>
                  </a:cubicBezTo>
                  <a:cubicBezTo>
                    <a:pt x="259" y="146"/>
                    <a:pt x="252" y="156"/>
                    <a:pt x="240" y="162"/>
                  </a:cubicBezTo>
                  <a:cubicBezTo>
                    <a:pt x="231" y="166"/>
                    <a:pt x="222" y="167"/>
                    <a:pt x="214" y="167"/>
                  </a:cubicBezTo>
                  <a:cubicBezTo>
                    <a:pt x="205" y="167"/>
                    <a:pt x="198" y="166"/>
                    <a:pt x="192" y="165"/>
                  </a:cubicBezTo>
                  <a:cubicBezTo>
                    <a:pt x="189" y="164"/>
                    <a:pt x="187" y="163"/>
                    <a:pt x="185" y="163"/>
                  </a:cubicBezTo>
                  <a:cubicBezTo>
                    <a:pt x="185" y="162"/>
                    <a:pt x="184" y="162"/>
                    <a:pt x="184" y="162"/>
                  </a:cubicBezTo>
                  <a:cubicBezTo>
                    <a:pt x="183" y="162"/>
                    <a:pt x="183" y="162"/>
                    <a:pt x="183" y="162"/>
                  </a:cubicBezTo>
                  <a:cubicBezTo>
                    <a:pt x="181" y="161"/>
                    <a:pt x="181" y="161"/>
                    <a:pt x="181" y="161"/>
                  </a:cubicBezTo>
                  <a:cubicBezTo>
                    <a:pt x="181" y="163"/>
                    <a:pt x="181" y="163"/>
                    <a:pt x="181" y="163"/>
                  </a:cubicBezTo>
                  <a:cubicBezTo>
                    <a:pt x="179" y="165"/>
                    <a:pt x="176" y="167"/>
                    <a:pt x="172" y="168"/>
                  </a:cubicBezTo>
                  <a:cubicBezTo>
                    <a:pt x="168" y="169"/>
                    <a:pt x="163" y="170"/>
                    <a:pt x="159" y="170"/>
                  </a:cubicBezTo>
                  <a:cubicBezTo>
                    <a:pt x="155" y="170"/>
                    <a:pt x="151" y="169"/>
                    <a:pt x="150" y="169"/>
                  </a:cubicBezTo>
                  <a:cubicBezTo>
                    <a:pt x="148" y="169"/>
                    <a:pt x="145" y="167"/>
                    <a:pt x="141" y="165"/>
                  </a:cubicBezTo>
                  <a:cubicBezTo>
                    <a:pt x="140" y="164"/>
                    <a:pt x="138" y="164"/>
                    <a:pt x="136" y="163"/>
                  </a:cubicBezTo>
                  <a:cubicBezTo>
                    <a:pt x="135" y="162"/>
                    <a:pt x="133" y="162"/>
                    <a:pt x="131" y="162"/>
                  </a:cubicBezTo>
                  <a:cubicBezTo>
                    <a:pt x="130" y="162"/>
                    <a:pt x="129" y="162"/>
                    <a:pt x="128" y="163"/>
                  </a:cubicBezTo>
                  <a:cubicBezTo>
                    <a:pt x="125" y="164"/>
                    <a:pt x="121" y="167"/>
                    <a:pt x="117" y="171"/>
                  </a:cubicBezTo>
                  <a:cubicBezTo>
                    <a:pt x="113" y="175"/>
                    <a:pt x="109" y="179"/>
                    <a:pt x="107" y="182"/>
                  </a:cubicBezTo>
                  <a:cubicBezTo>
                    <a:pt x="102" y="188"/>
                    <a:pt x="89" y="203"/>
                    <a:pt x="71" y="208"/>
                  </a:cubicBezTo>
                  <a:cubicBezTo>
                    <a:pt x="65" y="209"/>
                    <a:pt x="58" y="210"/>
                    <a:pt x="51" y="210"/>
                  </a:cubicBezTo>
                  <a:cubicBezTo>
                    <a:pt x="44" y="210"/>
                    <a:pt x="37" y="209"/>
                    <a:pt x="32" y="209"/>
                  </a:cubicBezTo>
                  <a:cubicBezTo>
                    <a:pt x="30" y="208"/>
                    <a:pt x="27" y="208"/>
                    <a:pt x="26" y="208"/>
                  </a:cubicBezTo>
                  <a:cubicBezTo>
                    <a:pt x="25" y="208"/>
                    <a:pt x="24" y="207"/>
                    <a:pt x="24" y="207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23" y="207"/>
                    <a:pt x="23" y="207"/>
                    <a:pt x="23" y="207"/>
                  </a:cubicBezTo>
                  <a:lnTo>
                    <a:pt x="23" y="2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19"/>
            <p:cNvSpPr>
              <a:spLocks/>
            </p:cNvSpPr>
            <p:nvPr/>
          </p:nvSpPr>
          <p:spPr bwMode="auto">
            <a:xfrm>
              <a:off x="9926794" y="3408217"/>
              <a:ext cx="360386" cy="357570"/>
            </a:xfrm>
            <a:custGeom>
              <a:avLst/>
              <a:gdLst>
                <a:gd name="T0" fmla="*/ 56 w 108"/>
                <a:gd name="T1" fmla="*/ 37 h 107"/>
                <a:gd name="T2" fmla="*/ 55 w 108"/>
                <a:gd name="T3" fmla="*/ 44 h 107"/>
                <a:gd name="T4" fmla="*/ 48 w 108"/>
                <a:gd name="T5" fmla="*/ 46 h 107"/>
                <a:gd name="T6" fmla="*/ 42 w 108"/>
                <a:gd name="T7" fmla="*/ 39 h 107"/>
                <a:gd name="T8" fmla="*/ 57 w 108"/>
                <a:gd name="T9" fmla="*/ 24 h 107"/>
                <a:gd name="T10" fmla="*/ 74 w 108"/>
                <a:gd name="T11" fmla="*/ 30 h 107"/>
                <a:gd name="T12" fmla="*/ 79 w 108"/>
                <a:gd name="T13" fmla="*/ 42 h 107"/>
                <a:gd name="T14" fmla="*/ 74 w 108"/>
                <a:gd name="T15" fmla="*/ 56 h 107"/>
                <a:gd name="T16" fmla="*/ 56 w 108"/>
                <a:gd name="T17" fmla="*/ 62 h 107"/>
                <a:gd name="T18" fmla="*/ 37 w 108"/>
                <a:gd name="T19" fmla="*/ 36 h 107"/>
                <a:gd name="T20" fmla="*/ 52 w 108"/>
                <a:gd name="T21" fmla="*/ 12 h 107"/>
                <a:gd name="T22" fmla="*/ 73 w 108"/>
                <a:gd name="T23" fmla="*/ 4 h 107"/>
                <a:gd name="T24" fmla="*/ 104 w 108"/>
                <a:gd name="T25" fmla="*/ 41 h 107"/>
                <a:gd name="T26" fmla="*/ 90 w 108"/>
                <a:gd name="T27" fmla="*/ 76 h 107"/>
                <a:gd name="T28" fmla="*/ 63 w 108"/>
                <a:gd name="T29" fmla="*/ 89 h 107"/>
                <a:gd name="T30" fmla="*/ 63 w 108"/>
                <a:gd name="T31" fmla="*/ 90 h 107"/>
                <a:gd name="T32" fmla="*/ 40 w 108"/>
                <a:gd name="T33" fmla="*/ 103 h 107"/>
                <a:gd name="T34" fmla="*/ 18 w 108"/>
                <a:gd name="T35" fmla="*/ 94 h 107"/>
                <a:gd name="T36" fmla="*/ 8 w 108"/>
                <a:gd name="T37" fmla="*/ 80 h 107"/>
                <a:gd name="T38" fmla="*/ 0 w 108"/>
                <a:gd name="T39" fmla="*/ 80 h 107"/>
                <a:gd name="T40" fmla="*/ 7 w 108"/>
                <a:gd name="T41" fmla="*/ 81 h 107"/>
                <a:gd name="T42" fmla="*/ 15 w 108"/>
                <a:gd name="T43" fmla="*/ 97 h 107"/>
                <a:gd name="T44" fmla="*/ 40 w 108"/>
                <a:gd name="T45" fmla="*/ 107 h 107"/>
                <a:gd name="T46" fmla="*/ 67 w 108"/>
                <a:gd name="T47" fmla="*/ 92 h 107"/>
                <a:gd name="T48" fmla="*/ 65 w 108"/>
                <a:gd name="T49" fmla="*/ 93 h 107"/>
                <a:gd name="T50" fmla="*/ 108 w 108"/>
                <a:gd name="T51" fmla="*/ 45 h 107"/>
                <a:gd name="T52" fmla="*/ 96 w 108"/>
                <a:gd name="T53" fmla="*/ 10 h 107"/>
                <a:gd name="T54" fmla="*/ 72 w 108"/>
                <a:gd name="T55" fmla="*/ 0 h 107"/>
                <a:gd name="T56" fmla="*/ 35 w 108"/>
                <a:gd name="T57" fmla="*/ 26 h 107"/>
                <a:gd name="T58" fmla="*/ 39 w 108"/>
                <a:gd name="T59" fmla="*/ 55 h 107"/>
                <a:gd name="T60" fmla="*/ 59 w 108"/>
                <a:gd name="T61" fmla="*/ 66 h 107"/>
                <a:gd name="T62" fmla="*/ 83 w 108"/>
                <a:gd name="T63" fmla="*/ 42 h 107"/>
                <a:gd name="T64" fmla="*/ 83 w 108"/>
                <a:gd name="T65" fmla="*/ 42 h 107"/>
                <a:gd name="T66" fmla="*/ 59 w 108"/>
                <a:gd name="T67" fmla="*/ 20 h 107"/>
                <a:gd name="T68" fmla="*/ 43 w 108"/>
                <a:gd name="T69" fmla="*/ 26 h 107"/>
                <a:gd name="T70" fmla="*/ 41 w 108"/>
                <a:gd name="T71" fmla="*/ 46 h 107"/>
                <a:gd name="T72" fmla="*/ 50 w 108"/>
                <a:gd name="T73" fmla="*/ 50 h 107"/>
                <a:gd name="T74" fmla="*/ 60 w 108"/>
                <a:gd name="T75" fmla="*/ 41 h 107"/>
                <a:gd name="T76" fmla="*/ 56 w 108"/>
                <a:gd name="T77" fmla="*/ 3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" h="107"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8"/>
                    <a:pt x="56" y="39"/>
                    <a:pt x="56" y="41"/>
                  </a:cubicBezTo>
                  <a:cubicBezTo>
                    <a:pt x="56" y="42"/>
                    <a:pt x="56" y="44"/>
                    <a:pt x="55" y="44"/>
                  </a:cubicBezTo>
                  <a:cubicBezTo>
                    <a:pt x="55" y="45"/>
                    <a:pt x="53" y="46"/>
                    <a:pt x="50" y="46"/>
                  </a:cubicBezTo>
                  <a:cubicBezTo>
                    <a:pt x="50" y="46"/>
                    <a:pt x="49" y="46"/>
                    <a:pt x="48" y="46"/>
                  </a:cubicBezTo>
                  <a:cubicBezTo>
                    <a:pt x="46" y="46"/>
                    <a:pt x="45" y="45"/>
                    <a:pt x="44" y="44"/>
                  </a:cubicBezTo>
                  <a:cubicBezTo>
                    <a:pt x="43" y="42"/>
                    <a:pt x="42" y="41"/>
                    <a:pt x="42" y="39"/>
                  </a:cubicBezTo>
                  <a:cubicBezTo>
                    <a:pt x="42" y="36"/>
                    <a:pt x="44" y="32"/>
                    <a:pt x="46" y="29"/>
                  </a:cubicBezTo>
                  <a:cubicBezTo>
                    <a:pt x="49" y="26"/>
                    <a:pt x="52" y="24"/>
                    <a:pt x="57" y="24"/>
                  </a:cubicBezTo>
                  <a:cubicBezTo>
                    <a:pt x="57" y="24"/>
                    <a:pt x="58" y="24"/>
                    <a:pt x="58" y="24"/>
                  </a:cubicBezTo>
                  <a:cubicBezTo>
                    <a:pt x="66" y="25"/>
                    <a:pt x="71" y="27"/>
                    <a:pt x="74" y="30"/>
                  </a:cubicBezTo>
                  <a:cubicBezTo>
                    <a:pt x="77" y="33"/>
                    <a:pt x="78" y="37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8" y="47"/>
                    <a:pt x="77" y="52"/>
                    <a:pt x="74" y="56"/>
                  </a:cubicBezTo>
                  <a:cubicBezTo>
                    <a:pt x="70" y="59"/>
                    <a:pt x="66" y="62"/>
                    <a:pt x="59" y="62"/>
                  </a:cubicBezTo>
                  <a:cubicBezTo>
                    <a:pt x="58" y="62"/>
                    <a:pt x="57" y="62"/>
                    <a:pt x="56" y="62"/>
                  </a:cubicBezTo>
                  <a:cubicBezTo>
                    <a:pt x="50" y="61"/>
                    <a:pt x="45" y="57"/>
                    <a:pt x="42" y="52"/>
                  </a:cubicBezTo>
                  <a:cubicBezTo>
                    <a:pt x="39" y="48"/>
                    <a:pt x="37" y="41"/>
                    <a:pt x="37" y="36"/>
                  </a:cubicBezTo>
                  <a:cubicBezTo>
                    <a:pt x="37" y="33"/>
                    <a:pt x="38" y="30"/>
                    <a:pt x="39" y="28"/>
                  </a:cubicBezTo>
                  <a:cubicBezTo>
                    <a:pt x="42" y="23"/>
                    <a:pt x="46" y="17"/>
                    <a:pt x="52" y="12"/>
                  </a:cubicBezTo>
                  <a:cubicBezTo>
                    <a:pt x="57" y="7"/>
                    <a:pt x="64" y="4"/>
                    <a:pt x="72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81" y="4"/>
                    <a:pt x="88" y="7"/>
                    <a:pt x="93" y="12"/>
                  </a:cubicBezTo>
                  <a:cubicBezTo>
                    <a:pt x="98" y="18"/>
                    <a:pt x="102" y="27"/>
                    <a:pt x="104" y="41"/>
                  </a:cubicBezTo>
                  <a:cubicBezTo>
                    <a:pt x="104" y="42"/>
                    <a:pt x="104" y="44"/>
                    <a:pt x="104" y="45"/>
                  </a:cubicBezTo>
                  <a:cubicBezTo>
                    <a:pt x="104" y="57"/>
                    <a:pt x="98" y="68"/>
                    <a:pt x="90" y="76"/>
                  </a:cubicBezTo>
                  <a:cubicBezTo>
                    <a:pt x="83" y="84"/>
                    <a:pt x="73" y="89"/>
                    <a:pt x="65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1" y="93"/>
                    <a:pt x="58" y="97"/>
                  </a:cubicBezTo>
                  <a:cubicBezTo>
                    <a:pt x="54" y="100"/>
                    <a:pt x="49" y="103"/>
                    <a:pt x="40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0" y="103"/>
                    <a:pt x="23" y="99"/>
                    <a:pt x="18" y="94"/>
                  </a:cubicBezTo>
                  <a:cubicBezTo>
                    <a:pt x="13" y="90"/>
                    <a:pt x="9" y="84"/>
                    <a:pt x="9" y="81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6" y="86"/>
                    <a:pt x="9" y="92"/>
                    <a:pt x="15" y="97"/>
                  </a:cubicBezTo>
                  <a:cubicBezTo>
                    <a:pt x="21" y="103"/>
                    <a:pt x="29" y="107"/>
                    <a:pt x="39" y="107"/>
                  </a:cubicBezTo>
                  <a:cubicBezTo>
                    <a:pt x="39" y="107"/>
                    <a:pt x="39" y="107"/>
                    <a:pt x="40" y="107"/>
                  </a:cubicBezTo>
                  <a:cubicBezTo>
                    <a:pt x="50" y="107"/>
                    <a:pt x="57" y="103"/>
                    <a:pt x="61" y="99"/>
                  </a:cubicBezTo>
                  <a:cubicBezTo>
                    <a:pt x="65" y="95"/>
                    <a:pt x="67" y="92"/>
                    <a:pt x="67" y="92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74" y="93"/>
                    <a:pt x="85" y="87"/>
                    <a:pt x="93" y="79"/>
                  </a:cubicBezTo>
                  <a:cubicBezTo>
                    <a:pt x="102" y="71"/>
                    <a:pt x="108" y="59"/>
                    <a:pt x="108" y="45"/>
                  </a:cubicBezTo>
                  <a:cubicBezTo>
                    <a:pt x="108" y="44"/>
                    <a:pt x="108" y="42"/>
                    <a:pt x="108" y="40"/>
                  </a:cubicBezTo>
                  <a:cubicBezTo>
                    <a:pt x="106" y="26"/>
                    <a:pt x="102" y="16"/>
                    <a:pt x="96" y="10"/>
                  </a:cubicBezTo>
                  <a:cubicBezTo>
                    <a:pt x="90" y="3"/>
                    <a:pt x="82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63" y="0"/>
                    <a:pt x="55" y="4"/>
                    <a:pt x="49" y="9"/>
                  </a:cubicBezTo>
                  <a:cubicBezTo>
                    <a:pt x="43" y="14"/>
                    <a:pt x="38" y="20"/>
                    <a:pt x="35" y="26"/>
                  </a:cubicBezTo>
                  <a:cubicBezTo>
                    <a:pt x="34" y="29"/>
                    <a:pt x="33" y="32"/>
                    <a:pt x="33" y="36"/>
                  </a:cubicBezTo>
                  <a:cubicBezTo>
                    <a:pt x="33" y="42"/>
                    <a:pt x="35" y="49"/>
                    <a:pt x="39" y="55"/>
                  </a:cubicBezTo>
                  <a:cubicBezTo>
                    <a:pt x="42" y="60"/>
                    <a:pt x="48" y="65"/>
                    <a:pt x="55" y="66"/>
                  </a:cubicBezTo>
                  <a:cubicBezTo>
                    <a:pt x="56" y="66"/>
                    <a:pt x="58" y="66"/>
                    <a:pt x="59" y="66"/>
                  </a:cubicBezTo>
                  <a:cubicBezTo>
                    <a:pt x="67" y="66"/>
                    <a:pt x="73" y="63"/>
                    <a:pt x="77" y="58"/>
                  </a:cubicBezTo>
                  <a:cubicBezTo>
                    <a:pt x="81" y="54"/>
                    <a:pt x="82" y="48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36"/>
                    <a:pt x="81" y="31"/>
                    <a:pt x="77" y="27"/>
                  </a:cubicBezTo>
                  <a:cubicBezTo>
                    <a:pt x="73" y="23"/>
                    <a:pt x="67" y="21"/>
                    <a:pt x="59" y="20"/>
                  </a:cubicBezTo>
                  <a:cubicBezTo>
                    <a:pt x="58" y="20"/>
                    <a:pt x="57" y="20"/>
                    <a:pt x="57" y="20"/>
                  </a:cubicBezTo>
                  <a:cubicBezTo>
                    <a:pt x="51" y="20"/>
                    <a:pt x="46" y="22"/>
                    <a:pt x="43" y="26"/>
                  </a:cubicBezTo>
                  <a:cubicBezTo>
                    <a:pt x="40" y="30"/>
                    <a:pt x="38" y="35"/>
                    <a:pt x="38" y="39"/>
                  </a:cubicBezTo>
                  <a:cubicBezTo>
                    <a:pt x="38" y="41"/>
                    <a:pt x="39" y="44"/>
                    <a:pt x="41" y="46"/>
                  </a:cubicBezTo>
                  <a:cubicBezTo>
                    <a:pt x="42" y="48"/>
                    <a:pt x="45" y="49"/>
                    <a:pt x="48" y="50"/>
                  </a:cubicBezTo>
                  <a:cubicBezTo>
                    <a:pt x="49" y="50"/>
                    <a:pt x="50" y="50"/>
                    <a:pt x="50" y="50"/>
                  </a:cubicBezTo>
                  <a:cubicBezTo>
                    <a:pt x="54" y="50"/>
                    <a:pt x="57" y="49"/>
                    <a:pt x="58" y="47"/>
                  </a:cubicBezTo>
                  <a:cubicBezTo>
                    <a:pt x="60" y="45"/>
                    <a:pt x="60" y="43"/>
                    <a:pt x="60" y="41"/>
                  </a:cubicBezTo>
                  <a:cubicBezTo>
                    <a:pt x="60" y="38"/>
                    <a:pt x="60" y="36"/>
                    <a:pt x="59" y="36"/>
                  </a:cubicBezTo>
                  <a:lnTo>
                    <a:pt x="56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47" name="文本框 46"/>
          <p:cNvSpPr txBox="1"/>
          <p:nvPr/>
        </p:nvSpPr>
        <p:spPr>
          <a:xfrm>
            <a:off x="2846026" y="2368106"/>
            <a:ext cx="1268710" cy="1637157"/>
          </a:xfrm>
          <a:custGeom>
            <a:avLst/>
            <a:gdLst/>
            <a:ahLst/>
            <a:cxnLst/>
            <a:rect l="l" t="t" r="r" b="b"/>
            <a:pathLst>
              <a:path w="445008" h="574243">
                <a:moveTo>
                  <a:pt x="0" y="0"/>
                </a:moveTo>
                <a:lnTo>
                  <a:pt x="84734" y="0"/>
                </a:lnTo>
                <a:lnTo>
                  <a:pt x="84734" y="343204"/>
                </a:lnTo>
                <a:cubicBezTo>
                  <a:pt x="84900" y="349161"/>
                  <a:pt x="87008" y="354164"/>
                  <a:pt x="91059" y="358216"/>
                </a:cubicBezTo>
                <a:cubicBezTo>
                  <a:pt x="95110" y="362267"/>
                  <a:pt x="100114" y="364375"/>
                  <a:pt x="106070" y="364540"/>
                </a:cubicBezTo>
                <a:lnTo>
                  <a:pt x="352349" y="364540"/>
                </a:lnTo>
                <a:lnTo>
                  <a:pt x="352349" y="0"/>
                </a:lnTo>
                <a:lnTo>
                  <a:pt x="445008" y="0"/>
                </a:lnTo>
                <a:lnTo>
                  <a:pt x="445008" y="574243"/>
                </a:lnTo>
                <a:lnTo>
                  <a:pt x="352349" y="574243"/>
                </a:lnTo>
                <a:lnTo>
                  <a:pt x="352349" y="399288"/>
                </a:lnTo>
                <a:lnTo>
                  <a:pt x="37186" y="399288"/>
                </a:lnTo>
                <a:cubicBezTo>
                  <a:pt x="26568" y="399046"/>
                  <a:pt x="17780" y="395414"/>
                  <a:pt x="10820" y="388391"/>
                </a:cubicBezTo>
                <a:cubicBezTo>
                  <a:pt x="3861" y="381368"/>
                  <a:pt x="254" y="372402"/>
                  <a:pt x="0" y="361492"/>
                </a:cubicBez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4800" b="1" spc="1500">
                <a:solidFill>
                  <a:schemeClr val="bg1"/>
                </a:solidFill>
                <a:latin typeface="造字工房朗倩（非商用）常规体" pitchFamily="50" charset="-122"/>
                <a:ea typeface="造字工房朗倩（非商用）常规体" pitchFamily="50" charset="-122"/>
              </a:defRPr>
            </a:lvl1pPr>
          </a:lstStyle>
          <a:p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10122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15" name="组合 14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2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7" name="文本框 16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767408" y="2132856"/>
            <a:ext cx="5445989" cy="3384376"/>
            <a:chOff x="695698" y="2276872"/>
            <a:chExt cx="5445989" cy="3384376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249636" y="2353073"/>
              <a:ext cx="4365299" cy="2804120"/>
            </a:xfrm>
            <a:prstGeom prst="rect">
              <a:avLst/>
            </a:prstGeom>
          </p:spPr>
        </p:pic>
        <p:sp>
          <p:nvSpPr>
            <p:cNvPr id="30" name="Freeform 74"/>
            <p:cNvSpPr>
              <a:spLocks noEditPoints="1"/>
            </p:cNvSpPr>
            <p:nvPr/>
          </p:nvSpPr>
          <p:spPr bwMode="auto">
            <a:xfrm>
              <a:off x="695698" y="2276872"/>
              <a:ext cx="5445989" cy="3384376"/>
            </a:xfrm>
            <a:custGeom>
              <a:avLst/>
              <a:gdLst>
                <a:gd name="T0" fmla="*/ 249 w 264"/>
                <a:gd name="T1" fmla="*/ 135 h 164"/>
                <a:gd name="T2" fmla="*/ 247 w 264"/>
                <a:gd name="T3" fmla="*/ 135 h 164"/>
                <a:gd name="T4" fmla="*/ 247 w 264"/>
                <a:gd name="T5" fmla="*/ 8 h 164"/>
                <a:gd name="T6" fmla="*/ 245 w 264"/>
                <a:gd name="T7" fmla="*/ 2 h 164"/>
                <a:gd name="T8" fmla="*/ 240 w 264"/>
                <a:gd name="T9" fmla="*/ 0 h 164"/>
                <a:gd name="T10" fmla="*/ 24 w 264"/>
                <a:gd name="T11" fmla="*/ 0 h 164"/>
                <a:gd name="T12" fmla="*/ 19 w 264"/>
                <a:gd name="T13" fmla="*/ 2 h 164"/>
                <a:gd name="T14" fmla="*/ 17 w 264"/>
                <a:gd name="T15" fmla="*/ 8 h 164"/>
                <a:gd name="T16" fmla="*/ 17 w 264"/>
                <a:gd name="T17" fmla="*/ 135 h 164"/>
                <a:gd name="T18" fmla="*/ 15 w 264"/>
                <a:gd name="T19" fmla="*/ 135 h 164"/>
                <a:gd name="T20" fmla="*/ 0 w 264"/>
                <a:gd name="T21" fmla="*/ 149 h 164"/>
                <a:gd name="T22" fmla="*/ 15 w 264"/>
                <a:gd name="T23" fmla="*/ 164 h 164"/>
                <a:gd name="T24" fmla="*/ 249 w 264"/>
                <a:gd name="T25" fmla="*/ 164 h 164"/>
                <a:gd name="T26" fmla="*/ 264 w 264"/>
                <a:gd name="T27" fmla="*/ 149 h 164"/>
                <a:gd name="T28" fmla="*/ 249 w 264"/>
                <a:gd name="T29" fmla="*/ 135 h 164"/>
                <a:gd name="T30" fmla="*/ 178 w 264"/>
                <a:gd name="T31" fmla="*/ 153 h 164"/>
                <a:gd name="T32" fmla="*/ 176 w 264"/>
                <a:gd name="T33" fmla="*/ 155 h 164"/>
                <a:gd name="T34" fmla="*/ 88 w 264"/>
                <a:gd name="T35" fmla="*/ 155 h 164"/>
                <a:gd name="T36" fmla="*/ 86 w 264"/>
                <a:gd name="T37" fmla="*/ 153 h 164"/>
                <a:gd name="T38" fmla="*/ 86 w 264"/>
                <a:gd name="T39" fmla="*/ 142 h 164"/>
                <a:gd name="T40" fmla="*/ 88 w 264"/>
                <a:gd name="T41" fmla="*/ 140 h 164"/>
                <a:gd name="T42" fmla="*/ 176 w 264"/>
                <a:gd name="T43" fmla="*/ 140 h 164"/>
                <a:gd name="T44" fmla="*/ 178 w 264"/>
                <a:gd name="T45" fmla="*/ 142 h 164"/>
                <a:gd name="T46" fmla="*/ 178 w 264"/>
                <a:gd name="T47" fmla="*/ 153 h 164"/>
                <a:gd name="T48" fmla="*/ 236 w 264"/>
                <a:gd name="T49" fmla="*/ 136 h 164"/>
                <a:gd name="T50" fmla="*/ 27 w 264"/>
                <a:gd name="T51" fmla="*/ 136 h 164"/>
                <a:gd name="T52" fmla="*/ 27 w 264"/>
                <a:gd name="T53" fmla="*/ 11 h 164"/>
                <a:gd name="T54" fmla="*/ 236 w 264"/>
                <a:gd name="T55" fmla="*/ 11 h 164"/>
                <a:gd name="T56" fmla="*/ 236 w 264"/>
                <a:gd name="T57" fmla="*/ 13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4" h="164">
                  <a:moveTo>
                    <a:pt x="249" y="135"/>
                  </a:moveTo>
                  <a:cubicBezTo>
                    <a:pt x="247" y="135"/>
                    <a:pt x="247" y="135"/>
                    <a:pt x="247" y="135"/>
                  </a:cubicBezTo>
                  <a:cubicBezTo>
                    <a:pt x="247" y="8"/>
                    <a:pt x="247" y="8"/>
                    <a:pt x="247" y="8"/>
                  </a:cubicBezTo>
                  <a:cubicBezTo>
                    <a:pt x="247" y="6"/>
                    <a:pt x="246" y="4"/>
                    <a:pt x="245" y="2"/>
                  </a:cubicBezTo>
                  <a:cubicBezTo>
                    <a:pt x="243" y="1"/>
                    <a:pt x="241" y="0"/>
                    <a:pt x="24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1" y="1"/>
                    <a:pt x="19" y="2"/>
                  </a:cubicBezTo>
                  <a:cubicBezTo>
                    <a:pt x="18" y="4"/>
                    <a:pt x="17" y="6"/>
                    <a:pt x="17" y="8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7" y="135"/>
                    <a:pt x="0" y="141"/>
                    <a:pt x="0" y="149"/>
                  </a:cubicBezTo>
                  <a:cubicBezTo>
                    <a:pt x="0" y="157"/>
                    <a:pt x="7" y="164"/>
                    <a:pt x="15" y="164"/>
                  </a:cubicBezTo>
                  <a:cubicBezTo>
                    <a:pt x="249" y="164"/>
                    <a:pt x="249" y="164"/>
                    <a:pt x="249" y="164"/>
                  </a:cubicBezTo>
                  <a:cubicBezTo>
                    <a:pt x="257" y="164"/>
                    <a:pt x="264" y="157"/>
                    <a:pt x="264" y="149"/>
                  </a:cubicBezTo>
                  <a:cubicBezTo>
                    <a:pt x="264" y="141"/>
                    <a:pt x="257" y="135"/>
                    <a:pt x="249" y="135"/>
                  </a:cubicBezTo>
                  <a:close/>
                  <a:moveTo>
                    <a:pt x="178" y="153"/>
                  </a:moveTo>
                  <a:cubicBezTo>
                    <a:pt x="178" y="154"/>
                    <a:pt x="177" y="155"/>
                    <a:pt x="176" y="155"/>
                  </a:cubicBezTo>
                  <a:cubicBezTo>
                    <a:pt x="88" y="155"/>
                    <a:pt x="88" y="155"/>
                    <a:pt x="88" y="155"/>
                  </a:cubicBezTo>
                  <a:cubicBezTo>
                    <a:pt x="87" y="155"/>
                    <a:pt x="86" y="154"/>
                    <a:pt x="86" y="153"/>
                  </a:cubicBezTo>
                  <a:cubicBezTo>
                    <a:pt x="86" y="142"/>
                    <a:pt x="86" y="142"/>
                    <a:pt x="86" y="142"/>
                  </a:cubicBezTo>
                  <a:cubicBezTo>
                    <a:pt x="86" y="141"/>
                    <a:pt x="87" y="140"/>
                    <a:pt x="88" y="140"/>
                  </a:cubicBezTo>
                  <a:cubicBezTo>
                    <a:pt x="176" y="140"/>
                    <a:pt x="176" y="140"/>
                    <a:pt x="176" y="140"/>
                  </a:cubicBezTo>
                  <a:cubicBezTo>
                    <a:pt x="177" y="140"/>
                    <a:pt x="178" y="141"/>
                    <a:pt x="178" y="142"/>
                  </a:cubicBezTo>
                  <a:lnTo>
                    <a:pt x="178" y="153"/>
                  </a:lnTo>
                  <a:close/>
                  <a:moveTo>
                    <a:pt x="236" y="136"/>
                  </a:moveTo>
                  <a:cubicBezTo>
                    <a:pt x="27" y="136"/>
                    <a:pt x="27" y="136"/>
                    <a:pt x="27" y="136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36" y="11"/>
                    <a:pt x="236" y="11"/>
                    <a:pt x="236" y="11"/>
                  </a:cubicBezTo>
                  <a:lnTo>
                    <a:pt x="236" y="1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6794967" y="2409868"/>
            <a:ext cx="3946987" cy="2402498"/>
            <a:chOff x="6992808" y="2065448"/>
            <a:chExt cx="3946987" cy="2402498"/>
          </a:xfrm>
        </p:grpSpPr>
        <p:sp>
          <p:nvSpPr>
            <p:cNvPr id="48" name="矩形 1"/>
            <p:cNvSpPr>
              <a:spLocks noChangeArrowheads="1"/>
            </p:cNvSpPr>
            <p:nvPr/>
          </p:nvSpPr>
          <p:spPr bwMode="auto">
            <a:xfrm>
              <a:off x="6992808" y="2713620"/>
              <a:ext cx="3946987" cy="17543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>
                <a:lnSpc>
                  <a:spcPct val="150000"/>
                </a:lnSpc>
              </a:pP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dirty="0" smtClean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坚持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。</a:t>
              </a:r>
            </a:p>
          </p:txBody>
        </p:sp>
        <p:cxnSp>
          <p:nvCxnSpPr>
            <p:cNvPr id="50" name="直接连接符 49"/>
            <p:cNvCxnSpPr/>
            <p:nvPr/>
          </p:nvCxnSpPr>
          <p:spPr bwMode="auto">
            <a:xfrm>
              <a:off x="7080833" y="2555759"/>
              <a:ext cx="3770937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1" name="组合 50"/>
            <p:cNvGrpSpPr/>
            <p:nvPr/>
          </p:nvGrpSpPr>
          <p:grpSpPr>
            <a:xfrm>
              <a:off x="6992808" y="2065448"/>
              <a:ext cx="2765693" cy="461665"/>
              <a:chOff x="940613" y="2146509"/>
              <a:chExt cx="2765693" cy="461665"/>
            </a:xfrm>
          </p:grpSpPr>
          <p:sp>
            <p:nvSpPr>
              <p:cNvPr id="52" name="TextBox 265"/>
              <p:cNvSpPr txBox="1"/>
              <p:nvPr/>
            </p:nvSpPr>
            <p:spPr bwMode="auto">
              <a:xfrm>
                <a:off x="940613" y="2146509"/>
                <a:ext cx="1569660" cy="461665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itchFamily="34" charset="-122"/>
                    <a:ea typeface="微软雅黑" pitchFamily="34" charset="-122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5pPr>
                <a:lvl6pPr>
                  <a:defRPr>
                    <a:latin typeface="Calibri" pitchFamily="34" charset="0"/>
                    <a:ea typeface="宋体" pitchFamily="2" charset="-122"/>
                  </a:defRPr>
                </a:lvl6pPr>
                <a:lvl7pPr>
                  <a:defRPr>
                    <a:latin typeface="Calibri" pitchFamily="34" charset="0"/>
                    <a:ea typeface="宋体" pitchFamily="2" charset="-122"/>
                  </a:defRPr>
                </a:lvl7pPr>
                <a:lvl8pPr>
                  <a:defRPr>
                    <a:latin typeface="Calibri" pitchFamily="34" charset="0"/>
                    <a:ea typeface="宋体" pitchFamily="2" charset="-122"/>
                  </a:defRPr>
                </a:lvl8pPr>
                <a:lvl9pPr>
                  <a:defRPr>
                    <a:latin typeface="Calibri" pitchFamily="34" charset="0"/>
                    <a:ea typeface="宋体" pitchFamily="2" charset="-122"/>
                  </a:defRPr>
                </a:lvl9pPr>
              </a:lstStyle>
              <a:p>
                <a:pPr>
                  <a:defRPr/>
                </a:pPr>
                <a:r>
                  <a:rPr lang="zh-CN" altLang="en-US" sz="2400" dirty="0">
                    <a:solidFill>
                      <a:srgbClr val="C00000"/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添加标题</a:t>
                </a:r>
              </a:p>
            </p:txBody>
          </p:sp>
          <p:sp>
            <p:nvSpPr>
              <p:cNvPr id="62" name="矩形 86"/>
              <p:cNvSpPr>
                <a:spLocks noChangeArrowheads="1"/>
              </p:cNvSpPr>
              <p:nvPr/>
            </p:nvSpPr>
            <p:spPr bwMode="auto">
              <a:xfrm>
                <a:off x="2553426" y="2192675"/>
                <a:ext cx="1152880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en-US" altLang="zh-CN" dirty="0">
                    <a:solidFill>
                      <a:schemeClr val="bg1">
                        <a:lumMod val="95000"/>
                      </a:schemeClr>
                    </a:solidFill>
                  </a:rPr>
                  <a:t>Add a title</a:t>
                </a:r>
                <a:endParaRPr lang="zh-CN" altLang="en-US" dirty="0">
                  <a:solidFill>
                    <a:schemeClr val="bg1">
                      <a:lumMod val="95000"/>
                    </a:schemeClr>
                  </a:solidFill>
                </a:endParaRPr>
              </a:p>
            </p:txBody>
          </p:sp>
          <p:cxnSp>
            <p:nvCxnSpPr>
              <p:cNvPr id="63" name="直接连接符 62"/>
              <p:cNvCxnSpPr/>
              <p:nvPr/>
            </p:nvCxnSpPr>
            <p:spPr bwMode="auto">
              <a:xfrm>
                <a:off x="2531850" y="2305110"/>
                <a:ext cx="0" cy="144462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xmlns="" val="1798732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10704512" y="5301208"/>
            <a:ext cx="1188132" cy="1302644"/>
            <a:chOff x="8580276" y="2706921"/>
            <a:chExt cx="1476163" cy="1618435"/>
          </a:xfrm>
        </p:grpSpPr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8580276" y="2706921"/>
              <a:ext cx="1080248" cy="1618435"/>
            </a:xfrm>
            <a:custGeom>
              <a:avLst/>
              <a:gdLst>
                <a:gd name="T0" fmla="*/ 1698 w 1899"/>
                <a:gd name="T1" fmla="*/ 2844 h 2844"/>
                <a:gd name="T2" fmla="*/ 1542 w 1899"/>
                <a:gd name="T3" fmla="*/ 2534 h 2844"/>
                <a:gd name="T4" fmla="*/ 1215 w 1899"/>
                <a:gd name="T5" fmla="*/ 1897 h 2844"/>
                <a:gd name="T6" fmla="*/ 889 w 1899"/>
                <a:gd name="T7" fmla="*/ 1925 h 2844"/>
                <a:gd name="T8" fmla="*/ 946 w 1899"/>
                <a:gd name="T9" fmla="*/ 2844 h 2844"/>
                <a:gd name="T10" fmla="*/ 372 w 1899"/>
                <a:gd name="T11" fmla="*/ 1673 h 2844"/>
                <a:gd name="T12" fmla="*/ 338 w 1899"/>
                <a:gd name="T13" fmla="*/ 2235 h 2844"/>
                <a:gd name="T14" fmla="*/ 271 w 1899"/>
                <a:gd name="T15" fmla="*/ 2298 h 2844"/>
                <a:gd name="T16" fmla="*/ 347 w 1899"/>
                <a:gd name="T17" fmla="*/ 1360 h 2844"/>
                <a:gd name="T18" fmla="*/ 522 w 1899"/>
                <a:gd name="T19" fmla="*/ 1634 h 2844"/>
                <a:gd name="T20" fmla="*/ 599 w 1899"/>
                <a:gd name="T21" fmla="*/ 1650 h 2844"/>
                <a:gd name="T22" fmla="*/ 796 w 1899"/>
                <a:gd name="T23" fmla="*/ 1317 h 2844"/>
                <a:gd name="T24" fmla="*/ 1875 w 1899"/>
                <a:gd name="T25" fmla="*/ 1280 h 2844"/>
                <a:gd name="T26" fmla="*/ 1731 w 1899"/>
                <a:gd name="T27" fmla="*/ 1406 h 2844"/>
                <a:gd name="T28" fmla="*/ 1651 w 1899"/>
                <a:gd name="T29" fmla="*/ 2054 h 2844"/>
                <a:gd name="T30" fmla="*/ 1591 w 1899"/>
                <a:gd name="T31" fmla="*/ 2153 h 2844"/>
                <a:gd name="T32" fmla="*/ 1372 w 1899"/>
                <a:gd name="T33" fmla="*/ 2844 h 2844"/>
                <a:gd name="T34" fmla="*/ 1196 w 1899"/>
                <a:gd name="T35" fmla="*/ 1816 h 2844"/>
                <a:gd name="T36" fmla="*/ 1818 w 1899"/>
                <a:gd name="T37" fmla="*/ 1360 h 2844"/>
                <a:gd name="T38" fmla="*/ 1568 w 1899"/>
                <a:gd name="T39" fmla="*/ 1701 h 2844"/>
                <a:gd name="T40" fmla="*/ 1442 w 1899"/>
                <a:gd name="T41" fmla="*/ 1374 h 2844"/>
                <a:gd name="T42" fmla="*/ 1554 w 1899"/>
                <a:gd name="T43" fmla="*/ 1581 h 2844"/>
                <a:gd name="T44" fmla="*/ 1513 w 1899"/>
                <a:gd name="T45" fmla="*/ 1471 h 2844"/>
                <a:gd name="T46" fmla="*/ 1289 w 1899"/>
                <a:gd name="T47" fmla="*/ 1358 h 2844"/>
                <a:gd name="T48" fmla="*/ 1728 w 1899"/>
                <a:gd name="T49" fmla="*/ 1420 h 2844"/>
                <a:gd name="T50" fmla="*/ 563 w 1899"/>
                <a:gd name="T51" fmla="*/ 376 h 2844"/>
                <a:gd name="T52" fmla="*/ 729 w 1899"/>
                <a:gd name="T53" fmla="*/ 840 h 2844"/>
                <a:gd name="T54" fmla="*/ 709 w 1899"/>
                <a:gd name="T55" fmla="*/ 1066 h 2844"/>
                <a:gd name="T56" fmla="*/ 751 w 1899"/>
                <a:gd name="T57" fmla="*/ 1109 h 2844"/>
                <a:gd name="T58" fmla="*/ 587 w 1899"/>
                <a:gd name="T59" fmla="*/ 381 h 2844"/>
                <a:gd name="T60" fmla="*/ 647 w 1899"/>
                <a:gd name="T61" fmla="*/ 138 h 2844"/>
                <a:gd name="T62" fmla="*/ 869 w 1899"/>
                <a:gd name="T63" fmla="*/ 272 h 2844"/>
                <a:gd name="T64" fmla="*/ 349 w 1899"/>
                <a:gd name="T65" fmla="*/ 487 h 2844"/>
                <a:gd name="T66" fmla="*/ 295 w 1899"/>
                <a:gd name="T67" fmla="*/ 212 h 2844"/>
                <a:gd name="T68" fmla="*/ 282 w 1899"/>
                <a:gd name="T69" fmla="*/ 519 h 2844"/>
                <a:gd name="T70" fmla="*/ 215 w 1899"/>
                <a:gd name="T71" fmla="*/ 805 h 2844"/>
                <a:gd name="T72" fmla="*/ 378 w 1899"/>
                <a:gd name="T73" fmla="*/ 832 h 2844"/>
                <a:gd name="T74" fmla="*/ 381 w 1899"/>
                <a:gd name="T75" fmla="*/ 1257 h 2844"/>
                <a:gd name="T76" fmla="*/ 739 w 1899"/>
                <a:gd name="T77" fmla="*/ 1258 h 2844"/>
                <a:gd name="T78" fmla="*/ 308 w 1899"/>
                <a:gd name="T79" fmla="*/ 605 h 2844"/>
                <a:gd name="T80" fmla="*/ 345 w 1899"/>
                <a:gd name="T81" fmla="*/ 576 h 2844"/>
                <a:gd name="T82" fmla="*/ 359 w 1899"/>
                <a:gd name="T83" fmla="*/ 556 h 2844"/>
                <a:gd name="T84" fmla="*/ 305 w 1899"/>
                <a:gd name="T85" fmla="*/ 600 h 2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99" h="2844">
                  <a:moveTo>
                    <a:pt x="1595" y="2167"/>
                  </a:moveTo>
                  <a:cubicBezTo>
                    <a:pt x="1537" y="2343"/>
                    <a:pt x="1659" y="2596"/>
                    <a:pt x="1700" y="2685"/>
                  </a:cubicBezTo>
                  <a:cubicBezTo>
                    <a:pt x="1681" y="2732"/>
                    <a:pt x="1688" y="2796"/>
                    <a:pt x="1698" y="2844"/>
                  </a:cubicBezTo>
                  <a:cubicBezTo>
                    <a:pt x="1582" y="2844"/>
                    <a:pt x="1582" y="2844"/>
                    <a:pt x="1582" y="2844"/>
                  </a:cubicBezTo>
                  <a:cubicBezTo>
                    <a:pt x="1560" y="2743"/>
                    <a:pt x="1607" y="2706"/>
                    <a:pt x="1618" y="2684"/>
                  </a:cubicBezTo>
                  <a:cubicBezTo>
                    <a:pt x="1599" y="2649"/>
                    <a:pt x="1570" y="2596"/>
                    <a:pt x="1542" y="2534"/>
                  </a:cubicBezTo>
                  <a:cubicBezTo>
                    <a:pt x="1533" y="2422"/>
                    <a:pt x="1540" y="2279"/>
                    <a:pt x="1595" y="2167"/>
                  </a:cubicBezTo>
                  <a:close/>
                  <a:moveTo>
                    <a:pt x="1196" y="1816"/>
                  </a:moveTo>
                  <a:cubicBezTo>
                    <a:pt x="1208" y="1839"/>
                    <a:pt x="1215" y="1866"/>
                    <a:pt x="1215" y="1897"/>
                  </a:cubicBezTo>
                  <a:cubicBezTo>
                    <a:pt x="1191" y="1803"/>
                    <a:pt x="1078" y="1773"/>
                    <a:pt x="1003" y="1812"/>
                  </a:cubicBezTo>
                  <a:cubicBezTo>
                    <a:pt x="1035" y="1818"/>
                    <a:pt x="1066" y="1843"/>
                    <a:pt x="1084" y="1887"/>
                  </a:cubicBezTo>
                  <a:cubicBezTo>
                    <a:pt x="1031" y="1815"/>
                    <a:pt x="921" y="1849"/>
                    <a:pt x="889" y="1925"/>
                  </a:cubicBezTo>
                  <a:cubicBezTo>
                    <a:pt x="857" y="2032"/>
                    <a:pt x="908" y="2178"/>
                    <a:pt x="969" y="2261"/>
                  </a:cubicBezTo>
                  <a:cubicBezTo>
                    <a:pt x="970" y="2341"/>
                    <a:pt x="978" y="2555"/>
                    <a:pt x="979" y="2695"/>
                  </a:cubicBezTo>
                  <a:cubicBezTo>
                    <a:pt x="954" y="2718"/>
                    <a:pt x="946" y="2762"/>
                    <a:pt x="946" y="2844"/>
                  </a:cubicBezTo>
                  <a:cubicBezTo>
                    <a:pt x="921" y="2844"/>
                    <a:pt x="856" y="2844"/>
                    <a:pt x="831" y="2844"/>
                  </a:cubicBezTo>
                  <a:cubicBezTo>
                    <a:pt x="827" y="2783"/>
                    <a:pt x="847" y="2730"/>
                    <a:pt x="893" y="2692"/>
                  </a:cubicBezTo>
                  <a:cubicBezTo>
                    <a:pt x="934" y="2168"/>
                    <a:pt x="534" y="2036"/>
                    <a:pt x="372" y="1673"/>
                  </a:cubicBezTo>
                  <a:cubicBezTo>
                    <a:pt x="395" y="1755"/>
                    <a:pt x="432" y="1825"/>
                    <a:pt x="475" y="1890"/>
                  </a:cubicBezTo>
                  <a:cubicBezTo>
                    <a:pt x="314" y="1741"/>
                    <a:pt x="185" y="1795"/>
                    <a:pt x="174" y="1887"/>
                  </a:cubicBezTo>
                  <a:cubicBezTo>
                    <a:pt x="164" y="1984"/>
                    <a:pt x="213" y="2077"/>
                    <a:pt x="338" y="2235"/>
                  </a:cubicBezTo>
                  <a:cubicBezTo>
                    <a:pt x="331" y="2274"/>
                    <a:pt x="366" y="2345"/>
                    <a:pt x="403" y="2377"/>
                  </a:cubicBezTo>
                  <a:cubicBezTo>
                    <a:pt x="384" y="2395"/>
                    <a:pt x="334" y="2444"/>
                    <a:pt x="315" y="2463"/>
                  </a:cubicBezTo>
                  <a:cubicBezTo>
                    <a:pt x="279" y="2413"/>
                    <a:pt x="255" y="2364"/>
                    <a:pt x="271" y="2298"/>
                  </a:cubicBezTo>
                  <a:cubicBezTo>
                    <a:pt x="183" y="2098"/>
                    <a:pt x="0" y="1999"/>
                    <a:pt x="54" y="1807"/>
                  </a:cubicBezTo>
                  <a:cubicBezTo>
                    <a:pt x="75" y="1730"/>
                    <a:pt x="177" y="1637"/>
                    <a:pt x="335" y="1566"/>
                  </a:cubicBezTo>
                  <a:cubicBezTo>
                    <a:pt x="322" y="1498"/>
                    <a:pt x="329" y="1429"/>
                    <a:pt x="347" y="1360"/>
                  </a:cubicBezTo>
                  <a:cubicBezTo>
                    <a:pt x="389" y="1437"/>
                    <a:pt x="456" y="1522"/>
                    <a:pt x="549" y="1557"/>
                  </a:cubicBezTo>
                  <a:cubicBezTo>
                    <a:pt x="518" y="1566"/>
                    <a:pt x="523" y="1608"/>
                    <a:pt x="488" y="1627"/>
                  </a:cubicBezTo>
                  <a:cubicBezTo>
                    <a:pt x="522" y="1634"/>
                    <a:pt x="522" y="1634"/>
                    <a:pt x="522" y="1634"/>
                  </a:cubicBezTo>
                  <a:cubicBezTo>
                    <a:pt x="521" y="1641"/>
                    <a:pt x="518" y="1659"/>
                    <a:pt x="539" y="1663"/>
                  </a:cubicBezTo>
                  <a:cubicBezTo>
                    <a:pt x="560" y="1667"/>
                    <a:pt x="564" y="1650"/>
                    <a:pt x="566" y="1643"/>
                  </a:cubicBezTo>
                  <a:cubicBezTo>
                    <a:pt x="599" y="1650"/>
                    <a:pt x="599" y="1650"/>
                    <a:pt x="599" y="1650"/>
                  </a:cubicBezTo>
                  <a:cubicBezTo>
                    <a:pt x="574" y="1617"/>
                    <a:pt x="598" y="1577"/>
                    <a:pt x="567" y="1559"/>
                  </a:cubicBezTo>
                  <a:cubicBezTo>
                    <a:pt x="649" y="1538"/>
                    <a:pt x="782" y="1404"/>
                    <a:pt x="796" y="1317"/>
                  </a:cubicBezTo>
                  <a:cubicBezTo>
                    <a:pt x="796" y="1317"/>
                    <a:pt x="796" y="1317"/>
                    <a:pt x="796" y="1317"/>
                  </a:cubicBezTo>
                  <a:cubicBezTo>
                    <a:pt x="906" y="1368"/>
                    <a:pt x="1139" y="1332"/>
                    <a:pt x="1276" y="1287"/>
                  </a:cubicBezTo>
                  <a:cubicBezTo>
                    <a:pt x="1342" y="1265"/>
                    <a:pt x="1389" y="1247"/>
                    <a:pt x="1464" y="1257"/>
                  </a:cubicBezTo>
                  <a:cubicBezTo>
                    <a:pt x="1646" y="1271"/>
                    <a:pt x="1796" y="1355"/>
                    <a:pt x="1875" y="1280"/>
                  </a:cubicBezTo>
                  <a:cubicBezTo>
                    <a:pt x="1899" y="1336"/>
                    <a:pt x="1863" y="1404"/>
                    <a:pt x="1812" y="1407"/>
                  </a:cubicBezTo>
                  <a:cubicBezTo>
                    <a:pt x="1827" y="1415"/>
                    <a:pt x="1839" y="1416"/>
                    <a:pt x="1861" y="1413"/>
                  </a:cubicBezTo>
                  <a:cubicBezTo>
                    <a:pt x="1841" y="1453"/>
                    <a:pt x="1762" y="1437"/>
                    <a:pt x="1731" y="1406"/>
                  </a:cubicBezTo>
                  <a:cubicBezTo>
                    <a:pt x="1737" y="1429"/>
                    <a:pt x="1759" y="1445"/>
                    <a:pt x="1775" y="1449"/>
                  </a:cubicBezTo>
                  <a:cubicBezTo>
                    <a:pt x="1741" y="1462"/>
                    <a:pt x="1710" y="1450"/>
                    <a:pt x="1681" y="1428"/>
                  </a:cubicBezTo>
                  <a:cubicBezTo>
                    <a:pt x="1772" y="1637"/>
                    <a:pt x="1529" y="1906"/>
                    <a:pt x="1651" y="2054"/>
                  </a:cubicBezTo>
                  <a:cubicBezTo>
                    <a:pt x="1614" y="2038"/>
                    <a:pt x="1586" y="1984"/>
                    <a:pt x="1586" y="1944"/>
                  </a:cubicBezTo>
                  <a:cubicBezTo>
                    <a:pt x="1576" y="1971"/>
                    <a:pt x="1590" y="2162"/>
                    <a:pt x="1670" y="2207"/>
                  </a:cubicBezTo>
                  <a:cubicBezTo>
                    <a:pt x="1644" y="2211"/>
                    <a:pt x="1605" y="2175"/>
                    <a:pt x="1591" y="2153"/>
                  </a:cubicBezTo>
                  <a:cubicBezTo>
                    <a:pt x="1484" y="2329"/>
                    <a:pt x="1498" y="2593"/>
                    <a:pt x="1522" y="2685"/>
                  </a:cubicBezTo>
                  <a:cubicBezTo>
                    <a:pt x="1493" y="2732"/>
                    <a:pt x="1487" y="2796"/>
                    <a:pt x="1487" y="2844"/>
                  </a:cubicBezTo>
                  <a:cubicBezTo>
                    <a:pt x="1462" y="2844"/>
                    <a:pt x="1397" y="2844"/>
                    <a:pt x="1372" y="2844"/>
                  </a:cubicBezTo>
                  <a:cubicBezTo>
                    <a:pt x="1366" y="2743"/>
                    <a:pt x="1422" y="2706"/>
                    <a:pt x="1440" y="2684"/>
                  </a:cubicBezTo>
                  <a:cubicBezTo>
                    <a:pt x="1403" y="2584"/>
                    <a:pt x="1372" y="2325"/>
                    <a:pt x="1417" y="2136"/>
                  </a:cubicBezTo>
                  <a:cubicBezTo>
                    <a:pt x="1401" y="1993"/>
                    <a:pt x="1305" y="1868"/>
                    <a:pt x="1196" y="1816"/>
                  </a:cubicBezTo>
                  <a:close/>
                  <a:moveTo>
                    <a:pt x="1818" y="1360"/>
                  </a:moveTo>
                  <a:cubicBezTo>
                    <a:pt x="1791" y="1425"/>
                    <a:pt x="1698" y="1399"/>
                    <a:pt x="1678" y="1332"/>
                  </a:cubicBezTo>
                  <a:cubicBezTo>
                    <a:pt x="1707" y="1380"/>
                    <a:pt x="1787" y="1390"/>
                    <a:pt x="1818" y="1360"/>
                  </a:cubicBezTo>
                  <a:close/>
                  <a:moveTo>
                    <a:pt x="1568" y="1701"/>
                  </a:moveTo>
                  <a:cubicBezTo>
                    <a:pt x="1601" y="1725"/>
                    <a:pt x="1594" y="1819"/>
                    <a:pt x="1562" y="1842"/>
                  </a:cubicBezTo>
                  <a:cubicBezTo>
                    <a:pt x="1584" y="1811"/>
                    <a:pt x="1584" y="1730"/>
                    <a:pt x="1568" y="1701"/>
                  </a:cubicBezTo>
                  <a:close/>
                  <a:moveTo>
                    <a:pt x="1442" y="1374"/>
                  </a:moveTo>
                  <a:cubicBezTo>
                    <a:pt x="1505" y="1313"/>
                    <a:pt x="1644" y="1445"/>
                    <a:pt x="1654" y="1559"/>
                  </a:cubicBezTo>
                  <a:cubicBezTo>
                    <a:pt x="1623" y="1462"/>
                    <a:pt x="1500" y="1365"/>
                    <a:pt x="1442" y="1374"/>
                  </a:cubicBezTo>
                  <a:close/>
                  <a:moveTo>
                    <a:pt x="1554" y="1581"/>
                  </a:moveTo>
                  <a:cubicBezTo>
                    <a:pt x="1621" y="1573"/>
                    <a:pt x="1646" y="1719"/>
                    <a:pt x="1600" y="1794"/>
                  </a:cubicBezTo>
                  <a:cubicBezTo>
                    <a:pt x="1626" y="1720"/>
                    <a:pt x="1594" y="1603"/>
                    <a:pt x="1554" y="1581"/>
                  </a:cubicBezTo>
                  <a:close/>
                  <a:moveTo>
                    <a:pt x="1513" y="1471"/>
                  </a:moveTo>
                  <a:cubicBezTo>
                    <a:pt x="1588" y="1438"/>
                    <a:pt x="1667" y="1600"/>
                    <a:pt x="1638" y="1703"/>
                  </a:cubicBezTo>
                  <a:cubicBezTo>
                    <a:pt x="1644" y="1608"/>
                    <a:pt x="1567" y="1482"/>
                    <a:pt x="1513" y="1471"/>
                  </a:cubicBezTo>
                  <a:close/>
                  <a:moveTo>
                    <a:pt x="1289" y="1358"/>
                  </a:moveTo>
                  <a:cubicBezTo>
                    <a:pt x="1328" y="1246"/>
                    <a:pt x="1565" y="1289"/>
                    <a:pt x="1640" y="1405"/>
                  </a:cubicBezTo>
                  <a:cubicBezTo>
                    <a:pt x="1550" y="1322"/>
                    <a:pt x="1351" y="1306"/>
                    <a:pt x="1289" y="1358"/>
                  </a:cubicBezTo>
                  <a:close/>
                  <a:moveTo>
                    <a:pt x="1728" y="1420"/>
                  </a:moveTo>
                  <a:cubicBezTo>
                    <a:pt x="1699" y="1439"/>
                    <a:pt x="1650" y="1391"/>
                    <a:pt x="1652" y="1352"/>
                  </a:cubicBezTo>
                  <a:cubicBezTo>
                    <a:pt x="1659" y="1385"/>
                    <a:pt x="1704" y="1422"/>
                    <a:pt x="1728" y="1420"/>
                  </a:cubicBezTo>
                  <a:close/>
                  <a:moveTo>
                    <a:pt x="563" y="376"/>
                  </a:moveTo>
                  <a:cubicBezTo>
                    <a:pt x="528" y="325"/>
                    <a:pt x="466" y="381"/>
                    <a:pt x="466" y="451"/>
                  </a:cubicBezTo>
                  <a:cubicBezTo>
                    <a:pt x="476" y="396"/>
                    <a:pt x="533" y="359"/>
                    <a:pt x="563" y="376"/>
                  </a:cubicBezTo>
                  <a:close/>
                  <a:moveTo>
                    <a:pt x="729" y="840"/>
                  </a:moveTo>
                  <a:cubicBezTo>
                    <a:pt x="739" y="915"/>
                    <a:pt x="705" y="1052"/>
                    <a:pt x="783" y="1117"/>
                  </a:cubicBezTo>
                  <a:cubicBezTo>
                    <a:pt x="729" y="1043"/>
                    <a:pt x="756" y="895"/>
                    <a:pt x="729" y="840"/>
                  </a:cubicBezTo>
                  <a:close/>
                  <a:moveTo>
                    <a:pt x="709" y="1066"/>
                  </a:moveTo>
                  <a:cubicBezTo>
                    <a:pt x="670" y="1112"/>
                    <a:pt x="705" y="1197"/>
                    <a:pt x="758" y="1219"/>
                  </a:cubicBezTo>
                  <a:cubicBezTo>
                    <a:pt x="723" y="1199"/>
                    <a:pt x="695" y="1104"/>
                    <a:pt x="709" y="1066"/>
                  </a:cubicBezTo>
                  <a:close/>
                  <a:moveTo>
                    <a:pt x="735" y="1228"/>
                  </a:moveTo>
                  <a:cubicBezTo>
                    <a:pt x="756" y="1268"/>
                    <a:pt x="777" y="1284"/>
                    <a:pt x="820" y="1293"/>
                  </a:cubicBezTo>
                  <a:cubicBezTo>
                    <a:pt x="786" y="1271"/>
                    <a:pt x="757" y="1197"/>
                    <a:pt x="751" y="1109"/>
                  </a:cubicBezTo>
                  <a:cubicBezTo>
                    <a:pt x="768" y="1145"/>
                    <a:pt x="799" y="1157"/>
                    <a:pt x="813" y="1155"/>
                  </a:cubicBezTo>
                  <a:cubicBezTo>
                    <a:pt x="732" y="1113"/>
                    <a:pt x="898" y="667"/>
                    <a:pt x="491" y="462"/>
                  </a:cubicBezTo>
                  <a:cubicBezTo>
                    <a:pt x="497" y="406"/>
                    <a:pt x="575" y="434"/>
                    <a:pt x="587" y="381"/>
                  </a:cubicBezTo>
                  <a:cubicBezTo>
                    <a:pt x="605" y="299"/>
                    <a:pt x="487" y="308"/>
                    <a:pt x="451" y="411"/>
                  </a:cubicBezTo>
                  <a:cubicBezTo>
                    <a:pt x="442" y="365"/>
                    <a:pt x="451" y="313"/>
                    <a:pt x="477" y="261"/>
                  </a:cubicBezTo>
                  <a:cubicBezTo>
                    <a:pt x="519" y="177"/>
                    <a:pt x="583" y="142"/>
                    <a:pt x="647" y="138"/>
                  </a:cubicBezTo>
                  <a:cubicBezTo>
                    <a:pt x="685" y="156"/>
                    <a:pt x="717" y="184"/>
                    <a:pt x="733" y="215"/>
                  </a:cubicBezTo>
                  <a:cubicBezTo>
                    <a:pt x="727" y="187"/>
                    <a:pt x="713" y="161"/>
                    <a:pt x="694" y="140"/>
                  </a:cubicBezTo>
                  <a:cubicBezTo>
                    <a:pt x="775" y="153"/>
                    <a:pt x="849" y="210"/>
                    <a:pt x="869" y="272"/>
                  </a:cubicBezTo>
                  <a:cubicBezTo>
                    <a:pt x="858" y="101"/>
                    <a:pt x="580" y="0"/>
                    <a:pt x="432" y="195"/>
                  </a:cubicBezTo>
                  <a:cubicBezTo>
                    <a:pt x="359" y="293"/>
                    <a:pt x="358" y="406"/>
                    <a:pt x="382" y="476"/>
                  </a:cubicBezTo>
                  <a:cubicBezTo>
                    <a:pt x="371" y="479"/>
                    <a:pt x="360" y="483"/>
                    <a:pt x="349" y="487"/>
                  </a:cubicBezTo>
                  <a:cubicBezTo>
                    <a:pt x="314" y="421"/>
                    <a:pt x="305" y="293"/>
                    <a:pt x="390" y="185"/>
                  </a:cubicBezTo>
                  <a:cubicBezTo>
                    <a:pt x="446" y="113"/>
                    <a:pt x="522" y="82"/>
                    <a:pt x="596" y="80"/>
                  </a:cubicBezTo>
                  <a:cubicBezTo>
                    <a:pt x="494" y="49"/>
                    <a:pt x="362" y="81"/>
                    <a:pt x="295" y="212"/>
                  </a:cubicBezTo>
                  <a:cubicBezTo>
                    <a:pt x="261" y="279"/>
                    <a:pt x="254" y="346"/>
                    <a:pt x="263" y="404"/>
                  </a:cubicBezTo>
                  <a:cubicBezTo>
                    <a:pt x="226" y="388"/>
                    <a:pt x="190" y="402"/>
                    <a:pt x="197" y="450"/>
                  </a:cubicBezTo>
                  <a:cubicBezTo>
                    <a:pt x="204" y="496"/>
                    <a:pt x="265" y="486"/>
                    <a:pt x="282" y="519"/>
                  </a:cubicBezTo>
                  <a:cubicBezTo>
                    <a:pt x="139" y="600"/>
                    <a:pt x="42" y="740"/>
                    <a:pt x="109" y="775"/>
                  </a:cubicBezTo>
                  <a:cubicBezTo>
                    <a:pt x="92" y="831"/>
                    <a:pt x="146" y="869"/>
                    <a:pt x="203" y="850"/>
                  </a:cubicBezTo>
                  <a:cubicBezTo>
                    <a:pt x="205" y="832"/>
                    <a:pt x="209" y="817"/>
                    <a:pt x="215" y="805"/>
                  </a:cubicBezTo>
                  <a:cubicBezTo>
                    <a:pt x="290" y="767"/>
                    <a:pt x="354" y="864"/>
                    <a:pt x="314" y="913"/>
                  </a:cubicBezTo>
                  <a:cubicBezTo>
                    <a:pt x="370" y="886"/>
                    <a:pt x="365" y="813"/>
                    <a:pt x="341" y="792"/>
                  </a:cubicBezTo>
                  <a:cubicBezTo>
                    <a:pt x="350" y="795"/>
                    <a:pt x="368" y="805"/>
                    <a:pt x="378" y="832"/>
                  </a:cubicBezTo>
                  <a:cubicBezTo>
                    <a:pt x="379" y="804"/>
                    <a:pt x="365" y="763"/>
                    <a:pt x="313" y="743"/>
                  </a:cubicBezTo>
                  <a:cubicBezTo>
                    <a:pt x="381" y="731"/>
                    <a:pt x="460" y="740"/>
                    <a:pt x="484" y="688"/>
                  </a:cubicBezTo>
                  <a:cubicBezTo>
                    <a:pt x="567" y="870"/>
                    <a:pt x="454" y="1064"/>
                    <a:pt x="381" y="1257"/>
                  </a:cubicBezTo>
                  <a:cubicBezTo>
                    <a:pt x="393" y="1407"/>
                    <a:pt x="482" y="1520"/>
                    <a:pt x="558" y="1549"/>
                  </a:cubicBezTo>
                  <a:cubicBezTo>
                    <a:pt x="616" y="1530"/>
                    <a:pt x="773" y="1431"/>
                    <a:pt x="739" y="1258"/>
                  </a:cubicBezTo>
                  <a:cubicBezTo>
                    <a:pt x="739" y="1258"/>
                    <a:pt x="739" y="1258"/>
                    <a:pt x="739" y="1258"/>
                  </a:cubicBezTo>
                  <a:cubicBezTo>
                    <a:pt x="736" y="1249"/>
                    <a:pt x="735" y="1239"/>
                    <a:pt x="735" y="1228"/>
                  </a:cubicBezTo>
                  <a:close/>
                  <a:moveTo>
                    <a:pt x="305" y="600"/>
                  </a:moveTo>
                  <a:cubicBezTo>
                    <a:pt x="306" y="602"/>
                    <a:pt x="307" y="603"/>
                    <a:pt x="308" y="605"/>
                  </a:cubicBezTo>
                  <a:cubicBezTo>
                    <a:pt x="312" y="609"/>
                    <a:pt x="318" y="612"/>
                    <a:pt x="324" y="612"/>
                  </a:cubicBezTo>
                  <a:cubicBezTo>
                    <a:pt x="337" y="613"/>
                    <a:pt x="348" y="602"/>
                    <a:pt x="349" y="589"/>
                  </a:cubicBezTo>
                  <a:cubicBezTo>
                    <a:pt x="349" y="584"/>
                    <a:pt x="347" y="580"/>
                    <a:pt x="345" y="576"/>
                  </a:cubicBezTo>
                  <a:cubicBezTo>
                    <a:pt x="354" y="571"/>
                    <a:pt x="357" y="569"/>
                    <a:pt x="364" y="566"/>
                  </a:cubicBezTo>
                  <a:cubicBezTo>
                    <a:pt x="367" y="565"/>
                    <a:pt x="368" y="562"/>
                    <a:pt x="366" y="559"/>
                  </a:cubicBezTo>
                  <a:cubicBezTo>
                    <a:pt x="365" y="556"/>
                    <a:pt x="362" y="554"/>
                    <a:pt x="359" y="556"/>
                  </a:cubicBezTo>
                  <a:cubicBezTo>
                    <a:pt x="353" y="558"/>
                    <a:pt x="258" y="593"/>
                    <a:pt x="288" y="612"/>
                  </a:cubicBezTo>
                  <a:cubicBezTo>
                    <a:pt x="290" y="613"/>
                    <a:pt x="294" y="613"/>
                    <a:pt x="296" y="610"/>
                  </a:cubicBezTo>
                  <a:cubicBezTo>
                    <a:pt x="298" y="607"/>
                    <a:pt x="301" y="604"/>
                    <a:pt x="305" y="60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50800" dist="25400" dir="5400000" algn="t" rotWithShape="0">
                <a:prstClr val="black">
                  <a:alpha val="88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grpSp>
          <p:nvGrpSpPr>
            <p:cNvPr id="21" name="组合 20"/>
            <p:cNvGrpSpPr/>
            <p:nvPr/>
          </p:nvGrpSpPr>
          <p:grpSpPr>
            <a:xfrm>
              <a:off x="9264609" y="2718944"/>
              <a:ext cx="791830" cy="584256"/>
              <a:chOff x="9236075" y="1695450"/>
              <a:chExt cx="1731963" cy="1277938"/>
            </a:xfrm>
          </p:grpSpPr>
          <p:sp>
            <p:nvSpPr>
              <p:cNvPr id="23" name="Freeform 8"/>
              <p:cNvSpPr>
                <a:spLocks/>
              </p:cNvSpPr>
              <p:nvPr/>
            </p:nvSpPr>
            <p:spPr bwMode="auto">
              <a:xfrm>
                <a:off x="9675813" y="1695450"/>
                <a:ext cx="474663" cy="534987"/>
              </a:xfrm>
              <a:custGeom>
                <a:avLst/>
                <a:gdLst>
                  <a:gd name="T0" fmla="*/ 107 w 408"/>
                  <a:gd name="T1" fmla="*/ 307 h 458"/>
                  <a:gd name="T2" fmla="*/ 196 w 408"/>
                  <a:gd name="T3" fmla="*/ 275 h 458"/>
                  <a:gd name="T4" fmla="*/ 376 w 408"/>
                  <a:gd name="T5" fmla="*/ 196 h 458"/>
                  <a:gd name="T6" fmla="*/ 304 w 408"/>
                  <a:gd name="T7" fmla="*/ 26 h 458"/>
                  <a:gd name="T8" fmla="*/ 172 w 408"/>
                  <a:gd name="T9" fmla="*/ 14 h 458"/>
                  <a:gd name="T10" fmla="*/ 129 w 408"/>
                  <a:gd name="T11" fmla="*/ 96 h 458"/>
                  <a:gd name="T12" fmla="*/ 187 w 408"/>
                  <a:gd name="T13" fmla="*/ 125 h 458"/>
                  <a:gd name="T14" fmla="*/ 272 w 408"/>
                  <a:gd name="T15" fmla="*/ 83 h 458"/>
                  <a:gd name="T16" fmla="*/ 292 w 408"/>
                  <a:gd name="T17" fmla="*/ 158 h 458"/>
                  <a:gd name="T18" fmla="*/ 183 w 408"/>
                  <a:gd name="T19" fmla="*/ 212 h 458"/>
                  <a:gd name="T20" fmla="*/ 0 w 408"/>
                  <a:gd name="T21" fmla="*/ 343 h 458"/>
                  <a:gd name="T22" fmla="*/ 177 w 408"/>
                  <a:gd name="T23" fmla="*/ 433 h 458"/>
                  <a:gd name="T24" fmla="*/ 235 w 408"/>
                  <a:gd name="T25" fmla="*/ 458 h 458"/>
                  <a:gd name="T26" fmla="*/ 291 w 408"/>
                  <a:gd name="T27" fmla="*/ 347 h 458"/>
                  <a:gd name="T28" fmla="*/ 255 w 408"/>
                  <a:gd name="T29" fmla="*/ 328 h 458"/>
                  <a:gd name="T30" fmla="*/ 217 w 408"/>
                  <a:gd name="T31" fmla="*/ 363 h 458"/>
                  <a:gd name="T32" fmla="*/ 107 w 408"/>
                  <a:gd name="T33" fmla="*/ 307 h 4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08" h="458">
                    <a:moveTo>
                      <a:pt x="107" y="307"/>
                    </a:moveTo>
                    <a:cubicBezTo>
                      <a:pt x="125" y="285"/>
                      <a:pt x="162" y="278"/>
                      <a:pt x="196" y="275"/>
                    </a:cubicBezTo>
                    <a:cubicBezTo>
                      <a:pt x="259" y="269"/>
                      <a:pt x="343" y="262"/>
                      <a:pt x="376" y="196"/>
                    </a:cubicBezTo>
                    <a:cubicBezTo>
                      <a:pt x="408" y="134"/>
                      <a:pt x="396" y="73"/>
                      <a:pt x="304" y="26"/>
                    </a:cubicBezTo>
                    <a:cubicBezTo>
                      <a:pt x="260" y="4"/>
                      <a:pt x="214" y="0"/>
                      <a:pt x="172" y="14"/>
                    </a:cubicBezTo>
                    <a:cubicBezTo>
                      <a:pt x="152" y="45"/>
                      <a:pt x="145" y="60"/>
                      <a:pt x="129" y="96"/>
                    </a:cubicBezTo>
                    <a:cubicBezTo>
                      <a:pt x="149" y="109"/>
                      <a:pt x="165" y="117"/>
                      <a:pt x="187" y="125"/>
                    </a:cubicBezTo>
                    <a:cubicBezTo>
                      <a:pt x="215" y="68"/>
                      <a:pt x="246" y="69"/>
                      <a:pt x="272" y="83"/>
                    </a:cubicBezTo>
                    <a:cubicBezTo>
                      <a:pt x="301" y="98"/>
                      <a:pt x="307" y="130"/>
                      <a:pt x="292" y="158"/>
                    </a:cubicBezTo>
                    <a:cubicBezTo>
                      <a:pt x="269" y="201"/>
                      <a:pt x="225" y="207"/>
                      <a:pt x="183" y="212"/>
                    </a:cubicBezTo>
                    <a:cubicBezTo>
                      <a:pt x="84" y="227"/>
                      <a:pt x="41" y="255"/>
                      <a:pt x="0" y="343"/>
                    </a:cubicBezTo>
                    <a:cubicBezTo>
                      <a:pt x="177" y="433"/>
                      <a:pt x="177" y="433"/>
                      <a:pt x="177" y="433"/>
                    </a:cubicBezTo>
                    <a:cubicBezTo>
                      <a:pt x="197" y="443"/>
                      <a:pt x="213" y="451"/>
                      <a:pt x="235" y="458"/>
                    </a:cubicBezTo>
                    <a:cubicBezTo>
                      <a:pt x="257" y="423"/>
                      <a:pt x="276" y="385"/>
                      <a:pt x="291" y="347"/>
                    </a:cubicBezTo>
                    <a:cubicBezTo>
                      <a:pt x="255" y="328"/>
                      <a:pt x="255" y="328"/>
                      <a:pt x="255" y="328"/>
                    </a:cubicBezTo>
                    <a:cubicBezTo>
                      <a:pt x="241" y="338"/>
                      <a:pt x="230" y="349"/>
                      <a:pt x="217" y="363"/>
                    </a:cubicBezTo>
                    <a:cubicBezTo>
                      <a:pt x="107" y="307"/>
                      <a:pt x="107" y="307"/>
                      <a:pt x="107" y="30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7" name="Freeform 9"/>
              <p:cNvSpPr>
                <a:spLocks/>
              </p:cNvSpPr>
              <p:nvPr/>
            </p:nvSpPr>
            <p:spPr bwMode="auto">
              <a:xfrm>
                <a:off x="9979025" y="1798638"/>
                <a:ext cx="109538" cy="155575"/>
              </a:xfrm>
              <a:custGeom>
                <a:avLst/>
                <a:gdLst>
                  <a:gd name="T0" fmla="*/ 0 w 93"/>
                  <a:gd name="T1" fmla="*/ 133 h 133"/>
                  <a:gd name="T2" fmla="*/ 67 w 93"/>
                  <a:gd name="T3" fmla="*/ 0 h 133"/>
                  <a:gd name="T4" fmla="*/ 80 w 93"/>
                  <a:gd name="T5" fmla="*/ 81 h 133"/>
                  <a:gd name="T6" fmla="*/ 0 w 93"/>
                  <a:gd name="T7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3" h="133">
                    <a:moveTo>
                      <a:pt x="0" y="133"/>
                    </a:moveTo>
                    <a:cubicBezTo>
                      <a:pt x="66" y="108"/>
                      <a:pt x="92" y="48"/>
                      <a:pt x="67" y="0"/>
                    </a:cubicBezTo>
                    <a:cubicBezTo>
                      <a:pt x="92" y="23"/>
                      <a:pt x="93" y="57"/>
                      <a:pt x="80" y="81"/>
                    </a:cubicBezTo>
                    <a:cubicBezTo>
                      <a:pt x="64" y="112"/>
                      <a:pt x="27" y="128"/>
                      <a:pt x="0" y="1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8" name="Freeform 10"/>
              <p:cNvSpPr>
                <a:spLocks/>
              </p:cNvSpPr>
              <p:nvPr/>
            </p:nvSpPr>
            <p:spPr bwMode="auto">
              <a:xfrm>
                <a:off x="9871075" y="1731963"/>
                <a:ext cx="69850" cy="44450"/>
              </a:xfrm>
              <a:custGeom>
                <a:avLst/>
                <a:gdLst>
                  <a:gd name="T0" fmla="*/ 60 w 60"/>
                  <a:gd name="T1" fmla="*/ 3 h 38"/>
                  <a:gd name="T2" fmla="*/ 2 w 60"/>
                  <a:gd name="T3" fmla="*/ 38 h 38"/>
                  <a:gd name="T4" fmla="*/ 0 w 60"/>
                  <a:gd name="T5" fmla="*/ 37 h 38"/>
                  <a:gd name="T6" fmla="*/ 19 w 60"/>
                  <a:gd name="T7" fmla="*/ 5 h 38"/>
                  <a:gd name="T8" fmla="*/ 60 w 60"/>
                  <a:gd name="T9" fmla="*/ 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38">
                    <a:moveTo>
                      <a:pt x="60" y="3"/>
                    </a:moveTo>
                    <a:cubicBezTo>
                      <a:pt x="35" y="5"/>
                      <a:pt x="17" y="21"/>
                      <a:pt x="2" y="38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5" y="27"/>
                      <a:pt x="11" y="15"/>
                      <a:pt x="19" y="5"/>
                    </a:cubicBezTo>
                    <a:cubicBezTo>
                      <a:pt x="33" y="2"/>
                      <a:pt x="45" y="0"/>
                      <a:pt x="60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9" name="Freeform 11"/>
              <p:cNvSpPr>
                <a:spLocks/>
              </p:cNvSpPr>
              <p:nvPr/>
            </p:nvSpPr>
            <p:spPr bwMode="auto">
              <a:xfrm>
                <a:off x="9782175" y="2076450"/>
                <a:ext cx="193675" cy="93662"/>
              </a:xfrm>
              <a:custGeom>
                <a:avLst/>
                <a:gdLst>
                  <a:gd name="T0" fmla="*/ 141 w 167"/>
                  <a:gd name="T1" fmla="*/ 80 h 80"/>
                  <a:gd name="T2" fmla="*/ 0 w 167"/>
                  <a:gd name="T3" fmla="*/ 8 h 80"/>
                  <a:gd name="T4" fmla="*/ 4 w 167"/>
                  <a:gd name="T5" fmla="*/ 0 h 80"/>
                  <a:gd name="T6" fmla="*/ 136 w 167"/>
                  <a:gd name="T7" fmla="*/ 67 h 80"/>
                  <a:gd name="T8" fmla="*/ 164 w 167"/>
                  <a:gd name="T9" fmla="*/ 29 h 80"/>
                  <a:gd name="T10" fmla="*/ 167 w 167"/>
                  <a:gd name="T11" fmla="*/ 30 h 80"/>
                  <a:gd name="T12" fmla="*/ 141 w 167"/>
                  <a:gd name="T13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7" h="80">
                    <a:moveTo>
                      <a:pt x="141" y="80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136" y="67"/>
                      <a:pt x="136" y="67"/>
                      <a:pt x="136" y="67"/>
                    </a:cubicBezTo>
                    <a:cubicBezTo>
                      <a:pt x="145" y="52"/>
                      <a:pt x="152" y="42"/>
                      <a:pt x="164" y="29"/>
                    </a:cubicBezTo>
                    <a:cubicBezTo>
                      <a:pt x="167" y="30"/>
                      <a:pt x="167" y="30"/>
                      <a:pt x="167" y="30"/>
                    </a:cubicBezTo>
                    <a:cubicBezTo>
                      <a:pt x="141" y="80"/>
                      <a:pt x="141" y="80"/>
                      <a:pt x="141" y="8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0" name="任意多边形 29"/>
              <p:cNvSpPr>
                <a:spLocks/>
              </p:cNvSpPr>
              <p:nvPr/>
            </p:nvSpPr>
            <p:spPr bwMode="auto">
              <a:xfrm>
                <a:off x="10051214" y="1953170"/>
                <a:ext cx="447340" cy="461140"/>
              </a:xfrm>
              <a:custGeom>
                <a:avLst/>
                <a:gdLst>
                  <a:gd name="connsiteX0" fmla="*/ 286370 w 447340"/>
                  <a:gd name="connsiteY0" fmla="*/ 87332 h 461140"/>
                  <a:gd name="connsiteX1" fmla="*/ 157161 w 447340"/>
                  <a:gd name="connsiteY1" fmla="*/ 177016 h 461140"/>
                  <a:gd name="connsiteX2" fmla="*/ 110638 w 447340"/>
                  <a:gd name="connsiteY2" fmla="*/ 360062 h 461140"/>
                  <a:gd name="connsiteX3" fmla="*/ 285098 w 447340"/>
                  <a:gd name="connsiteY3" fmla="*/ 286610 h 461140"/>
                  <a:gd name="connsiteX4" fmla="*/ 332784 w 447340"/>
                  <a:gd name="connsiteY4" fmla="*/ 103564 h 461140"/>
                  <a:gd name="connsiteX5" fmla="*/ 286370 w 447340"/>
                  <a:gd name="connsiteY5" fmla="*/ 87332 h 461140"/>
                  <a:gd name="connsiteX6" fmla="*/ 265982 w 447340"/>
                  <a:gd name="connsiteY6" fmla="*/ 70 h 461140"/>
                  <a:gd name="connsiteX7" fmla="*/ 381504 w 447340"/>
                  <a:gd name="connsiteY7" fmla="*/ 47502 h 461140"/>
                  <a:gd name="connsiteX8" fmla="*/ 371013 w 447340"/>
                  <a:gd name="connsiteY8" fmla="*/ 363031 h 461140"/>
                  <a:gd name="connsiteX9" fmla="*/ 63282 w 447340"/>
                  <a:gd name="connsiteY9" fmla="*/ 416788 h 461140"/>
                  <a:gd name="connsiteX10" fmla="*/ 71441 w 447340"/>
                  <a:gd name="connsiteY10" fmla="*/ 102428 h 461140"/>
                  <a:gd name="connsiteX11" fmla="*/ 265982 w 447340"/>
                  <a:gd name="connsiteY11" fmla="*/ 70 h 4611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47340" h="461140">
                    <a:moveTo>
                      <a:pt x="286370" y="87332"/>
                    </a:moveTo>
                    <a:cubicBezTo>
                      <a:pt x="238066" y="90010"/>
                      <a:pt x="186819" y="142039"/>
                      <a:pt x="157161" y="177016"/>
                    </a:cubicBezTo>
                    <a:cubicBezTo>
                      <a:pt x="116453" y="222486"/>
                      <a:pt x="54811" y="311094"/>
                      <a:pt x="110638" y="360062"/>
                    </a:cubicBezTo>
                    <a:cubicBezTo>
                      <a:pt x="167628" y="409030"/>
                      <a:pt x="244391" y="333247"/>
                      <a:pt x="285098" y="286610"/>
                    </a:cubicBezTo>
                    <a:cubicBezTo>
                      <a:pt x="325805" y="238808"/>
                      <a:pt x="389774" y="153698"/>
                      <a:pt x="332784" y="103564"/>
                    </a:cubicBezTo>
                    <a:cubicBezTo>
                      <a:pt x="318245" y="91030"/>
                      <a:pt x="302471" y="86440"/>
                      <a:pt x="286370" y="87332"/>
                    </a:cubicBezTo>
                    <a:close/>
                    <a:moveTo>
                      <a:pt x="265982" y="70"/>
                    </a:moveTo>
                    <a:cubicBezTo>
                      <a:pt x="306210" y="1214"/>
                      <a:pt x="345660" y="16388"/>
                      <a:pt x="381504" y="47502"/>
                    </a:cubicBezTo>
                    <a:cubicBezTo>
                      <a:pt x="477087" y="130475"/>
                      <a:pt x="464265" y="253181"/>
                      <a:pt x="371013" y="363031"/>
                    </a:cubicBezTo>
                    <a:cubicBezTo>
                      <a:pt x="276596" y="470545"/>
                      <a:pt x="149540" y="491580"/>
                      <a:pt x="63282" y="416788"/>
                    </a:cubicBezTo>
                    <a:cubicBezTo>
                      <a:pt x="-22976" y="341996"/>
                      <a:pt x="-21810" y="209941"/>
                      <a:pt x="71441" y="102428"/>
                    </a:cubicBezTo>
                    <a:cubicBezTo>
                      <a:pt x="129724" y="35232"/>
                      <a:pt x="198934" y="-1835"/>
                      <a:pt x="265982" y="7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zh-CN" altLang="en-US"/>
              </a:p>
            </p:txBody>
          </p:sp>
          <p:sp>
            <p:nvSpPr>
              <p:cNvPr id="31" name="Freeform 14"/>
              <p:cNvSpPr>
                <a:spLocks/>
              </p:cNvSpPr>
              <p:nvPr/>
            </p:nvSpPr>
            <p:spPr bwMode="auto">
              <a:xfrm>
                <a:off x="10079038" y="1990725"/>
                <a:ext cx="227013" cy="246062"/>
              </a:xfrm>
              <a:custGeom>
                <a:avLst/>
                <a:gdLst>
                  <a:gd name="T0" fmla="*/ 195 w 195"/>
                  <a:gd name="T1" fmla="*/ 1 h 211"/>
                  <a:gd name="T2" fmla="*/ 8 w 195"/>
                  <a:gd name="T3" fmla="*/ 211 h 211"/>
                  <a:gd name="T4" fmla="*/ 195 w 195"/>
                  <a:gd name="T5" fmla="*/ 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5" h="211">
                    <a:moveTo>
                      <a:pt x="195" y="1"/>
                    </a:moveTo>
                    <a:cubicBezTo>
                      <a:pt x="114" y="17"/>
                      <a:pt x="16" y="130"/>
                      <a:pt x="8" y="211"/>
                    </a:cubicBezTo>
                    <a:cubicBezTo>
                      <a:pt x="0" y="118"/>
                      <a:pt x="100" y="0"/>
                      <a:pt x="19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2" name="Freeform 15"/>
              <p:cNvSpPr>
                <a:spLocks/>
              </p:cNvSpPr>
              <p:nvPr/>
            </p:nvSpPr>
            <p:spPr bwMode="auto">
              <a:xfrm>
                <a:off x="10231438" y="2114550"/>
                <a:ext cx="222250" cy="247650"/>
              </a:xfrm>
              <a:custGeom>
                <a:avLst/>
                <a:gdLst>
                  <a:gd name="T0" fmla="*/ 181 w 190"/>
                  <a:gd name="T1" fmla="*/ 0 h 212"/>
                  <a:gd name="T2" fmla="*/ 0 w 190"/>
                  <a:gd name="T3" fmla="*/ 212 h 212"/>
                  <a:gd name="T4" fmla="*/ 181 w 190"/>
                  <a:gd name="T5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90" h="212">
                    <a:moveTo>
                      <a:pt x="181" y="0"/>
                    </a:moveTo>
                    <a:cubicBezTo>
                      <a:pt x="190" y="89"/>
                      <a:pt x="85" y="204"/>
                      <a:pt x="0" y="212"/>
                    </a:cubicBezTo>
                    <a:cubicBezTo>
                      <a:pt x="76" y="187"/>
                      <a:pt x="170" y="79"/>
                      <a:pt x="18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3" name="Freeform 16"/>
              <p:cNvSpPr>
                <a:spLocks/>
              </p:cNvSpPr>
              <p:nvPr/>
            </p:nvSpPr>
            <p:spPr bwMode="auto">
              <a:xfrm>
                <a:off x="10260013" y="2260600"/>
                <a:ext cx="488950" cy="439737"/>
              </a:xfrm>
              <a:custGeom>
                <a:avLst/>
                <a:gdLst>
                  <a:gd name="T0" fmla="*/ 300 w 420"/>
                  <a:gd name="T1" fmla="*/ 67 h 376"/>
                  <a:gd name="T2" fmla="*/ 300 w 420"/>
                  <a:gd name="T3" fmla="*/ 68 h 376"/>
                  <a:gd name="T4" fmla="*/ 82 w 420"/>
                  <a:gd name="T5" fmla="*/ 223 h 376"/>
                  <a:gd name="T6" fmla="*/ 37 w 420"/>
                  <a:gd name="T7" fmla="*/ 169 h 376"/>
                  <a:gd name="T8" fmla="*/ 0 w 420"/>
                  <a:gd name="T9" fmla="*/ 195 h 376"/>
                  <a:gd name="T10" fmla="*/ 128 w 420"/>
                  <a:gd name="T11" fmla="*/ 376 h 376"/>
                  <a:gd name="T12" fmla="*/ 165 w 420"/>
                  <a:gd name="T13" fmla="*/ 350 h 376"/>
                  <a:gd name="T14" fmla="*/ 131 w 420"/>
                  <a:gd name="T15" fmla="*/ 293 h 376"/>
                  <a:gd name="T16" fmla="*/ 420 w 420"/>
                  <a:gd name="T17" fmla="*/ 88 h 376"/>
                  <a:gd name="T18" fmla="*/ 376 w 420"/>
                  <a:gd name="T19" fmla="*/ 26 h 376"/>
                  <a:gd name="T20" fmla="*/ 255 w 420"/>
                  <a:gd name="T21" fmla="*/ 0 h 376"/>
                  <a:gd name="T22" fmla="*/ 239 w 420"/>
                  <a:gd name="T23" fmla="*/ 45 h 376"/>
                  <a:gd name="T24" fmla="*/ 278 w 420"/>
                  <a:gd name="T25" fmla="*/ 61 h 376"/>
                  <a:gd name="T26" fmla="*/ 300 w 420"/>
                  <a:gd name="T27" fmla="*/ 67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20" h="376">
                    <a:moveTo>
                      <a:pt x="300" y="67"/>
                    </a:moveTo>
                    <a:cubicBezTo>
                      <a:pt x="300" y="68"/>
                      <a:pt x="300" y="68"/>
                      <a:pt x="300" y="68"/>
                    </a:cubicBezTo>
                    <a:cubicBezTo>
                      <a:pt x="82" y="223"/>
                      <a:pt x="82" y="223"/>
                      <a:pt x="82" y="223"/>
                    </a:cubicBezTo>
                    <a:cubicBezTo>
                      <a:pt x="67" y="204"/>
                      <a:pt x="52" y="186"/>
                      <a:pt x="37" y="169"/>
                    </a:cubicBezTo>
                    <a:cubicBezTo>
                      <a:pt x="0" y="195"/>
                      <a:pt x="0" y="195"/>
                      <a:pt x="0" y="195"/>
                    </a:cubicBezTo>
                    <a:cubicBezTo>
                      <a:pt x="35" y="259"/>
                      <a:pt x="80" y="321"/>
                      <a:pt x="128" y="376"/>
                    </a:cubicBezTo>
                    <a:cubicBezTo>
                      <a:pt x="165" y="350"/>
                      <a:pt x="165" y="350"/>
                      <a:pt x="165" y="350"/>
                    </a:cubicBezTo>
                    <a:cubicBezTo>
                      <a:pt x="155" y="331"/>
                      <a:pt x="144" y="312"/>
                      <a:pt x="131" y="293"/>
                    </a:cubicBezTo>
                    <a:cubicBezTo>
                      <a:pt x="420" y="88"/>
                      <a:pt x="420" y="88"/>
                      <a:pt x="420" y="88"/>
                    </a:cubicBezTo>
                    <a:cubicBezTo>
                      <a:pt x="408" y="65"/>
                      <a:pt x="393" y="44"/>
                      <a:pt x="376" y="26"/>
                    </a:cubicBezTo>
                    <a:cubicBezTo>
                      <a:pt x="255" y="0"/>
                      <a:pt x="255" y="0"/>
                      <a:pt x="255" y="0"/>
                    </a:cubicBezTo>
                    <a:cubicBezTo>
                      <a:pt x="248" y="14"/>
                      <a:pt x="242" y="29"/>
                      <a:pt x="239" y="45"/>
                    </a:cubicBezTo>
                    <a:cubicBezTo>
                      <a:pt x="278" y="61"/>
                      <a:pt x="278" y="61"/>
                      <a:pt x="278" y="61"/>
                    </a:cubicBezTo>
                    <a:cubicBezTo>
                      <a:pt x="285" y="64"/>
                      <a:pt x="292" y="66"/>
                      <a:pt x="300" y="6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4" name="Freeform 17"/>
              <p:cNvSpPr>
                <a:spLocks/>
              </p:cNvSpPr>
              <p:nvPr/>
            </p:nvSpPr>
            <p:spPr bwMode="auto">
              <a:xfrm>
                <a:off x="10375900" y="2355850"/>
                <a:ext cx="287338" cy="203200"/>
              </a:xfrm>
              <a:custGeom>
                <a:avLst/>
                <a:gdLst>
                  <a:gd name="T0" fmla="*/ 169 w 181"/>
                  <a:gd name="T1" fmla="*/ 0 h 128"/>
                  <a:gd name="T2" fmla="*/ 181 w 181"/>
                  <a:gd name="T3" fmla="*/ 3 h 128"/>
                  <a:gd name="T4" fmla="*/ 5 w 181"/>
                  <a:gd name="T5" fmla="*/ 128 h 128"/>
                  <a:gd name="T6" fmla="*/ 0 w 181"/>
                  <a:gd name="T7" fmla="*/ 120 h 128"/>
                  <a:gd name="T8" fmla="*/ 169 w 181"/>
                  <a:gd name="T9" fmla="*/ 0 h 128"/>
                  <a:gd name="T10" fmla="*/ 169 w 181"/>
                  <a:gd name="T11" fmla="*/ 0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1" h="128">
                    <a:moveTo>
                      <a:pt x="169" y="0"/>
                    </a:moveTo>
                    <a:lnTo>
                      <a:pt x="181" y="3"/>
                    </a:lnTo>
                    <a:lnTo>
                      <a:pt x="5" y="128"/>
                    </a:lnTo>
                    <a:lnTo>
                      <a:pt x="0" y="120"/>
                    </a:lnTo>
                    <a:lnTo>
                      <a:pt x="169" y="0"/>
                    </a:lnTo>
                    <a:lnTo>
                      <a:pt x="169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5" name="Freeform 18"/>
              <p:cNvSpPr>
                <a:spLocks/>
              </p:cNvSpPr>
              <p:nvPr/>
            </p:nvSpPr>
            <p:spPr bwMode="auto">
              <a:xfrm>
                <a:off x="10452100" y="2532063"/>
                <a:ext cx="515938" cy="441325"/>
              </a:xfrm>
              <a:custGeom>
                <a:avLst/>
                <a:gdLst>
                  <a:gd name="T0" fmla="*/ 372 w 443"/>
                  <a:gd name="T1" fmla="*/ 55 h 379"/>
                  <a:gd name="T2" fmla="*/ 343 w 443"/>
                  <a:gd name="T3" fmla="*/ 0 h 379"/>
                  <a:gd name="T4" fmla="*/ 153 w 443"/>
                  <a:gd name="T5" fmla="*/ 85 h 379"/>
                  <a:gd name="T6" fmla="*/ 178 w 443"/>
                  <a:gd name="T7" fmla="*/ 147 h 379"/>
                  <a:gd name="T8" fmla="*/ 216 w 443"/>
                  <a:gd name="T9" fmla="*/ 191 h 379"/>
                  <a:gd name="T10" fmla="*/ 174 w 443"/>
                  <a:gd name="T11" fmla="*/ 265 h 379"/>
                  <a:gd name="T12" fmla="*/ 78 w 443"/>
                  <a:gd name="T13" fmla="*/ 250 h 379"/>
                  <a:gd name="T14" fmla="*/ 123 w 443"/>
                  <a:gd name="T15" fmla="*/ 166 h 379"/>
                  <a:gd name="T16" fmla="*/ 96 w 443"/>
                  <a:gd name="T17" fmla="*/ 107 h 379"/>
                  <a:gd name="T18" fmla="*/ 17 w 443"/>
                  <a:gd name="T19" fmla="*/ 145 h 379"/>
                  <a:gd name="T20" fmla="*/ 20 w 443"/>
                  <a:gd name="T21" fmla="*/ 271 h 379"/>
                  <a:gd name="T22" fmla="*/ 205 w 443"/>
                  <a:gd name="T23" fmla="*/ 351 h 379"/>
                  <a:gd name="T24" fmla="*/ 278 w 443"/>
                  <a:gd name="T25" fmla="*/ 183 h 379"/>
                  <a:gd name="T26" fmla="*/ 246 w 443"/>
                  <a:gd name="T27" fmla="*/ 131 h 379"/>
                  <a:gd name="T28" fmla="*/ 321 w 443"/>
                  <a:gd name="T29" fmla="*/ 97 h 379"/>
                  <a:gd name="T30" fmla="*/ 364 w 443"/>
                  <a:gd name="T31" fmla="*/ 193 h 379"/>
                  <a:gd name="T32" fmla="*/ 335 w 443"/>
                  <a:gd name="T33" fmla="*/ 221 h 379"/>
                  <a:gd name="T34" fmla="*/ 353 w 443"/>
                  <a:gd name="T35" fmla="*/ 259 h 379"/>
                  <a:gd name="T36" fmla="*/ 443 w 443"/>
                  <a:gd name="T37" fmla="*/ 222 h 379"/>
                  <a:gd name="T38" fmla="*/ 426 w 443"/>
                  <a:gd name="T39" fmla="*/ 174 h 379"/>
                  <a:gd name="T40" fmla="*/ 372 w 443"/>
                  <a:gd name="T41" fmla="*/ 55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43" h="379">
                    <a:moveTo>
                      <a:pt x="372" y="55"/>
                    </a:moveTo>
                    <a:cubicBezTo>
                      <a:pt x="363" y="36"/>
                      <a:pt x="354" y="17"/>
                      <a:pt x="343" y="0"/>
                    </a:cubicBezTo>
                    <a:cubicBezTo>
                      <a:pt x="153" y="85"/>
                      <a:pt x="153" y="85"/>
                      <a:pt x="153" y="85"/>
                    </a:cubicBezTo>
                    <a:cubicBezTo>
                      <a:pt x="161" y="112"/>
                      <a:pt x="165" y="124"/>
                      <a:pt x="178" y="147"/>
                    </a:cubicBezTo>
                    <a:cubicBezTo>
                      <a:pt x="195" y="155"/>
                      <a:pt x="211" y="178"/>
                      <a:pt x="216" y="191"/>
                    </a:cubicBezTo>
                    <a:cubicBezTo>
                      <a:pt x="227" y="219"/>
                      <a:pt x="212" y="249"/>
                      <a:pt x="174" y="265"/>
                    </a:cubicBezTo>
                    <a:cubicBezTo>
                      <a:pt x="142" y="280"/>
                      <a:pt x="95" y="290"/>
                      <a:pt x="78" y="250"/>
                    </a:cubicBezTo>
                    <a:cubicBezTo>
                      <a:pt x="64" y="218"/>
                      <a:pt x="75" y="193"/>
                      <a:pt x="123" y="166"/>
                    </a:cubicBezTo>
                    <a:cubicBezTo>
                      <a:pt x="115" y="143"/>
                      <a:pt x="107" y="126"/>
                      <a:pt x="96" y="107"/>
                    </a:cubicBezTo>
                    <a:cubicBezTo>
                      <a:pt x="66" y="119"/>
                      <a:pt x="43" y="130"/>
                      <a:pt x="17" y="145"/>
                    </a:cubicBezTo>
                    <a:cubicBezTo>
                      <a:pt x="1" y="187"/>
                      <a:pt x="0" y="227"/>
                      <a:pt x="20" y="271"/>
                    </a:cubicBezTo>
                    <a:cubicBezTo>
                      <a:pt x="62" y="364"/>
                      <a:pt x="138" y="379"/>
                      <a:pt x="205" y="351"/>
                    </a:cubicBezTo>
                    <a:cubicBezTo>
                      <a:pt x="288" y="316"/>
                      <a:pt x="308" y="254"/>
                      <a:pt x="278" y="183"/>
                    </a:cubicBezTo>
                    <a:cubicBezTo>
                      <a:pt x="273" y="169"/>
                      <a:pt x="261" y="145"/>
                      <a:pt x="246" y="131"/>
                    </a:cubicBezTo>
                    <a:cubicBezTo>
                      <a:pt x="321" y="97"/>
                      <a:pt x="321" y="97"/>
                      <a:pt x="321" y="97"/>
                    </a:cubicBezTo>
                    <a:cubicBezTo>
                      <a:pt x="364" y="193"/>
                      <a:pt x="364" y="193"/>
                      <a:pt x="364" y="193"/>
                    </a:cubicBezTo>
                    <a:cubicBezTo>
                      <a:pt x="353" y="203"/>
                      <a:pt x="341" y="213"/>
                      <a:pt x="335" y="221"/>
                    </a:cubicBezTo>
                    <a:cubicBezTo>
                      <a:pt x="353" y="259"/>
                      <a:pt x="353" y="259"/>
                      <a:pt x="353" y="259"/>
                    </a:cubicBezTo>
                    <a:cubicBezTo>
                      <a:pt x="381" y="250"/>
                      <a:pt x="414" y="237"/>
                      <a:pt x="443" y="222"/>
                    </a:cubicBezTo>
                    <a:cubicBezTo>
                      <a:pt x="439" y="205"/>
                      <a:pt x="433" y="189"/>
                      <a:pt x="426" y="174"/>
                    </a:cubicBezTo>
                    <a:cubicBezTo>
                      <a:pt x="372" y="55"/>
                      <a:pt x="372" y="55"/>
                      <a:pt x="372" y="5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6" name="Freeform 19"/>
              <p:cNvSpPr>
                <a:spLocks/>
              </p:cNvSpPr>
              <p:nvPr/>
            </p:nvSpPr>
            <p:spPr bwMode="auto">
              <a:xfrm>
                <a:off x="10567988" y="2806700"/>
                <a:ext cx="179388" cy="104775"/>
              </a:xfrm>
              <a:custGeom>
                <a:avLst/>
                <a:gdLst>
                  <a:gd name="T0" fmla="*/ 83 w 153"/>
                  <a:gd name="T1" fmla="*/ 64 h 90"/>
                  <a:gd name="T2" fmla="*/ 151 w 153"/>
                  <a:gd name="T3" fmla="*/ 0 h 90"/>
                  <a:gd name="T4" fmla="*/ 86 w 153"/>
                  <a:gd name="T5" fmla="*/ 78 h 90"/>
                  <a:gd name="T6" fmla="*/ 0 w 153"/>
                  <a:gd name="T7" fmla="*/ 75 h 90"/>
                  <a:gd name="T8" fmla="*/ 83 w 153"/>
                  <a:gd name="T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3" h="90">
                    <a:moveTo>
                      <a:pt x="83" y="64"/>
                    </a:moveTo>
                    <a:cubicBezTo>
                      <a:pt x="110" y="54"/>
                      <a:pt x="139" y="33"/>
                      <a:pt x="151" y="0"/>
                    </a:cubicBezTo>
                    <a:cubicBezTo>
                      <a:pt x="153" y="36"/>
                      <a:pt x="121" y="64"/>
                      <a:pt x="86" y="78"/>
                    </a:cubicBezTo>
                    <a:cubicBezTo>
                      <a:pt x="54" y="90"/>
                      <a:pt x="26" y="90"/>
                      <a:pt x="0" y="75"/>
                    </a:cubicBezTo>
                    <a:cubicBezTo>
                      <a:pt x="29" y="82"/>
                      <a:pt x="57" y="76"/>
                      <a:pt x="83" y="6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" name="Freeform 20"/>
              <p:cNvSpPr>
                <a:spLocks/>
              </p:cNvSpPr>
              <p:nvPr/>
            </p:nvSpPr>
            <p:spPr bwMode="auto">
              <a:xfrm>
                <a:off x="10677525" y="2586038"/>
                <a:ext cx="133350" cy="65087"/>
              </a:xfrm>
              <a:custGeom>
                <a:avLst/>
                <a:gdLst>
                  <a:gd name="T0" fmla="*/ 17 w 115"/>
                  <a:gd name="T1" fmla="*/ 55 h 55"/>
                  <a:gd name="T2" fmla="*/ 0 w 115"/>
                  <a:gd name="T3" fmla="*/ 50 h 55"/>
                  <a:gd name="T4" fmla="*/ 111 w 115"/>
                  <a:gd name="T5" fmla="*/ 0 h 55"/>
                  <a:gd name="T6" fmla="*/ 115 w 115"/>
                  <a:gd name="T7" fmla="*/ 10 h 55"/>
                  <a:gd name="T8" fmla="*/ 17 w 115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5" h="55">
                    <a:moveTo>
                      <a:pt x="17" y="55"/>
                    </a:moveTo>
                    <a:cubicBezTo>
                      <a:pt x="12" y="52"/>
                      <a:pt x="7" y="51"/>
                      <a:pt x="0" y="50"/>
                    </a:cubicBezTo>
                    <a:cubicBezTo>
                      <a:pt x="111" y="0"/>
                      <a:pt x="111" y="0"/>
                      <a:pt x="111" y="0"/>
                    </a:cubicBezTo>
                    <a:cubicBezTo>
                      <a:pt x="115" y="10"/>
                      <a:pt x="115" y="10"/>
                      <a:pt x="115" y="10"/>
                    </a:cubicBezTo>
                    <a:cubicBezTo>
                      <a:pt x="17" y="55"/>
                      <a:pt x="17" y="55"/>
                      <a:pt x="17" y="5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" name="Freeform 21"/>
              <p:cNvSpPr>
                <a:spLocks/>
              </p:cNvSpPr>
              <p:nvPr/>
            </p:nvSpPr>
            <p:spPr bwMode="auto">
              <a:xfrm>
                <a:off x="10499725" y="2698750"/>
                <a:ext cx="46038" cy="65087"/>
              </a:xfrm>
              <a:custGeom>
                <a:avLst/>
                <a:gdLst>
                  <a:gd name="T0" fmla="*/ 3 w 40"/>
                  <a:gd name="T1" fmla="*/ 56 h 56"/>
                  <a:gd name="T2" fmla="*/ 5 w 40"/>
                  <a:gd name="T3" fmla="*/ 18 h 56"/>
                  <a:gd name="T4" fmla="*/ 39 w 40"/>
                  <a:gd name="T5" fmla="*/ 0 h 56"/>
                  <a:gd name="T6" fmla="*/ 40 w 40"/>
                  <a:gd name="T7" fmla="*/ 1 h 56"/>
                  <a:gd name="T8" fmla="*/ 3 w 40"/>
                  <a:gd name="T9" fmla="*/ 5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56">
                    <a:moveTo>
                      <a:pt x="3" y="56"/>
                    </a:moveTo>
                    <a:cubicBezTo>
                      <a:pt x="0" y="43"/>
                      <a:pt x="2" y="30"/>
                      <a:pt x="5" y="18"/>
                    </a:cubicBezTo>
                    <a:cubicBezTo>
                      <a:pt x="16" y="10"/>
                      <a:pt x="28" y="5"/>
                      <a:pt x="39" y="0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22" y="16"/>
                      <a:pt x="6" y="32"/>
                      <a:pt x="3" y="5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" name="Freeform 22"/>
              <p:cNvSpPr>
                <a:spLocks/>
              </p:cNvSpPr>
              <p:nvPr/>
            </p:nvSpPr>
            <p:spPr bwMode="auto">
              <a:xfrm>
                <a:off x="10868025" y="2768600"/>
                <a:ext cx="53975" cy="30162"/>
              </a:xfrm>
              <a:custGeom>
                <a:avLst/>
                <a:gdLst>
                  <a:gd name="T0" fmla="*/ 47 w 47"/>
                  <a:gd name="T1" fmla="*/ 5 h 26"/>
                  <a:gd name="T2" fmla="*/ 1 w 47"/>
                  <a:gd name="T3" fmla="*/ 26 h 26"/>
                  <a:gd name="T4" fmla="*/ 0 w 47"/>
                  <a:gd name="T5" fmla="*/ 23 h 26"/>
                  <a:gd name="T6" fmla="*/ 33 w 47"/>
                  <a:gd name="T7" fmla="*/ 0 h 26"/>
                  <a:gd name="T8" fmla="*/ 47 w 47"/>
                  <a:gd name="T9" fmla="*/ 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26">
                    <a:moveTo>
                      <a:pt x="47" y="5"/>
                    </a:moveTo>
                    <a:cubicBezTo>
                      <a:pt x="1" y="26"/>
                      <a:pt x="1" y="26"/>
                      <a:pt x="1" y="26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9" y="15"/>
                      <a:pt x="17" y="8"/>
                      <a:pt x="33" y="0"/>
                    </a:cubicBezTo>
                    <a:cubicBezTo>
                      <a:pt x="47" y="5"/>
                      <a:pt x="47" y="5"/>
                      <a:pt x="47" y="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0" name="Freeform 23"/>
              <p:cNvSpPr>
                <a:spLocks noEditPoints="1"/>
              </p:cNvSpPr>
              <p:nvPr/>
            </p:nvSpPr>
            <p:spPr bwMode="auto">
              <a:xfrm>
                <a:off x="9236075" y="2574925"/>
                <a:ext cx="212725" cy="174625"/>
              </a:xfrm>
              <a:custGeom>
                <a:avLst/>
                <a:gdLst>
                  <a:gd name="T0" fmla="*/ 124 w 183"/>
                  <a:gd name="T1" fmla="*/ 3 h 150"/>
                  <a:gd name="T2" fmla="*/ 124 w 183"/>
                  <a:gd name="T3" fmla="*/ 17 h 150"/>
                  <a:gd name="T4" fmla="*/ 138 w 183"/>
                  <a:gd name="T5" fmla="*/ 18 h 150"/>
                  <a:gd name="T6" fmla="*/ 126 w 183"/>
                  <a:gd name="T7" fmla="*/ 72 h 150"/>
                  <a:gd name="T8" fmla="*/ 124 w 183"/>
                  <a:gd name="T9" fmla="*/ 85 h 150"/>
                  <a:gd name="T10" fmla="*/ 123 w 183"/>
                  <a:gd name="T11" fmla="*/ 85 h 150"/>
                  <a:gd name="T12" fmla="*/ 121 w 183"/>
                  <a:gd name="T13" fmla="*/ 73 h 150"/>
                  <a:gd name="T14" fmla="*/ 104 w 183"/>
                  <a:gd name="T15" fmla="*/ 2 h 150"/>
                  <a:gd name="T16" fmla="*/ 77 w 183"/>
                  <a:gd name="T17" fmla="*/ 2 h 150"/>
                  <a:gd name="T18" fmla="*/ 59 w 183"/>
                  <a:gd name="T19" fmla="*/ 74 h 150"/>
                  <a:gd name="T20" fmla="*/ 56 w 183"/>
                  <a:gd name="T21" fmla="*/ 87 h 150"/>
                  <a:gd name="T22" fmla="*/ 56 w 183"/>
                  <a:gd name="T23" fmla="*/ 87 h 150"/>
                  <a:gd name="T24" fmla="*/ 54 w 183"/>
                  <a:gd name="T25" fmla="*/ 74 h 150"/>
                  <a:gd name="T26" fmla="*/ 42 w 183"/>
                  <a:gd name="T27" fmla="*/ 18 h 150"/>
                  <a:gd name="T28" fmla="*/ 56 w 183"/>
                  <a:gd name="T29" fmla="*/ 17 h 150"/>
                  <a:gd name="T30" fmla="*/ 56 w 183"/>
                  <a:gd name="T31" fmla="*/ 3 h 150"/>
                  <a:gd name="T32" fmla="*/ 0 w 183"/>
                  <a:gd name="T33" fmla="*/ 3 h 150"/>
                  <a:gd name="T34" fmla="*/ 0 w 183"/>
                  <a:gd name="T35" fmla="*/ 17 h 150"/>
                  <a:gd name="T36" fmla="*/ 13 w 183"/>
                  <a:gd name="T37" fmla="*/ 18 h 150"/>
                  <a:gd name="T38" fmla="*/ 44 w 183"/>
                  <a:gd name="T39" fmla="*/ 149 h 150"/>
                  <a:gd name="T40" fmla="*/ 70 w 183"/>
                  <a:gd name="T41" fmla="*/ 149 h 150"/>
                  <a:gd name="T42" fmla="*/ 89 w 183"/>
                  <a:gd name="T43" fmla="*/ 69 h 150"/>
                  <a:gd name="T44" fmla="*/ 91 w 183"/>
                  <a:gd name="T45" fmla="*/ 57 h 150"/>
                  <a:gd name="T46" fmla="*/ 92 w 183"/>
                  <a:gd name="T47" fmla="*/ 57 h 150"/>
                  <a:gd name="T48" fmla="*/ 94 w 183"/>
                  <a:gd name="T49" fmla="*/ 69 h 150"/>
                  <a:gd name="T50" fmla="*/ 113 w 183"/>
                  <a:gd name="T51" fmla="*/ 149 h 150"/>
                  <a:gd name="T52" fmla="*/ 139 w 183"/>
                  <a:gd name="T53" fmla="*/ 149 h 150"/>
                  <a:gd name="T54" fmla="*/ 171 w 183"/>
                  <a:gd name="T55" fmla="*/ 18 h 150"/>
                  <a:gd name="T56" fmla="*/ 183 w 183"/>
                  <a:gd name="T57" fmla="*/ 17 h 150"/>
                  <a:gd name="T58" fmla="*/ 183 w 183"/>
                  <a:gd name="T59" fmla="*/ 3 h 150"/>
                  <a:gd name="T60" fmla="*/ 124 w 183"/>
                  <a:gd name="T61" fmla="*/ 3 h 150"/>
                  <a:gd name="T62" fmla="*/ 150 w 183"/>
                  <a:gd name="T63" fmla="*/ 18 h 150"/>
                  <a:gd name="T64" fmla="*/ 154 w 183"/>
                  <a:gd name="T65" fmla="*/ 18 h 150"/>
                  <a:gd name="T66" fmla="*/ 129 w 183"/>
                  <a:gd name="T67" fmla="*/ 132 h 150"/>
                  <a:gd name="T68" fmla="*/ 124 w 183"/>
                  <a:gd name="T69" fmla="*/ 132 h 150"/>
                  <a:gd name="T70" fmla="*/ 150 w 183"/>
                  <a:gd name="T71" fmla="*/ 18 h 150"/>
                  <a:gd name="T72" fmla="*/ 88 w 183"/>
                  <a:gd name="T73" fmla="*/ 18 h 150"/>
                  <a:gd name="T74" fmla="*/ 60 w 183"/>
                  <a:gd name="T75" fmla="*/ 132 h 150"/>
                  <a:gd name="T76" fmla="*/ 55 w 183"/>
                  <a:gd name="T77" fmla="*/ 132 h 150"/>
                  <a:gd name="T78" fmla="*/ 84 w 183"/>
                  <a:gd name="T79" fmla="*/ 18 h 150"/>
                  <a:gd name="T80" fmla="*/ 88 w 183"/>
                  <a:gd name="T81" fmla="*/ 1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83" h="150">
                    <a:moveTo>
                      <a:pt x="124" y="3"/>
                    </a:moveTo>
                    <a:cubicBezTo>
                      <a:pt x="124" y="17"/>
                      <a:pt x="124" y="17"/>
                      <a:pt x="124" y="17"/>
                    </a:cubicBezTo>
                    <a:cubicBezTo>
                      <a:pt x="128" y="18"/>
                      <a:pt x="134" y="18"/>
                      <a:pt x="138" y="18"/>
                    </a:cubicBezTo>
                    <a:cubicBezTo>
                      <a:pt x="126" y="72"/>
                      <a:pt x="126" y="72"/>
                      <a:pt x="126" y="72"/>
                    </a:cubicBezTo>
                    <a:cubicBezTo>
                      <a:pt x="125" y="77"/>
                      <a:pt x="125" y="80"/>
                      <a:pt x="124" y="85"/>
                    </a:cubicBezTo>
                    <a:cubicBezTo>
                      <a:pt x="123" y="85"/>
                      <a:pt x="123" y="85"/>
                      <a:pt x="123" y="85"/>
                    </a:cubicBezTo>
                    <a:cubicBezTo>
                      <a:pt x="123" y="81"/>
                      <a:pt x="122" y="77"/>
                      <a:pt x="121" y="73"/>
                    </a:cubicBezTo>
                    <a:cubicBezTo>
                      <a:pt x="104" y="2"/>
                      <a:pt x="104" y="2"/>
                      <a:pt x="104" y="2"/>
                    </a:cubicBezTo>
                    <a:cubicBezTo>
                      <a:pt x="94" y="1"/>
                      <a:pt x="87" y="1"/>
                      <a:pt x="77" y="2"/>
                    </a:cubicBezTo>
                    <a:cubicBezTo>
                      <a:pt x="59" y="74"/>
                      <a:pt x="59" y="74"/>
                      <a:pt x="59" y="74"/>
                    </a:cubicBezTo>
                    <a:cubicBezTo>
                      <a:pt x="58" y="78"/>
                      <a:pt x="57" y="82"/>
                      <a:pt x="56" y="87"/>
                    </a:cubicBezTo>
                    <a:cubicBezTo>
                      <a:pt x="56" y="87"/>
                      <a:pt x="56" y="87"/>
                      <a:pt x="56" y="87"/>
                    </a:cubicBezTo>
                    <a:cubicBezTo>
                      <a:pt x="55" y="82"/>
                      <a:pt x="54" y="78"/>
                      <a:pt x="54" y="74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6" y="18"/>
                      <a:pt x="52" y="18"/>
                      <a:pt x="56" y="17"/>
                    </a:cubicBezTo>
                    <a:cubicBezTo>
                      <a:pt x="56" y="3"/>
                      <a:pt x="56" y="3"/>
                      <a:pt x="56" y="3"/>
                    </a:cubicBezTo>
                    <a:cubicBezTo>
                      <a:pt x="36" y="0"/>
                      <a:pt x="21" y="0"/>
                      <a:pt x="0" y="3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5" y="18"/>
                      <a:pt x="8" y="18"/>
                      <a:pt x="13" y="18"/>
                    </a:cubicBezTo>
                    <a:cubicBezTo>
                      <a:pt x="44" y="149"/>
                      <a:pt x="44" y="149"/>
                      <a:pt x="44" y="149"/>
                    </a:cubicBezTo>
                    <a:cubicBezTo>
                      <a:pt x="53" y="150"/>
                      <a:pt x="61" y="150"/>
                      <a:pt x="70" y="149"/>
                    </a:cubicBezTo>
                    <a:cubicBezTo>
                      <a:pt x="89" y="69"/>
                      <a:pt x="89" y="69"/>
                      <a:pt x="89" y="69"/>
                    </a:cubicBezTo>
                    <a:cubicBezTo>
                      <a:pt x="90" y="65"/>
                      <a:pt x="91" y="61"/>
                      <a:pt x="91" y="57"/>
                    </a:cubicBezTo>
                    <a:cubicBezTo>
                      <a:pt x="92" y="57"/>
                      <a:pt x="92" y="57"/>
                      <a:pt x="92" y="57"/>
                    </a:cubicBezTo>
                    <a:cubicBezTo>
                      <a:pt x="92" y="62"/>
                      <a:pt x="93" y="65"/>
                      <a:pt x="94" y="69"/>
                    </a:cubicBezTo>
                    <a:cubicBezTo>
                      <a:pt x="113" y="149"/>
                      <a:pt x="113" y="149"/>
                      <a:pt x="113" y="149"/>
                    </a:cubicBezTo>
                    <a:cubicBezTo>
                      <a:pt x="125" y="150"/>
                      <a:pt x="130" y="150"/>
                      <a:pt x="139" y="149"/>
                    </a:cubicBezTo>
                    <a:cubicBezTo>
                      <a:pt x="171" y="18"/>
                      <a:pt x="171" y="18"/>
                      <a:pt x="171" y="18"/>
                    </a:cubicBezTo>
                    <a:cubicBezTo>
                      <a:pt x="176" y="18"/>
                      <a:pt x="178" y="18"/>
                      <a:pt x="183" y="17"/>
                    </a:cubicBezTo>
                    <a:cubicBezTo>
                      <a:pt x="183" y="3"/>
                      <a:pt x="183" y="3"/>
                      <a:pt x="183" y="3"/>
                    </a:cubicBezTo>
                    <a:cubicBezTo>
                      <a:pt x="163" y="1"/>
                      <a:pt x="143" y="0"/>
                      <a:pt x="124" y="3"/>
                    </a:cubicBezTo>
                    <a:close/>
                    <a:moveTo>
                      <a:pt x="150" y="18"/>
                    </a:moveTo>
                    <a:cubicBezTo>
                      <a:pt x="154" y="18"/>
                      <a:pt x="154" y="18"/>
                      <a:pt x="154" y="18"/>
                    </a:cubicBezTo>
                    <a:cubicBezTo>
                      <a:pt x="129" y="132"/>
                      <a:pt x="129" y="132"/>
                      <a:pt x="129" y="132"/>
                    </a:cubicBezTo>
                    <a:cubicBezTo>
                      <a:pt x="124" y="132"/>
                      <a:pt x="124" y="132"/>
                      <a:pt x="124" y="132"/>
                    </a:cubicBezTo>
                    <a:cubicBezTo>
                      <a:pt x="150" y="18"/>
                      <a:pt x="150" y="18"/>
                      <a:pt x="150" y="18"/>
                    </a:cubicBezTo>
                    <a:close/>
                    <a:moveTo>
                      <a:pt x="88" y="18"/>
                    </a:moveTo>
                    <a:cubicBezTo>
                      <a:pt x="60" y="132"/>
                      <a:pt x="60" y="132"/>
                      <a:pt x="60" y="132"/>
                    </a:cubicBezTo>
                    <a:cubicBezTo>
                      <a:pt x="55" y="132"/>
                      <a:pt x="55" y="132"/>
                      <a:pt x="55" y="132"/>
                    </a:cubicBezTo>
                    <a:cubicBezTo>
                      <a:pt x="84" y="18"/>
                      <a:pt x="84" y="18"/>
                      <a:pt x="84" y="18"/>
                    </a:cubicBezTo>
                    <a:cubicBezTo>
                      <a:pt x="88" y="18"/>
                      <a:pt x="88" y="18"/>
                      <a:pt x="88" y="1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1" name="Freeform 24"/>
              <p:cNvSpPr>
                <a:spLocks noEditPoints="1"/>
              </p:cNvSpPr>
              <p:nvPr/>
            </p:nvSpPr>
            <p:spPr bwMode="auto">
              <a:xfrm>
                <a:off x="9451975" y="2573338"/>
                <a:ext cx="146050" cy="177800"/>
              </a:xfrm>
              <a:custGeom>
                <a:avLst/>
                <a:gdLst>
                  <a:gd name="T0" fmla="*/ 125 w 125"/>
                  <a:gd name="T1" fmla="*/ 76 h 152"/>
                  <a:gd name="T2" fmla="*/ 62 w 125"/>
                  <a:gd name="T3" fmla="*/ 0 h 152"/>
                  <a:gd name="T4" fmla="*/ 0 w 125"/>
                  <a:gd name="T5" fmla="*/ 76 h 152"/>
                  <a:gd name="T6" fmla="*/ 62 w 125"/>
                  <a:gd name="T7" fmla="*/ 152 h 152"/>
                  <a:gd name="T8" fmla="*/ 125 w 125"/>
                  <a:gd name="T9" fmla="*/ 76 h 152"/>
                  <a:gd name="T10" fmla="*/ 90 w 125"/>
                  <a:gd name="T11" fmla="*/ 76 h 152"/>
                  <a:gd name="T12" fmla="*/ 62 w 125"/>
                  <a:gd name="T13" fmla="*/ 129 h 152"/>
                  <a:gd name="T14" fmla="*/ 35 w 125"/>
                  <a:gd name="T15" fmla="*/ 76 h 152"/>
                  <a:gd name="T16" fmla="*/ 62 w 125"/>
                  <a:gd name="T17" fmla="*/ 23 h 152"/>
                  <a:gd name="T18" fmla="*/ 90 w 125"/>
                  <a:gd name="T19" fmla="*/ 76 h 152"/>
                  <a:gd name="T20" fmla="*/ 30 w 125"/>
                  <a:gd name="T21" fmla="*/ 20 h 152"/>
                  <a:gd name="T22" fmla="*/ 15 w 125"/>
                  <a:gd name="T23" fmla="*/ 76 h 152"/>
                  <a:gd name="T24" fmla="*/ 29 w 125"/>
                  <a:gd name="T25" fmla="*/ 130 h 152"/>
                  <a:gd name="T26" fmla="*/ 10 w 125"/>
                  <a:gd name="T27" fmla="*/ 76 h 152"/>
                  <a:gd name="T28" fmla="*/ 30 w 125"/>
                  <a:gd name="T29" fmla="*/ 20 h 152"/>
                  <a:gd name="T30" fmla="*/ 105 w 125"/>
                  <a:gd name="T31" fmla="*/ 76 h 152"/>
                  <a:gd name="T32" fmla="*/ 87 w 125"/>
                  <a:gd name="T33" fmla="*/ 130 h 152"/>
                  <a:gd name="T34" fmla="*/ 100 w 125"/>
                  <a:gd name="T35" fmla="*/ 76 h 152"/>
                  <a:gd name="T36" fmla="*/ 86 w 125"/>
                  <a:gd name="T37" fmla="*/ 22 h 152"/>
                  <a:gd name="T38" fmla="*/ 105 w 125"/>
                  <a:gd name="T39" fmla="*/ 76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5" h="152">
                    <a:moveTo>
                      <a:pt x="125" y="76"/>
                    </a:moveTo>
                    <a:cubicBezTo>
                      <a:pt x="125" y="32"/>
                      <a:pt x="108" y="0"/>
                      <a:pt x="62" y="0"/>
                    </a:cubicBezTo>
                    <a:cubicBezTo>
                      <a:pt x="17" y="0"/>
                      <a:pt x="0" y="32"/>
                      <a:pt x="0" y="76"/>
                    </a:cubicBezTo>
                    <a:cubicBezTo>
                      <a:pt x="0" y="121"/>
                      <a:pt x="18" y="152"/>
                      <a:pt x="62" y="152"/>
                    </a:cubicBezTo>
                    <a:cubicBezTo>
                      <a:pt x="106" y="152"/>
                      <a:pt x="125" y="121"/>
                      <a:pt x="125" y="76"/>
                    </a:cubicBezTo>
                    <a:close/>
                    <a:moveTo>
                      <a:pt x="90" y="76"/>
                    </a:moveTo>
                    <a:cubicBezTo>
                      <a:pt x="90" y="96"/>
                      <a:pt x="89" y="129"/>
                      <a:pt x="62" y="129"/>
                    </a:cubicBezTo>
                    <a:cubicBezTo>
                      <a:pt x="36" y="129"/>
                      <a:pt x="35" y="95"/>
                      <a:pt x="35" y="76"/>
                    </a:cubicBezTo>
                    <a:cubicBezTo>
                      <a:pt x="35" y="57"/>
                      <a:pt x="36" y="23"/>
                      <a:pt x="62" y="23"/>
                    </a:cubicBezTo>
                    <a:cubicBezTo>
                      <a:pt x="89" y="23"/>
                      <a:pt x="90" y="57"/>
                      <a:pt x="90" y="76"/>
                    </a:cubicBezTo>
                    <a:close/>
                    <a:moveTo>
                      <a:pt x="30" y="20"/>
                    </a:moveTo>
                    <a:cubicBezTo>
                      <a:pt x="17" y="35"/>
                      <a:pt x="15" y="58"/>
                      <a:pt x="15" y="76"/>
                    </a:cubicBezTo>
                    <a:cubicBezTo>
                      <a:pt x="15" y="94"/>
                      <a:pt x="17" y="115"/>
                      <a:pt x="29" y="130"/>
                    </a:cubicBezTo>
                    <a:cubicBezTo>
                      <a:pt x="13" y="118"/>
                      <a:pt x="10" y="95"/>
                      <a:pt x="10" y="76"/>
                    </a:cubicBezTo>
                    <a:cubicBezTo>
                      <a:pt x="10" y="51"/>
                      <a:pt x="16" y="30"/>
                      <a:pt x="30" y="20"/>
                    </a:cubicBezTo>
                    <a:close/>
                    <a:moveTo>
                      <a:pt x="105" y="76"/>
                    </a:moveTo>
                    <a:cubicBezTo>
                      <a:pt x="105" y="95"/>
                      <a:pt x="102" y="119"/>
                      <a:pt x="87" y="130"/>
                    </a:cubicBezTo>
                    <a:cubicBezTo>
                      <a:pt x="98" y="116"/>
                      <a:pt x="100" y="94"/>
                      <a:pt x="100" y="76"/>
                    </a:cubicBezTo>
                    <a:cubicBezTo>
                      <a:pt x="100" y="58"/>
                      <a:pt x="98" y="37"/>
                      <a:pt x="86" y="22"/>
                    </a:cubicBezTo>
                    <a:cubicBezTo>
                      <a:pt x="103" y="34"/>
                      <a:pt x="105" y="57"/>
                      <a:pt x="105" y="7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2" name="Freeform 25"/>
              <p:cNvSpPr>
                <a:spLocks noEditPoints="1"/>
              </p:cNvSpPr>
              <p:nvPr/>
            </p:nvSpPr>
            <p:spPr bwMode="auto">
              <a:xfrm>
                <a:off x="9909175" y="2573338"/>
                <a:ext cx="149225" cy="176212"/>
              </a:xfrm>
              <a:custGeom>
                <a:avLst/>
                <a:gdLst>
                  <a:gd name="T0" fmla="*/ 15 w 127"/>
                  <a:gd name="T1" fmla="*/ 17 h 150"/>
                  <a:gd name="T2" fmla="*/ 15 w 127"/>
                  <a:gd name="T3" fmla="*/ 133 h 150"/>
                  <a:gd name="T4" fmla="*/ 0 w 127"/>
                  <a:gd name="T5" fmla="*/ 134 h 150"/>
                  <a:gd name="T6" fmla="*/ 0 w 127"/>
                  <a:gd name="T7" fmla="*/ 149 h 150"/>
                  <a:gd name="T8" fmla="*/ 32 w 127"/>
                  <a:gd name="T9" fmla="*/ 150 h 150"/>
                  <a:gd name="T10" fmla="*/ 62 w 127"/>
                  <a:gd name="T11" fmla="*/ 150 h 150"/>
                  <a:gd name="T12" fmla="*/ 127 w 127"/>
                  <a:gd name="T13" fmla="*/ 75 h 150"/>
                  <a:gd name="T14" fmla="*/ 62 w 127"/>
                  <a:gd name="T15" fmla="*/ 0 h 150"/>
                  <a:gd name="T16" fmla="*/ 32 w 127"/>
                  <a:gd name="T17" fmla="*/ 0 h 150"/>
                  <a:gd name="T18" fmla="*/ 0 w 127"/>
                  <a:gd name="T19" fmla="*/ 2 h 150"/>
                  <a:gd name="T20" fmla="*/ 0 w 127"/>
                  <a:gd name="T21" fmla="*/ 16 h 150"/>
                  <a:gd name="T22" fmla="*/ 15 w 127"/>
                  <a:gd name="T23" fmla="*/ 17 h 150"/>
                  <a:gd name="T24" fmla="*/ 60 w 127"/>
                  <a:gd name="T25" fmla="*/ 126 h 150"/>
                  <a:gd name="T26" fmla="*/ 48 w 127"/>
                  <a:gd name="T27" fmla="*/ 126 h 150"/>
                  <a:gd name="T28" fmla="*/ 48 w 127"/>
                  <a:gd name="T29" fmla="*/ 24 h 150"/>
                  <a:gd name="T30" fmla="*/ 60 w 127"/>
                  <a:gd name="T31" fmla="*/ 24 h 150"/>
                  <a:gd name="T32" fmla="*/ 90 w 127"/>
                  <a:gd name="T33" fmla="*/ 75 h 150"/>
                  <a:gd name="T34" fmla="*/ 60 w 127"/>
                  <a:gd name="T35" fmla="*/ 126 h 150"/>
                  <a:gd name="T36" fmla="*/ 25 w 127"/>
                  <a:gd name="T37" fmla="*/ 17 h 150"/>
                  <a:gd name="T38" fmla="*/ 29 w 127"/>
                  <a:gd name="T39" fmla="*/ 17 h 150"/>
                  <a:gd name="T40" fmla="*/ 29 w 127"/>
                  <a:gd name="T41" fmla="*/ 133 h 150"/>
                  <a:gd name="T42" fmla="*/ 25 w 127"/>
                  <a:gd name="T43" fmla="*/ 133 h 150"/>
                  <a:gd name="T44" fmla="*/ 25 w 127"/>
                  <a:gd name="T45" fmla="*/ 17 h 150"/>
                  <a:gd name="T46" fmla="*/ 107 w 127"/>
                  <a:gd name="T47" fmla="*/ 75 h 150"/>
                  <a:gd name="T48" fmla="*/ 84 w 127"/>
                  <a:gd name="T49" fmla="*/ 130 h 150"/>
                  <a:gd name="T50" fmla="*/ 102 w 127"/>
                  <a:gd name="T51" fmla="*/ 75 h 150"/>
                  <a:gd name="T52" fmla="*/ 83 w 127"/>
                  <a:gd name="T53" fmla="*/ 19 h 150"/>
                  <a:gd name="T54" fmla="*/ 107 w 127"/>
                  <a:gd name="T55" fmla="*/ 75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27" h="150">
                    <a:moveTo>
                      <a:pt x="15" y="17"/>
                    </a:moveTo>
                    <a:cubicBezTo>
                      <a:pt x="15" y="133"/>
                      <a:pt x="15" y="133"/>
                      <a:pt x="15" y="133"/>
                    </a:cubicBezTo>
                    <a:cubicBezTo>
                      <a:pt x="10" y="133"/>
                      <a:pt x="4" y="133"/>
                      <a:pt x="0" y="134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11" y="150"/>
                      <a:pt x="21" y="150"/>
                      <a:pt x="32" y="150"/>
                    </a:cubicBezTo>
                    <a:cubicBezTo>
                      <a:pt x="62" y="150"/>
                      <a:pt x="62" y="150"/>
                      <a:pt x="62" y="150"/>
                    </a:cubicBezTo>
                    <a:cubicBezTo>
                      <a:pt x="107" y="150"/>
                      <a:pt x="127" y="117"/>
                      <a:pt x="127" y="75"/>
                    </a:cubicBezTo>
                    <a:cubicBezTo>
                      <a:pt x="127" y="33"/>
                      <a:pt x="108" y="0"/>
                      <a:pt x="6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1" y="0"/>
                      <a:pt x="10" y="0"/>
                      <a:pt x="0" y="2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4" y="17"/>
                      <a:pt x="10" y="17"/>
                      <a:pt x="15" y="17"/>
                    </a:cubicBezTo>
                    <a:close/>
                    <a:moveTo>
                      <a:pt x="60" y="126"/>
                    </a:moveTo>
                    <a:cubicBezTo>
                      <a:pt x="48" y="126"/>
                      <a:pt x="48" y="126"/>
                      <a:pt x="48" y="126"/>
                    </a:cubicBezTo>
                    <a:cubicBezTo>
                      <a:pt x="48" y="24"/>
                      <a:pt x="48" y="24"/>
                      <a:pt x="48" y="24"/>
                    </a:cubicBezTo>
                    <a:cubicBezTo>
                      <a:pt x="60" y="24"/>
                      <a:pt x="60" y="24"/>
                      <a:pt x="60" y="24"/>
                    </a:cubicBezTo>
                    <a:cubicBezTo>
                      <a:pt x="87" y="24"/>
                      <a:pt x="90" y="57"/>
                      <a:pt x="90" y="75"/>
                    </a:cubicBezTo>
                    <a:cubicBezTo>
                      <a:pt x="90" y="94"/>
                      <a:pt x="87" y="126"/>
                      <a:pt x="60" y="126"/>
                    </a:cubicBezTo>
                    <a:close/>
                    <a:moveTo>
                      <a:pt x="25" y="17"/>
                    </a:moveTo>
                    <a:cubicBezTo>
                      <a:pt x="29" y="17"/>
                      <a:pt x="29" y="17"/>
                      <a:pt x="29" y="17"/>
                    </a:cubicBezTo>
                    <a:cubicBezTo>
                      <a:pt x="29" y="133"/>
                      <a:pt x="29" y="133"/>
                      <a:pt x="29" y="133"/>
                    </a:cubicBezTo>
                    <a:cubicBezTo>
                      <a:pt x="25" y="133"/>
                      <a:pt x="25" y="133"/>
                      <a:pt x="25" y="133"/>
                    </a:cubicBezTo>
                    <a:cubicBezTo>
                      <a:pt x="25" y="17"/>
                      <a:pt x="25" y="17"/>
                      <a:pt x="25" y="17"/>
                    </a:cubicBezTo>
                    <a:close/>
                    <a:moveTo>
                      <a:pt x="107" y="75"/>
                    </a:moveTo>
                    <a:cubicBezTo>
                      <a:pt x="107" y="95"/>
                      <a:pt x="103" y="117"/>
                      <a:pt x="84" y="130"/>
                    </a:cubicBezTo>
                    <a:cubicBezTo>
                      <a:pt x="99" y="117"/>
                      <a:pt x="102" y="94"/>
                      <a:pt x="102" y="75"/>
                    </a:cubicBezTo>
                    <a:cubicBezTo>
                      <a:pt x="102" y="57"/>
                      <a:pt x="98" y="29"/>
                      <a:pt x="83" y="19"/>
                    </a:cubicBezTo>
                    <a:cubicBezTo>
                      <a:pt x="102" y="27"/>
                      <a:pt x="107" y="56"/>
                      <a:pt x="107" y="75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3" name="Freeform 26"/>
              <p:cNvSpPr>
                <a:spLocks noEditPoints="1"/>
              </p:cNvSpPr>
              <p:nvPr/>
            </p:nvSpPr>
            <p:spPr bwMode="auto">
              <a:xfrm>
                <a:off x="9515475" y="2776538"/>
                <a:ext cx="74613" cy="100012"/>
              </a:xfrm>
              <a:custGeom>
                <a:avLst/>
                <a:gdLst>
                  <a:gd name="T0" fmla="*/ 0 w 64"/>
                  <a:gd name="T1" fmla="*/ 43 h 85"/>
                  <a:gd name="T2" fmla="*/ 33 w 64"/>
                  <a:gd name="T3" fmla="*/ 85 h 85"/>
                  <a:gd name="T4" fmla="*/ 53 w 64"/>
                  <a:gd name="T5" fmla="*/ 77 h 85"/>
                  <a:gd name="T6" fmla="*/ 56 w 64"/>
                  <a:gd name="T7" fmla="*/ 84 h 85"/>
                  <a:gd name="T8" fmla="*/ 64 w 64"/>
                  <a:gd name="T9" fmla="*/ 84 h 85"/>
                  <a:gd name="T10" fmla="*/ 64 w 64"/>
                  <a:gd name="T11" fmla="*/ 40 h 85"/>
                  <a:gd name="T12" fmla="*/ 31 w 64"/>
                  <a:gd name="T13" fmla="*/ 40 h 85"/>
                  <a:gd name="T14" fmla="*/ 31 w 64"/>
                  <a:gd name="T15" fmla="*/ 48 h 85"/>
                  <a:gd name="T16" fmla="*/ 47 w 64"/>
                  <a:gd name="T17" fmla="*/ 51 h 85"/>
                  <a:gd name="T18" fmla="*/ 47 w 64"/>
                  <a:gd name="T19" fmla="*/ 54 h 85"/>
                  <a:gd name="T20" fmla="*/ 35 w 64"/>
                  <a:gd name="T21" fmla="*/ 72 h 85"/>
                  <a:gd name="T22" fmla="*/ 20 w 64"/>
                  <a:gd name="T23" fmla="*/ 43 h 85"/>
                  <a:gd name="T24" fmla="*/ 35 w 64"/>
                  <a:gd name="T25" fmla="*/ 13 h 85"/>
                  <a:gd name="T26" fmla="*/ 48 w 64"/>
                  <a:gd name="T27" fmla="*/ 28 h 85"/>
                  <a:gd name="T28" fmla="*/ 63 w 64"/>
                  <a:gd name="T29" fmla="*/ 28 h 85"/>
                  <a:gd name="T30" fmla="*/ 62 w 64"/>
                  <a:gd name="T31" fmla="*/ 10 h 85"/>
                  <a:gd name="T32" fmla="*/ 36 w 64"/>
                  <a:gd name="T33" fmla="*/ 0 h 85"/>
                  <a:gd name="T34" fmla="*/ 0 w 64"/>
                  <a:gd name="T35" fmla="*/ 43 h 85"/>
                  <a:gd name="T36" fmla="*/ 46 w 64"/>
                  <a:gd name="T37" fmla="*/ 10 h 85"/>
                  <a:gd name="T38" fmla="*/ 53 w 64"/>
                  <a:gd name="T39" fmla="*/ 14 h 85"/>
                  <a:gd name="T40" fmla="*/ 53 w 64"/>
                  <a:gd name="T41" fmla="*/ 23 h 85"/>
                  <a:gd name="T42" fmla="*/ 52 w 64"/>
                  <a:gd name="T43" fmla="*/ 23 h 85"/>
                  <a:gd name="T44" fmla="*/ 46 w 64"/>
                  <a:gd name="T45" fmla="*/ 10 h 85"/>
                  <a:gd name="T46" fmla="*/ 46 w 64"/>
                  <a:gd name="T47" fmla="*/ 73 h 85"/>
                  <a:gd name="T48" fmla="*/ 51 w 64"/>
                  <a:gd name="T49" fmla="*/ 54 h 85"/>
                  <a:gd name="T50" fmla="*/ 51 w 64"/>
                  <a:gd name="T51" fmla="*/ 51 h 85"/>
                  <a:gd name="T52" fmla="*/ 54 w 64"/>
                  <a:gd name="T53" fmla="*/ 51 h 85"/>
                  <a:gd name="T54" fmla="*/ 54 w 64"/>
                  <a:gd name="T55" fmla="*/ 54 h 85"/>
                  <a:gd name="T56" fmla="*/ 46 w 64"/>
                  <a:gd name="T57" fmla="*/ 73 h 85"/>
                  <a:gd name="T58" fmla="*/ 18 w 64"/>
                  <a:gd name="T59" fmla="*/ 11 h 85"/>
                  <a:gd name="T60" fmla="*/ 9 w 64"/>
                  <a:gd name="T61" fmla="*/ 43 h 85"/>
                  <a:gd name="T62" fmla="*/ 17 w 64"/>
                  <a:gd name="T63" fmla="*/ 73 h 85"/>
                  <a:gd name="T64" fmla="*/ 6 w 64"/>
                  <a:gd name="T65" fmla="*/ 43 h 85"/>
                  <a:gd name="T66" fmla="*/ 18 w 64"/>
                  <a:gd name="T67" fmla="*/ 11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4" h="85">
                    <a:moveTo>
                      <a:pt x="0" y="43"/>
                    </a:moveTo>
                    <a:cubicBezTo>
                      <a:pt x="0" y="71"/>
                      <a:pt x="10" y="85"/>
                      <a:pt x="33" y="85"/>
                    </a:cubicBezTo>
                    <a:cubicBezTo>
                      <a:pt x="41" y="85"/>
                      <a:pt x="48" y="82"/>
                      <a:pt x="53" y="77"/>
                    </a:cubicBezTo>
                    <a:cubicBezTo>
                      <a:pt x="54" y="79"/>
                      <a:pt x="55" y="82"/>
                      <a:pt x="56" y="84"/>
                    </a:cubicBezTo>
                    <a:cubicBezTo>
                      <a:pt x="64" y="84"/>
                      <a:pt x="64" y="84"/>
                      <a:pt x="64" y="84"/>
                    </a:cubicBezTo>
                    <a:cubicBezTo>
                      <a:pt x="64" y="40"/>
                      <a:pt x="64" y="40"/>
                      <a:pt x="64" y="40"/>
                    </a:cubicBezTo>
                    <a:cubicBezTo>
                      <a:pt x="53" y="39"/>
                      <a:pt x="41" y="39"/>
                      <a:pt x="31" y="40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36" y="49"/>
                      <a:pt x="41" y="50"/>
                      <a:pt x="47" y="51"/>
                    </a:cubicBezTo>
                    <a:cubicBezTo>
                      <a:pt x="47" y="54"/>
                      <a:pt x="47" y="54"/>
                      <a:pt x="47" y="54"/>
                    </a:cubicBezTo>
                    <a:cubicBezTo>
                      <a:pt x="47" y="65"/>
                      <a:pt x="42" y="72"/>
                      <a:pt x="35" y="72"/>
                    </a:cubicBezTo>
                    <a:cubicBezTo>
                      <a:pt x="21" y="73"/>
                      <a:pt x="20" y="53"/>
                      <a:pt x="20" y="43"/>
                    </a:cubicBezTo>
                    <a:cubicBezTo>
                      <a:pt x="20" y="32"/>
                      <a:pt x="22" y="12"/>
                      <a:pt x="35" y="13"/>
                    </a:cubicBezTo>
                    <a:cubicBezTo>
                      <a:pt x="43" y="13"/>
                      <a:pt x="47" y="17"/>
                      <a:pt x="48" y="28"/>
                    </a:cubicBezTo>
                    <a:cubicBezTo>
                      <a:pt x="53" y="29"/>
                      <a:pt x="57" y="29"/>
                      <a:pt x="63" y="28"/>
                    </a:cubicBezTo>
                    <a:cubicBezTo>
                      <a:pt x="63" y="21"/>
                      <a:pt x="63" y="17"/>
                      <a:pt x="62" y="10"/>
                    </a:cubicBezTo>
                    <a:cubicBezTo>
                      <a:pt x="56" y="3"/>
                      <a:pt x="47" y="0"/>
                      <a:pt x="36" y="0"/>
                    </a:cubicBezTo>
                    <a:cubicBezTo>
                      <a:pt x="11" y="0"/>
                      <a:pt x="0" y="14"/>
                      <a:pt x="0" y="43"/>
                    </a:cubicBezTo>
                    <a:close/>
                    <a:moveTo>
                      <a:pt x="46" y="10"/>
                    </a:moveTo>
                    <a:cubicBezTo>
                      <a:pt x="48" y="11"/>
                      <a:pt x="51" y="12"/>
                      <a:pt x="53" y="14"/>
                    </a:cubicBezTo>
                    <a:cubicBezTo>
                      <a:pt x="53" y="17"/>
                      <a:pt x="53" y="20"/>
                      <a:pt x="53" y="23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1" y="18"/>
                      <a:pt x="50" y="14"/>
                      <a:pt x="46" y="10"/>
                    </a:cubicBezTo>
                    <a:close/>
                    <a:moveTo>
                      <a:pt x="46" y="73"/>
                    </a:moveTo>
                    <a:cubicBezTo>
                      <a:pt x="51" y="67"/>
                      <a:pt x="51" y="61"/>
                      <a:pt x="51" y="54"/>
                    </a:cubicBezTo>
                    <a:cubicBezTo>
                      <a:pt x="51" y="51"/>
                      <a:pt x="51" y="51"/>
                      <a:pt x="51" y="51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4" y="54"/>
                      <a:pt x="54" y="54"/>
                      <a:pt x="54" y="54"/>
                    </a:cubicBezTo>
                    <a:cubicBezTo>
                      <a:pt x="54" y="62"/>
                      <a:pt x="52" y="68"/>
                      <a:pt x="46" y="73"/>
                    </a:cubicBezTo>
                    <a:close/>
                    <a:moveTo>
                      <a:pt x="18" y="11"/>
                    </a:moveTo>
                    <a:cubicBezTo>
                      <a:pt x="10" y="20"/>
                      <a:pt x="9" y="32"/>
                      <a:pt x="9" y="43"/>
                    </a:cubicBezTo>
                    <a:cubicBezTo>
                      <a:pt x="9" y="53"/>
                      <a:pt x="10" y="65"/>
                      <a:pt x="17" y="73"/>
                    </a:cubicBezTo>
                    <a:cubicBezTo>
                      <a:pt x="8" y="66"/>
                      <a:pt x="6" y="53"/>
                      <a:pt x="6" y="43"/>
                    </a:cubicBezTo>
                    <a:cubicBezTo>
                      <a:pt x="6" y="28"/>
                      <a:pt x="9" y="16"/>
                      <a:pt x="18" y="1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4" name="Freeform 27"/>
              <p:cNvSpPr>
                <a:spLocks noEditPoints="1"/>
              </p:cNvSpPr>
              <p:nvPr/>
            </p:nvSpPr>
            <p:spPr bwMode="auto">
              <a:xfrm>
                <a:off x="9855200" y="2778125"/>
                <a:ext cx="85725" cy="98425"/>
              </a:xfrm>
              <a:custGeom>
                <a:avLst/>
                <a:gdLst>
                  <a:gd name="T0" fmla="*/ 49 w 74"/>
                  <a:gd name="T1" fmla="*/ 73 h 84"/>
                  <a:gd name="T2" fmla="*/ 41 w 74"/>
                  <a:gd name="T3" fmla="*/ 74 h 84"/>
                  <a:gd name="T4" fmla="*/ 41 w 74"/>
                  <a:gd name="T5" fmla="*/ 82 h 84"/>
                  <a:gd name="T6" fmla="*/ 74 w 74"/>
                  <a:gd name="T7" fmla="*/ 82 h 84"/>
                  <a:gd name="T8" fmla="*/ 74 w 74"/>
                  <a:gd name="T9" fmla="*/ 74 h 84"/>
                  <a:gd name="T10" fmla="*/ 68 w 74"/>
                  <a:gd name="T11" fmla="*/ 73 h 84"/>
                  <a:gd name="T12" fmla="*/ 46 w 74"/>
                  <a:gd name="T13" fmla="*/ 0 h 84"/>
                  <a:gd name="T14" fmla="*/ 16 w 74"/>
                  <a:gd name="T15" fmla="*/ 1 h 84"/>
                  <a:gd name="T16" fmla="*/ 16 w 74"/>
                  <a:gd name="T17" fmla="*/ 9 h 84"/>
                  <a:gd name="T18" fmla="*/ 25 w 74"/>
                  <a:gd name="T19" fmla="*/ 10 h 84"/>
                  <a:gd name="T20" fmla="*/ 7 w 74"/>
                  <a:gd name="T21" fmla="*/ 73 h 84"/>
                  <a:gd name="T22" fmla="*/ 0 w 74"/>
                  <a:gd name="T23" fmla="*/ 74 h 84"/>
                  <a:gd name="T24" fmla="*/ 0 w 74"/>
                  <a:gd name="T25" fmla="*/ 82 h 84"/>
                  <a:gd name="T26" fmla="*/ 28 w 74"/>
                  <a:gd name="T27" fmla="*/ 82 h 84"/>
                  <a:gd name="T28" fmla="*/ 28 w 74"/>
                  <a:gd name="T29" fmla="*/ 74 h 84"/>
                  <a:gd name="T30" fmla="*/ 20 w 74"/>
                  <a:gd name="T31" fmla="*/ 73 h 84"/>
                  <a:gd name="T32" fmla="*/ 23 w 74"/>
                  <a:gd name="T33" fmla="*/ 60 h 84"/>
                  <a:gd name="T34" fmla="*/ 46 w 74"/>
                  <a:gd name="T35" fmla="*/ 60 h 84"/>
                  <a:gd name="T36" fmla="*/ 49 w 74"/>
                  <a:gd name="T37" fmla="*/ 73 h 84"/>
                  <a:gd name="T38" fmla="*/ 26 w 74"/>
                  <a:gd name="T39" fmla="*/ 49 h 84"/>
                  <a:gd name="T40" fmla="*/ 34 w 74"/>
                  <a:gd name="T41" fmla="*/ 20 h 84"/>
                  <a:gd name="T42" fmla="*/ 42 w 74"/>
                  <a:gd name="T43" fmla="*/ 49 h 84"/>
                  <a:gd name="T44" fmla="*/ 26 w 74"/>
                  <a:gd name="T45" fmla="*/ 49 h 84"/>
                  <a:gd name="T46" fmla="*/ 55 w 74"/>
                  <a:gd name="T47" fmla="*/ 73 h 84"/>
                  <a:gd name="T48" fmla="*/ 37 w 74"/>
                  <a:gd name="T49" fmla="*/ 10 h 84"/>
                  <a:gd name="T50" fmla="*/ 40 w 74"/>
                  <a:gd name="T51" fmla="*/ 10 h 84"/>
                  <a:gd name="T52" fmla="*/ 57 w 74"/>
                  <a:gd name="T53" fmla="*/ 73 h 84"/>
                  <a:gd name="T54" fmla="*/ 55 w 74"/>
                  <a:gd name="T55" fmla="*/ 7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4" h="84">
                    <a:moveTo>
                      <a:pt x="49" y="73"/>
                    </a:moveTo>
                    <a:cubicBezTo>
                      <a:pt x="47" y="73"/>
                      <a:pt x="44" y="74"/>
                      <a:pt x="41" y="74"/>
                    </a:cubicBezTo>
                    <a:cubicBezTo>
                      <a:pt x="41" y="82"/>
                      <a:pt x="41" y="82"/>
                      <a:pt x="41" y="82"/>
                    </a:cubicBezTo>
                    <a:cubicBezTo>
                      <a:pt x="53" y="84"/>
                      <a:pt x="62" y="84"/>
                      <a:pt x="74" y="82"/>
                    </a:cubicBezTo>
                    <a:cubicBezTo>
                      <a:pt x="74" y="74"/>
                      <a:pt x="74" y="74"/>
                      <a:pt x="74" y="74"/>
                    </a:cubicBezTo>
                    <a:cubicBezTo>
                      <a:pt x="71" y="74"/>
                      <a:pt x="70" y="73"/>
                      <a:pt x="68" y="73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36" y="0"/>
                      <a:pt x="27" y="0"/>
                      <a:pt x="16" y="1"/>
                    </a:cubicBezTo>
                    <a:cubicBezTo>
                      <a:pt x="16" y="9"/>
                      <a:pt x="16" y="9"/>
                      <a:pt x="16" y="9"/>
                    </a:cubicBezTo>
                    <a:cubicBezTo>
                      <a:pt x="19" y="9"/>
                      <a:pt x="22" y="10"/>
                      <a:pt x="25" y="10"/>
                    </a:cubicBezTo>
                    <a:cubicBezTo>
                      <a:pt x="7" y="73"/>
                      <a:pt x="7" y="73"/>
                      <a:pt x="7" y="73"/>
                    </a:cubicBezTo>
                    <a:cubicBezTo>
                      <a:pt x="5" y="73"/>
                      <a:pt x="3" y="74"/>
                      <a:pt x="0" y="74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12" y="84"/>
                      <a:pt x="16" y="84"/>
                      <a:pt x="28" y="82"/>
                    </a:cubicBezTo>
                    <a:cubicBezTo>
                      <a:pt x="28" y="74"/>
                      <a:pt x="28" y="74"/>
                      <a:pt x="28" y="74"/>
                    </a:cubicBezTo>
                    <a:cubicBezTo>
                      <a:pt x="25" y="74"/>
                      <a:pt x="22" y="73"/>
                      <a:pt x="20" y="73"/>
                    </a:cubicBezTo>
                    <a:cubicBezTo>
                      <a:pt x="23" y="60"/>
                      <a:pt x="23" y="60"/>
                      <a:pt x="23" y="60"/>
                    </a:cubicBezTo>
                    <a:cubicBezTo>
                      <a:pt x="46" y="60"/>
                      <a:pt x="46" y="60"/>
                      <a:pt x="46" y="60"/>
                    </a:cubicBezTo>
                    <a:cubicBezTo>
                      <a:pt x="49" y="73"/>
                      <a:pt x="49" y="73"/>
                      <a:pt x="49" y="73"/>
                    </a:cubicBezTo>
                    <a:close/>
                    <a:moveTo>
                      <a:pt x="26" y="49"/>
                    </a:moveTo>
                    <a:cubicBezTo>
                      <a:pt x="34" y="20"/>
                      <a:pt x="34" y="20"/>
                      <a:pt x="34" y="20"/>
                    </a:cubicBezTo>
                    <a:cubicBezTo>
                      <a:pt x="42" y="49"/>
                      <a:pt x="42" y="49"/>
                      <a:pt x="42" y="49"/>
                    </a:cubicBezTo>
                    <a:cubicBezTo>
                      <a:pt x="26" y="49"/>
                      <a:pt x="26" y="49"/>
                      <a:pt x="26" y="49"/>
                    </a:cubicBezTo>
                    <a:close/>
                    <a:moveTo>
                      <a:pt x="55" y="73"/>
                    </a:moveTo>
                    <a:cubicBezTo>
                      <a:pt x="37" y="10"/>
                      <a:pt x="37" y="10"/>
                      <a:pt x="37" y="10"/>
                    </a:cubicBezTo>
                    <a:cubicBezTo>
                      <a:pt x="40" y="10"/>
                      <a:pt x="40" y="10"/>
                      <a:pt x="40" y="10"/>
                    </a:cubicBezTo>
                    <a:cubicBezTo>
                      <a:pt x="57" y="73"/>
                      <a:pt x="57" y="73"/>
                      <a:pt x="57" y="73"/>
                    </a:cubicBezTo>
                    <a:cubicBezTo>
                      <a:pt x="55" y="73"/>
                      <a:pt x="55" y="73"/>
                      <a:pt x="55" y="7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5" name="Freeform 28"/>
              <p:cNvSpPr>
                <a:spLocks noEditPoints="1"/>
              </p:cNvSpPr>
              <p:nvPr/>
            </p:nvSpPr>
            <p:spPr bwMode="auto">
              <a:xfrm>
                <a:off x="9944100" y="2778125"/>
                <a:ext cx="73025" cy="98425"/>
              </a:xfrm>
              <a:custGeom>
                <a:avLst/>
                <a:gdLst>
                  <a:gd name="T0" fmla="*/ 41 w 63"/>
                  <a:gd name="T1" fmla="*/ 73 h 84"/>
                  <a:gd name="T2" fmla="*/ 41 w 63"/>
                  <a:gd name="T3" fmla="*/ 13 h 84"/>
                  <a:gd name="T4" fmla="*/ 49 w 63"/>
                  <a:gd name="T5" fmla="*/ 13 h 84"/>
                  <a:gd name="T6" fmla="*/ 53 w 63"/>
                  <a:gd name="T7" fmla="*/ 27 h 84"/>
                  <a:gd name="T8" fmla="*/ 62 w 63"/>
                  <a:gd name="T9" fmla="*/ 27 h 84"/>
                  <a:gd name="T10" fmla="*/ 62 w 63"/>
                  <a:gd name="T11" fmla="*/ 1 h 84"/>
                  <a:gd name="T12" fmla="*/ 49 w 63"/>
                  <a:gd name="T13" fmla="*/ 0 h 84"/>
                  <a:gd name="T14" fmla="*/ 13 w 63"/>
                  <a:gd name="T15" fmla="*/ 0 h 84"/>
                  <a:gd name="T16" fmla="*/ 0 w 63"/>
                  <a:gd name="T17" fmla="*/ 1 h 84"/>
                  <a:gd name="T18" fmla="*/ 1 w 63"/>
                  <a:gd name="T19" fmla="*/ 27 h 84"/>
                  <a:gd name="T20" fmla="*/ 9 w 63"/>
                  <a:gd name="T21" fmla="*/ 27 h 84"/>
                  <a:gd name="T22" fmla="*/ 13 w 63"/>
                  <a:gd name="T23" fmla="*/ 13 h 84"/>
                  <a:gd name="T24" fmla="*/ 22 w 63"/>
                  <a:gd name="T25" fmla="*/ 13 h 84"/>
                  <a:gd name="T26" fmla="*/ 22 w 63"/>
                  <a:gd name="T27" fmla="*/ 73 h 84"/>
                  <a:gd name="T28" fmla="*/ 14 w 63"/>
                  <a:gd name="T29" fmla="*/ 74 h 84"/>
                  <a:gd name="T30" fmla="*/ 14 w 63"/>
                  <a:gd name="T31" fmla="*/ 82 h 84"/>
                  <a:gd name="T32" fmla="*/ 49 w 63"/>
                  <a:gd name="T33" fmla="*/ 82 h 84"/>
                  <a:gd name="T34" fmla="*/ 49 w 63"/>
                  <a:gd name="T35" fmla="*/ 74 h 84"/>
                  <a:gd name="T36" fmla="*/ 41 w 63"/>
                  <a:gd name="T37" fmla="*/ 73 h 84"/>
                  <a:gd name="T38" fmla="*/ 28 w 63"/>
                  <a:gd name="T39" fmla="*/ 13 h 84"/>
                  <a:gd name="T40" fmla="*/ 30 w 63"/>
                  <a:gd name="T41" fmla="*/ 13 h 84"/>
                  <a:gd name="T42" fmla="*/ 30 w 63"/>
                  <a:gd name="T43" fmla="*/ 73 h 84"/>
                  <a:gd name="T44" fmla="*/ 28 w 63"/>
                  <a:gd name="T45" fmla="*/ 73 h 84"/>
                  <a:gd name="T46" fmla="*/ 28 w 63"/>
                  <a:gd name="T47" fmla="*/ 1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3" h="84">
                    <a:moveTo>
                      <a:pt x="41" y="73"/>
                    </a:moveTo>
                    <a:cubicBezTo>
                      <a:pt x="41" y="13"/>
                      <a:pt x="41" y="13"/>
                      <a:pt x="41" y="13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0" y="18"/>
                      <a:pt x="52" y="24"/>
                      <a:pt x="53" y="27"/>
                    </a:cubicBezTo>
                    <a:cubicBezTo>
                      <a:pt x="62" y="27"/>
                      <a:pt x="62" y="27"/>
                      <a:pt x="62" y="27"/>
                    </a:cubicBezTo>
                    <a:cubicBezTo>
                      <a:pt x="63" y="19"/>
                      <a:pt x="63" y="10"/>
                      <a:pt x="62" y="1"/>
                    </a:cubicBezTo>
                    <a:cubicBezTo>
                      <a:pt x="58" y="1"/>
                      <a:pt x="54" y="0"/>
                      <a:pt x="49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9" y="0"/>
                      <a:pt x="5" y="1"/>
                      <a:pt x="0" y="1"/>
                    </a:cubicBezTo>
                    <a:cubicBezTo>
                      <a:pt x="0" y="10"/>
                      <a:pt x="0" y="19"/>
                      <a:pt x="1" y="27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11" y="24"/>
                      <a:pt x="13" y="18"/>
                      <a:pt x="13" y="13"/>
                    </a:cubicBezTo>
                    <a:cubicBezTo>
                      <a:pt x="22" y="13"/>
                      <a:pt x="22" y="13"/>
                      <a:pt x="22" y="13"/>
                    </a:cubicBezTo>
                    <a:cubicBezTo>
                      <a:pt x="22" y="73"/>
                      <a:pt x="22" y="73"/>
                      <a:pt x="22" y="73"/>
                    </a:cubicBezTo>
                    <a:cubicBezTo>
                      <a:pt x="19" y="73"/>
                      <a:pt x="16" y="74"/>
                      <a:pt x="14" y="74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25" y="84"/>
                      <a:pt x="37" y="84"/>
                      <a:pt x="49" y="82"/>
                    </a:cubicBezTo>
                    <a:cubicBezTo>
                      <a:pt x="49" y="74"/>
                      <a:pt x="49" y="74"/>
                      <a:pt x="49" y="74"/>
                    </a:cubicBezTo>
                    <a:cubicBezTo>
                      <a:pt x="46" y="74"/>
                      <a:pt x="43" y="73"/>
                      <a:pt x="41" y="73"/>
                    </a:cubicBezTo>
                    <a:close/>
                    <a:moveTo>
                      <a:pt x="28" y="13"/>
                    </a:moveTo>
                    <a:cubicBezTo>
                      <a:pt x="30" y="13"/>
                      <a:pt x="30" y="13"/>
                      <a:pt x="30" y="13"/>
                    </a:cubicBezTo>
                    <a:cubicBezTo>
                      <a:pt x="30" y="73"/>
                      <a:pt x="30" y="73"/>
                      <a:pt x="30" y="73"/>
                    </a:cubicBezTo>
                    <a:cubicBezTo>
                      <a:pt x="28" y="73"/>
                      <a:pt x="28" y="73"/>
                      <a:pt x="28" y="73"/>
                    </a:cubicBezTo>
                    <a:cubicBezTo>
                      <a:pt x="28" y="13"/>
                      <a:pt x="28" y="13"/>
                      <a:pt x="28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" name="Freeform 29"/>
              <p:cNvSpPr>
                <a:spLocks/>
              </p:cNvSpPr>
              <p:nvPr/>
            </p:nvSpPr>
            <p:spPr bwMode="auto">
              <a:xfrm>
                <a:off x="9613900" y="2543175"/>
                <a:ext cx="277813" cy="333375"/>
              </a:xfrm>
              <a:custGeom>
                <a:avLst/>
                <a:gdLst>
                  <a:gd name="T0" fmla="*/ 95 w 237"/>
                  <a:gd name="T1" fmla="*/ 177 h 285"/>
                  <a:gd name="T2" fmla="*/ 66 w 237"/>
                  <a:gd name="T3" fmla="*/ 161 h 285"/>
                  <a:gd name="T4" fmla="*/ 55 w 237"/>
                  <a:gd name="T5" fmla="*/ 122 h 285"/>
                  <a:gd name="T6" fmla="*/ 63 w 237"/>
                  <a:gd name="T7" fmla="*/ 76 h 285"/>
                  <a:gd name="T8" fmla="*/ 85 w 237"/>
                  <a:gd name="T9" fmla="*/ 37 h 285"/>
                  <a:gd name="T10" fmla="*/ 116 w 237"/>
                  <a:gd name="T11" fmla="*/ 10 h 285"/>
                  <a:gd name="T12" fmla="*/ 152 w 237"/>
                  <a:gd name="T13" fmla="*/ 0 h 285"/>
                  <a:gd name="T14" fmla="*/ 185 w 237"/>
                  <a:gd name="T15" fmla="*/ 6 h 285"/>
                  <a:gd name="T16" fmla="*/ 212 w 237"/>
                  <a:gd name="T17" fmla="*/ 25 h 285"/>
                  <a:gd name="T18" fmla="*/ 230 w 237"/>
                  <a:gd name="T19" fmla="*/ 56 h 285"/>
                  <a:gd name="T20" fmla="*/ 237 w 237"/>
                  <a:gd name="T21" fmla="*/ 100 h 285"/>
                  <a:gd name="T22" fmla="*/ 230 w 237"/>
                  <a:gd name="T23" fmla="*/ 153 h 285"/>
                  <a:gd name="T24" fmla="*/ 208 w 237"/>
                  <a:gd name="T25" fmla="*/ 204 h 285"/>
                  <a:gd name="T26" fmla="*/ 176 w 237"/>
                  <a:gd name="T27" fmla="*/ 246 h 285"/>
                  <a:gd name="T28" fmla="*/ 134 w 237"/>
                  <a:gd name="T29" fmla="*/ 275 h 285"/>
                  <a:gd name="T30" fmla="*/ 85 w 237"/>
                  <a:gd name="T31" fmla="*/ 285 h 285"/>
                  <a:gd name="T32" fmla="*/ 22 w 237"/>
                  <a:gd name="T33" fmla="*/ 260 h 285"/>
                  <a:gd name="T34" fmla="*/ 0 w 237"/>
                  <a:gd name="T35" fmla="*/ 188 h 285"/>
                  <a:gd name="T36" fmla="*/ 25 w 237"/>
                  <a:gd name="T37" fmla="*/ 93 h 285"/>
                  <a:gd name="T38" fmla="*/ 55 w 237"/>
                  <a:gd name="T39" fmla="*/ 57 h 285"/>
                  <a:gd name="T40" fmla="*/ 60 w 237"/>
                  <a:gd name="T41" fmla="*/ 64 h 285"/>
                  <a:gd name="T42" fmla="*/ 38 w 237"/>
                  <a:gd name="T43" fmla="*/ 116 h 285"/>
                  <a:gd name="T44" fmla="*/ 30 w 237"/>
                  <a:gd name="T45" fmla="*/ 172 h 285"/>
                  <a:gd name="T46" fmla="*/ 33 w 237"/>
                  <a:gd name="T47" fmla="*/ 214 h 285"/>
                  <a:gd name="T48" fmla="*/ 44 w 237"/>
                  <a:gd name="T49" fmla="*/ 244 h 285"/>
                  <a:gd name="T50" fmla="*/ 92 w 237"/>
                  <a:gd name="T51" fmla="*/ 273 h 285"/>
                  <a:gd name="T52" fmla="*/ 170 w 237"/>
                  <a:gd name="T53" fmla="*/ 215 h 285"/>
                  <a:gd name="T54" fmla="*/ 197 w 237"/>
                  <a:gd name="T55" fmla="*/ 139 h 285"/>
                  <a:gd name="T56" fmla="*/ 201 w 237"/>
                  <a:gd name="T57" fmla="*/ 100 h 285"/>
                  <a:gd name="T58" fmla="*/ 198 w 237"/>
                  <a:gd name="T59" fmla="*/ 66 h 285"/>
                  <a:gd name="T60" fmla="*/ 188 w 237"/>
                  <a:gd name="T61" fmla="*/ 39 h 285"/>
                  <a:gd name="T62" fmla="*/ 147 w 237"/>
                  <a:gd name="T63" fmla="*/ 14 h 285"/>
                  <a:gd name="T64" fmla="*/ 108 w 237"/>
                  <a:gd name="T65" fmla="*/ 30 h 285"/>
                  <a:gd name="T66" fmla="*/ 81 w 237"/>
                  <a:gd name="T67" fmla="*/ 71 h 285"/>
                  <a:gd name="T68" fmla="*/ 71 w 237"/>
                  <a:gd name="T69" fmla="*/ 120 h 285"/>
                  <a:gd name="T70" fmla="*/ 78 w 237"/>
                  <a:gd name="T71" fmla="*/ 154 h 285"/>
                  <a:gd name="T72" fmla="*/ 96 w 237"/>
                  <a:gd name="T73" fmla="*/ 165 h 285"/>
                  <a:gd name="T74" fmla="*/ 118 w 237"/>
                  <a:gd name="T75" fmla="*/ 156 h 285"/>
                  <a:gd name="T76" fmla="*/ 137 w 237"/>
                  <a:gd name="T77" fmla="*/ 133 h 285"/>
                  <a:gd name="T78" fmla="*/ 145 w 237"/>
                  <a:gd name="T79" fmla="*/ 102 h 285"/>
                  <a:gd name="T80" fmla="*/ 161 w 237"/>
                  <a:gd name="T81" fmla="*/ 99 h 285"/>
                  <a:gd name="T82" fmla="*/ 152 w 237"/>
                  <a:gd name="T83" fmla="*/ 137 h 285"/>
                  <a:gd name="T84" fmla="*/ 128 w 237"/>
                  <a:gd name="T85" fmla="*/ 166 h 285"/>
                  <a:gd name="T86" fmla="*/ 95 w 237"/>
                  <a:gd name="T87" fmla="*/ 177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37" h="285">
                    <a:moveTo>
                      <a:pt x="95" y="177"/>
                    </a:moveTo>
                    <a:cubicBezTo>
                      <a:pt x="83" y="177"/>
                      <a:pt x="73" y="172"/>
                      <a:pt x="66" y="161"/>
                    </a:cubicBezTo>
                    <a:cubicBezTo>
                      <a:pt x="59" y="150"/>
                      <a:pt x="55" y="137"/>
                      <a:pt x="55" y="122"/>
                    </a:cubicBezTo>
                    <a:cubicBezTo>
                      <a:pt x="55" y="106"/>
                      <a:pt x="58" y="91"/>
                      <a:pt x="63" y="76"/>
                    </a:cubicBezTo>
                    <a:cubicBezTo>
                      <a:pt x="69" y="62"/>
                      <a:pt x="76" y="49"/>
                      <a:pt x="85" y="37"/>
                    </a:cubicBezTo>
                    <a:cubicBezTo>
                      <a:pt x="94" y="26"/>
                      <a:pt x="104" y="17"/>
                      <a:pt x="116" y="10"/>
                    </a:cubicBezTo>
                    <a:cubicBezTo>
                      <a:pt x="128" y="3"/>
                      <a:pt x="140" y="0"/>
                      <a:pt x="152" y="0"/>
                    </a:cubicBezTo>
                    <a:cubicBezTo>
                      <a:pt x="164" y="0"/>
                      <a:pt x="175" y="2"/>
                      <a:pt x="185" y="6"/>
                    </a:cubicBezTo>
                    <a:cubicBezTo>
                      <a:pt x="195" y="11"/>
                      <a:pt x="204" y="17"/>
                      <a:pt x="212" y="25"/>
                    </a:cubicBezTo>
                    <a:cubicBezTo>
                      <a:pt x="220" y="33"/>
                      <a:pt x="226" y="43"/>
                      <a:pt x="230" y="56"/>
                    </a:cubicBezTo>
                    <a:cubicBezTo>
                      <a:pt x="235" y="68"/>
                      <a:pt x="237" y="83"/>
                      <a:pt x="237" y="100"/>
                    </a:cubicBezTo>
                    <a:cubicBezTo>
                      <a:pt x="237" y="116"/>
                      <a:pt x="235" y="134"/>
                      <a:pt x="230" y="153"/>
                    </a:cubicBezTo>
                    <a:cubicBezTo>
                      <a:pt x="225" y="171"/>
                      <a:pt x="218" y="188"/>
                      <a:pt x="208" y="204"/>
                    </a:cubicBezTo>
                    <a:cubicBezTo>
                      <a:pt x="199" y="220"/>
                      <a:pt x="188" y="234"/>
                      <a:pt x="176" y="246"/>
                    </a:cubicBezTo>
                    <a:cubicBezTo>
                      <a:pt x="164" y="258"/>
                      <a:pt x="150" y="268"/>
                      <a:pt x="134" y="275"/>
                    </a:cubicBezTo>
                    <a:cubicBezTo>
                      <a:pt x="118" y="282"/>
                      <a:pt x="102" y="285"/>
                      <a:pt x="85" y="285"/>
                    </a:cubicBezTo>
                    <a:cubicBezTo>
                      <a:pt x="58" y="285"/>
                      <a:pt x="37" y="277"/>
                      <a:pt x="22" y="260"/>
                    </a:cubicBezTo>
                    <a:cubicBezTo>
                      <a:pt x="8" y="243"/>
                      <a:pt x="0" y="219"/>
                      <a:pt x="0" y="188"/>
                    </a:cubicBezTo>
                    <a:cubicBezTo>
                      <a:pt x="0" y="154"/>
                      <a:pt x="9" y="122"/>
                      <a:pt x="25" y="93"/>
                    </a:cubicBezTo>
                    <a:cubicBezTo>
                      <a:pt x="34" y="79"/>
                      <a:pt x="44" y="67"/>
                      <a:pt x="55" y="57"/>
                    </a:cubicBezTo>
                    <a:cubicBezTo>
                      <a:pt x="60" y="64"/>
                      <a:pt x="60" y="64"/>
                      <a:pt x="60" y="64"/>
                    </a:cubicBezTo>
                    <a:cubicBezTo>
                      <a:pt x="51" y="78"/>
                      <a:pt x="43" y="95"/>
                      <a:pt x="38" y="116"/>
                    </a:cubicBezTo>
                    <a:cubicBezTo>
                      <a:pt x="32" y="137"/>
                      <a:pt x="30" y="155"/>
                      <a:pt x="30" y="172"/>
                    </a:cubicBezTo>
                    <a:cubicBezTo>
                      <a:pt x="30" y="189"/>
                      <a:pt x="31" y="203"/>
                      <a:pt x="33" y="214"/>
                    </a:cubicBezTo>
                    <a:cubicBezTo>
                      <a:pt x="36" y="225"/>
                      <a:pt x="39" y="235"/>
                      <a:pt x="44" y="244"/>
                    </a:cubicBezTo>
                    <a:cubicBezTo>
                      <a:pt x="55" y="264"/>
                      <a:pt x="70" y="273"/>
                      <a:pt x="92" y="273"/>
                    </a:cubicBezTo>
                    <a:cubicBezTo>
                      <a:pt x="122" y="273"/>
                      <a:pt x="148" y="254"/>
                      <a:pt x="170" y="215"/>
                    </a:cubicBezTo>
                    <a:cubicBezTo>
                      <a:pt x="183" y="193"/>
                      <a:pt x="192" y="168"/>
                      <a:pt x="197" y="139"/>
                    </a:cubicBezTo>
                    <a:cubicBezTo>
                      <a:pt x="200" y="125"/>
                      <a:pt x="201" y="112"/>
                      <a:pt x="201" y="100"/>
                    </a:cubicBezTo>
                    <a:cubicBezTo>
                      <a:pt x="201" y="88"/>
                      <a:pt x="200" y="76"/>
                      <a:pt x="198" y="66"/>
                    </a:cubicBezTo>
                    <a:cubicBezTo>
                      <a:pt x="196" y="56"/>
                      <a:pt x="193" y="47"/>
                      <a:pt x="188" y="39"/>
                    </a:cubicBezTo>
                    <a:cubicBezTo>
                      <a:pt x="179" y="23"/>
                      <a:pt x="166" y="14"/>
                      <a:pt x="147" y="14"/>
                    </a:cubicBezTo>
                    <a:cubicBezTo>
                      <a:pt x="132" y="14"/>
                      <a:pt x="120" y="20"/>
                      <a:pt x="108" y="30"/>
                    </a:cubicBezTo>
                    <a:cubicBezTo>
                      <a:pt x="96" y="41"/>
                      <a:pt x="87" y="54"/>
                      <a:pt x="81" y="71"/>
                    </a:cubicBezTo>
                    <a:cubicBezTo>
                      <a:pt x="75" y="87"/>
                      <a:pt x="71" y="104"/>
                      <a:pt x="71" y="120"/>
                    </a:cubicBezTo>
                    <a:cubicBezTo>
                      <a:pt x="71" y="136"/>
                      <a:pt x="74" y="147"/>
                      <a:pt x="78" y="154"/>
                    </a:cubicBezTo>
                    <a:cubicBezTo>
                      <a:pt x="83" y="161"/>
                      <a:pt x="89" y="165"/>
                      <a:pt x="96" y="165"/>
                    </a:cubicBezTo>
                    <a:cubicBezTo>
                      <a:pt x="103" y="165"/>
                      <a:pt x="110" y="162"/>
                      <a:pt x="118" y="156"/>
                    </a:cubicBezTo>
                    <a:cubicBezTo>
                      <a:pt x="125" y="150"/>
                      <a:pt x="132" y="143"/>
                      <a:pt x="137" y="133"/>
                    </a:cubicBezTo>
                    <a:cubicBezTo>
                      <a:pt x="142" y="123"/>
                      <a:pt x="145" y="113"/>
                      <a:pt x="145" y="102"/>
                    </a:cubicBezTo>
                    <a:cubicBezTo>
                      <a:pt x="161" y="99"/>
                      <a:pt x="161" y="99"/>
                      <a:pt x="161" y="99"/>
                    </a:cubicBezTo>
                    <a:cubicBezTo>
                      <a:pt x="161" y="112"/>
                      <a:pt x="158" y="125"/>
                      <a:pt x="152" y="137"/>
                    </a:cubicBezTo>
                    <a:cubicBezTo>
                      <a:pt x="146" y="149"/>
                      <a:pt x="138" y="159"/>
                      <a:pt x="128" y="166"/>
                    </a:cubicBezTo>
                    <a:cubicBezTo>
                      <a:pt x="118" y="174"/>
                      <a:pt x="107" y="177"/>
                      <a:pt x="95" y="17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grpSp>
        <p:nvGrpSpPr>
          <p:cNvPr id="6" name="组合 5"/>
          <p:cNvGrpSpPr/>
          <p:nvPr/>
        </p:nvGrpSpPr>
        <p:grpSpPr>
          <a:xfrm>
            <a:off x="4715057" y="1163407"/>
            <a:ext cx="5242578" cy="4418241"/>
            <a:chOff x="4309806" y="1272062"/>
            <a:chExt cx="5242578" cy="4418241"/>
          </a:xfrm>
        </p:grpSpPr>
        <p:grpSp>
          <p:nvGrpSpPr>
            <p:cNvPr id="3" name="组合 2"/>
            <p:cNvGrpSpPr/>
            <p:nvPr/>
          </p:nvGrpSpPr>
          <p:grpSpPr>
            <a:xfrm>
              <a:off x="4309806" y="3795897"/>
              <a:ext cx="4397840" cy="584775"/>
              <a:chOff x="3991453" y="3769944"/>
              <a:chExt cx="4397840" cy="584775"/>
            </a:xfrm>
          </p:grpSpPr>
          <p:sp>
            <p:nvSpPr>
              <p:cNvPr id="57" name="文本框 56"/>
              <p:cNvSpPr txBox="1"/>
              <p:nvPr/>
            </p:nvSpPr>
            <p:spPr>
              <a:xfrm>
                <a:off x="4809852" y="3769944"/>
                <a:ext cx="357944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3200" dirty="0" smtClean="0">
                    <a:solidFill>
                      <a:schemeClr val="bg1"/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点击此处添加文本</a:t>
                </a:r>
                <a:endParaRPr lang="zh-CN" altLang="en-US" sz="3200" dirty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endParaRPr>
              </a:p>
            </p:txBody>
          </p:sp>
          <p:sp>
            <p:nvSpPr>
              <p:cNvPr id="81" name="文本框 80"/>
              <p:cNvSpPr txBox="1"/>
              <p:nvPr/>
            </p:nvSpPr>
            <p:spPr>
              <a:xfrm>
                <a:off x="3991453" y="3780430"/>
                <a:ext cx="420624" cy="574243"/>
              </a:xfrm>
              <a:custGeom>
                <a:avLst/>
                <a:gdLst/>
                <a:ahLst/>
                <a:cxnLst/>
                <a:rect l="l" t="t" r="r" b="b"/>
                <a:pathLst>
                  <a:path w="420624" h="574243">
                    <a:moveTo>
                      <a:pt x="0" y="0"/>
                    </a:moveTo>
                    <a:lnTo>
                      <a:pt x="338937" y="0"/>
                    </a:lnTo>
                    <a:cubicBezTo>
                      <a:pt x="362077" y="635"/>
                      <a:pt x="381330" y="9271"/>
                      <a:pt x="396697" y="25908"/>
                    </a:cubicBezTo>
                    <a:cubicBezTo>
                      <a:pt x="412064" y="42545"/>
                      <a:pt x="420039" y="63373"/>
                      <a:pt x="420624" y="88392"/>
                    </a:cubicBezTo>
                    <a:lnTo>
                      <a:pt x="420624" y="190805"/>
                    </a:lnTo>
                    <a:cubicBezTo>
                      <a:pt x="420192" y="213843"/>
                      <a:pt x="413435" y="233452"/>
                      <a:pt x="400355" y="249631"/>
                    </a:cubicBezTo>
                    <a:cubicBezTo>
                      <a:pt x="387274" y="265811"/>
                      <a:pt x="370459" y="275666"/>
                      <a:pt x="349910" y="279197"/>
                    </a:cubicBezTo>
                    <a:cubicBezTo>
                      <a:pt x="370459" y="282448"/>
                      <a:pt x="387274" y="292100"/>
                      <a:pt x="400355" y="308153"/>
                    </a:cubicBezTo>
                    <a:cubicBezTo>
                      <a:pt x="413435" y="324206"/>
                      <a:pt x="420192" y="343611"/>
                      <a:pt x="420624" y="366370"/>
                    </a:cubicBezTo>
                    <a:lnTo>
                      <a:pt x="420624" y="485851"/>
                    </a:lnTo>
                    <a:cubicBezTo>
                      <a:pt x="420039" y="511137"/>
                      <a:pt x="412064" y="532041"/>
                      <a:pt x="396697" y="548564"/>
                    </a:cubicBezTo>
                    <a:cubicBezTo>
                      <a:pt x="381330" y="565087"/>
                      <a:pt x="362077" y="573646"/>
                      <a:pt x="338937" y="574243"/>
                    </a:cubicBezTo>
                    <a:lnTo>
                      <a:pt x="0" y="574243"/>
                    </a:lnTo>
                    <a:lnTo>
                      <a:pt x="0" y="538887"/>
                    </a:lnTo>
                    <a:lnTo>
                      <a:pt x="276758" y="538887"/>
                    </a:lnTo>
                    <a:cubicBezTo>
                      <a:pt x="291795" y="538506"/>
                      <a:pt x="304393" y="532867"/>
                      <a:pt x="314553" y="521970"/>
                    </a:cubicBezTo>
                    <a:cubicBezTo>
                      <a:pt x="324713" y="511074"/>
                      <a:pt x="329996" y="497205"/>
                      <a:pt x="330403" y="480365"/>
                    </a:cubicBezTo>
                    <a:lnTo>
                      <a:pt x="330403" y="364541"/>
                    </a:lnTo>
                    <a:cubicBezTo>
                      <a:pt x="329996" y="348260"/>
                      <a:pt x="324713" y="334645"/>
                      <a:pt x="314553" y="323698"/>
                    </a:cubicBezTo>
                    <a:cubicBezTo>
                      <a:pt x="304393" y="312750"/>
                      <a:pt x="291795" y="307061"/>
                      <a:pt x="276758" y="306629"/>
                    </a:cubicBezTo>
                    <a:lnTo>
                      <a:pt x="20726" y="306629"/>
                    </a:lnTo>
                    <a:lnTo>
                      <a:pt x="20726" y="271272"/>
                    </a:lnTo>
                    <a:lnTo>
                      <a:pt x="276758" y="271272"/>
                    </a:lnTo>
                    <a:cubicBezTo>
                      <a:pt x="291795" y="270866"/>
                      <a:pt x="304393" y="265125"/>
                      <a:pt x="314553" y="254051"/>
                    </a:cubicBezTo>
                    <a:cubicBezTo>
                      <a:pt x="324713" y="242977"/>
                      <a:pt x="329996" y="229007"/>
                      <a:pt x="330403" y="212141"/>
                    </a:cubicBezTo>
                    <a:lnTo>
                      <a:pt x="330403" y="93879"/>
                    </a:lnTo>
                    <a:cubicBezTo>
                      <a:pt x="329996" y="77305"/>
                      <a:pt x="324713" y="63513"/>
                      <a:pt x="314553" y="52502"/>
                    </a:cubicBezTo>
                    <a:cubicBezTo>
                      <a:pt x="304393" y="41491"/>
                      <a:pt x="291795" y="35776"/>
                      <a:pt x="276758" y="35357"/>
                    </a:cubicBezTo>
                    <a:lnTo>
                      <a:pt x="0" y="3535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>
                  <a:defRPr sz="4800" b="1" spc="1500">
                    <a:solidFill>
                      <a:schemeClr val="bg1"/>
                    </a:solidFill>
                    <a:latin typeface="造字工房朗倩（非商用）常规体" pitchFamily="50" charset="-122"/>
                    <a:ea typeface="造字工房朗倩（非商用）常规体" pitchFamily="50" charset="-122"/>
                  </a:defRPr>
                </a:lvl1pPr>
              </a:lstStyle>
              <a:p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4" name="组合 3"/>
            <p:cNvGrpSpPr/>
            <p:nvPr/>
          </p:nvGrpSpPr>
          <p:grpSpPr>
            <a:xfrm>
              <a:off x="4309806" y="2566937"/>
              <a:ext cx="4409422" cy="584775"/>
              <a:chOff x="3979871" y="2395625"/>
              <a:chExt cx="4409422" cy="584775"/>
            </a:xfrm>
          </p:grpSpPr>
          <p:sp>
            <p:nvSpPr>
              <p:cNvPr id="56" name="文本框 55"/>
              <p:cNvSpPr txBox="1"/>
              <p:nvPr/>
            </p:nvSpPr>
            <p:spPr>
              <a:xfrm>
                <a:off x="4809852" y="2395625"/>
                <a:ext cx="357944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3200" dirty="0" smtClean="0">
                    <a:solidFill>
                      <a:schemeClr val="bg1"/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点击此处添加文本</a:t>
                </a:r>
                <a:endParaRPr lang="zh-CN" altLang="en-US" sz="3200" dirty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endParaRPr>
              </a:p>
            </p:txBody>
          </p:sp>
          <p:sp>
            <p:nvSpPr>
              <p:cNvPr id="80" name="文本框 79"/>
              <p:cNvSpPr txBox="1"/>
              <p:nvPr/>
            </p:nvSpPr>
            <p:spPr>
              <a:xfrm>
                <a:off x="3979871" y="2398188"/>
                <a:ext cx="443789" cy="573024"/>
              </a:xfrm>
              <a:custGeom>
                <a:avLst/>
                <a:gdLst/>
                <a:ahLst/>
                <a:cxnLst/>
                <a:rect l="l" t="t" r="r" b="b"/>
                <a:pathLst>
                  <a:path w="443789" h="573024">
                    <a:moveTo>
                      <a:pt x="10973" y="0"/>
                    </a:moveTo>
                    <a:lnTo>
                      <a:pt x="363931" y="0"/>
                    </a:lnTo>
                    <a:cubicBezTo>
                      <a:pt x="386169" y="623"/>
                      <a:pt x="404787" y="9132"/>
                      <a:pt x="419786" y="25527"/>
                    </a:cubicBezTo>
                    <a:cubicBezTo>
                      <a:pt x="434785" y="41923"/>
                      <a:pt x="442582" y="62472"/>
                      <a:pt x="443179" y="87173"/>
                    </a:cubicBezTo>
                    <a:lnTo>
                      <a:pt x="443179" y="217018"/>
                    </a:lnTo>
                    <a:cubicBezTo>
                      <a:pt x="442582" y="242012"/>
                      <a:pt x="434785" y="262738"/>
                      <a:pt x="419786" y="279197"/>
                    </a:cubicBezTo>
                    <a:cubicBezTo>
                      <a:pt x="404787" y="295656"/>
                      <a:pt x="386169" y="304191"/>
                      <a:pt x="363931" y="304800"/>
                    </a:cubicBezTo>
                    <a:lnTo>
                      <a:pt x="143256" y="304800"/>
                    </a:lnTo>
                    <a:cubicBezTo>
                      <a:pt x="128245" y="305232"/>
                      <a:pt x="115748" y="310922"/>
                      <a:pt x="105766" y="321869"/>
                    </a:cubicBezTo>
                    <a:cubicBezTo>
                      <a:pt x="95784" y="332817"/>
                      <a:pt x="90602" y="346431"/>
                      <a:pt x="90221" y="362712"/>
                    </a:cubicBezTo>
                    <a:lnTo>
                      <a:pt x="90221" y="515112"/>
                    </a:lnTo>
                    <a:cubicBezTo>
                      <a:pt x="90386" y="521653"/>
                      <a:pt x="92494" y="527012"/>
                      <a:pt x="96546" y="531191"/>
                    </a:cubicBezTo>
                    <a:cubicBezTo>
                      <a:pt x="100597" y="535369"/>
                      <a:pt x="105601" y="537528"/>
                      <a:pt x="111557" y="537668"/>
                    </a:cubicBezTo>
                    <a:lnTo>
                      <a:pt x="443789" y="537668"/>
                    </a:lnTo>
                    <a:lnTo>
                      <a:pt x="443789" y="573024"/>
                    </a:lnTo>
                    <a:lnTo>
                      <a:pt x="37186" y="573024"/>
                    </a:lnTo>
                    <a:cubicBezTo>
                      <a:pt x="26569" y="572770"/>
                      <a:pt x="17780" y="568859"/>
                      <a:pt x="10821" y="561290"/>
                    </a:cubicBezTo>
                    <a:cubicBezTo>
                      <a:pt x="3861" y="553720"/>
                      <a:pt x="254" y="544018"/>
                      <a:pt x="0" y="532181"/>
                    </a:cubicBezTo>
                    <a:lnTo>
                      <a:pt x="0" y="357226"/>
                    </a:lnTo>
                    <a:cubicBezTo>
                      <a:pt x="572" y="332524"/>
                      <a:pt x="8268" y="311976"/>
                      <a:pt x="23089" y="295580"/>
                    </a:cubicBezTo>
                    <a:cubicBezTo>
                      <a:pt x="37910" y="279184"/>
                      <a:pt x="56426" y="270675"/>
                      <a:pt x="78639" y="270053"/>
                    </a:cubicBezTo>
                    <a:lnTo>
                      <a:pt x="299314" y="270053"/>
                    </a:lnTo>
                    <a:cubicBezTo>
                      <a:pt x="314325" y="269596"/>
                      <a:pt x="326822" y="263805"/>
                      <a:pt x="336804" y="252680"/>
                    </a:cubicBezTo>
                    <a:cubicBezTo>
                      <a:pt x="346786" y="241554"/>
                      <a:pt x="351968" y="227838"/>
                      <a:pt x="352349" y="211532"/>
                    </a:cubicBezTo>
                    <a:lnTo>
                      <a:pt x="352349" y="93269"/>
                    </a:lnTo>
                    <a:cubicBezTo>
                      <a:pt x="351968" y="76988"/>
                      <a:pt x="346786" y="63373"/>
                      <a:pt x="336804" y="52426"/>
                    </a:cubicBezTo>
                    <a:cubicBezTo>
                      <a:pt x="326822" y="41478"/>
                      <a:pt x="314325" y="35789"/>
                      <a:pt x="299314" y="35357"/>
                    </a:cubicBezTo>
                    <a:lnTo>
                      <a:pt x="10973" y="35357"/>
                    </a:lnTo>
                    <a:lnTo>
                      <a:pt x="10973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>
                  <a:defRPr sz="4800" b="1" spc="1500">
                    <a:solidFill>
                      <a:schemeClr val="bg1"/>
                    </a:solidFill>
                    <a:latin typeface="造字工房朗倩（非商用）常规体" pitchFamily="50" charset="-122"/>
                    <a:ea typeface="造字工房朗倩（非商用）常规体" pitchFamily="50" charset="-122"/>
                  </a:defRPr>
                </a:lvl1pPr>
              </a:lstStyle>
              <a:p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13" name="组合 12"/>
            <p:cNvGrpSpPr/>
            <p:nvPr/>
          </p:nvGrpSpPr>
          <p:grpSpPr>
            <a:xfrm>
              <a:off x="8578216" y="1272062"/>
              <a:ext cx="974168" cy="764412"/>
              <a:chOff x="8304347" y="1378194"/>
              <a:chExt cx="974168" cy="764412"/>
            </a:xfrm>
          </p:grpSpPr>
          <p:sp>
            <p:nvSpPr>
              <p:cNvPr id="71" name="Freeform 17"/>
              <p:cNvSpPr>
                <a:spLocks/>
              </p:cNvSpPr>
              <p:nvPr/>
            </p:nvSpPr>
            <p:spPr bwMode="auto">
              <a:xfrm>
                <a:off x="8304347" y="1378194"/>
                <a:ext cx="974168" cy="764412"/>
              </a:xfrm>
              <a:custGeom>
                <a:avLst/>
                <a:gdLst>
                  <a:gd name="T0" fmla="*/ 72 w 292"/>
                  <a:gd name="T1" fmla="*/ 211 h 229"/>
                  <a:gd name="T2" fmla="*/ 130 w 292"/>
                  <a:gd name="T3" fmla="*/ 166 h 229"/>
                  <a:gd name="T4" fmla="*/ 149 w 292"/>
                  <a:gd name="T5" fmla="*/ 173 h 229"/>
                  <a:gd name="T6" fmla="*/ 182 w 292"/>
                  <a:gd name="T7" fmla="*/ 164 h 229"/>
                  <a:gd name="T8" fmla="*/ 267 w 292"/>
                  <a:gd name="T9" fmla="*/ 137 h 229"/>
                  <a:gd name="T10" fmla="*/ 280 w 292"/>
                  <a:gd name="T11" fmla="*/ 111 h 229"/>
                  <a:gd name="T12" fmla="*/ 239 w 292"/>
                  <a:gd name="T13" fmla="*/ 16 h 229"/>
                  <a:gd name="T14" fmla="*/ 191 w 292"/>
                  <a:gd name="T15" fmla="*/ 0 h 229"/>
                  <a:gd name="T16" fmla="*/ 141 w 292"/>
                  <a:gd name="T17" fmla="*/ 43 h 229"/>
                  <a:gd name="T18" fmla="*/ 109 w 292"/>
                  <a:gd name="T19" fmla="*/ 86 h 229"/>
                  <a:gd name="T20" fmla="*/ 134 w 292"/>
                  <a:gd name="T21" fmla="*/ 121 h 229"/>
                  <a:gd name="T22" fmla="*/ 182 w 292"/>
                  <a:gd name="T23" fmla="*/ 143 h 229"/>
                  <a:gd name="T24" fmla="*/ 210 w 292"/>
                  <a:gd name="T25" fmla="*/ 127 h 229"/>
                  <a:gd name="T26" fmla="*/ 201 w 292"/>
                  <a:gd name="T27" fmla="*/ 39 h 229"/>
                  <a:gd name="T28" fmla="*/ 188 w 292"/>
                  <a:gd name="T29" fmla="*/ 103 h 229"/>
                  <a:gd name="T30" fmla="*/ 206 w 292"/>
                  <a:gd name="T31" fmla="*/ 67 h 229"/>
                  <a:gd name="T32" fmla="*/ 170 w 292"/>
                  <a:gd name="T33" fmla="*/ 81 h 229"/>
                  <a:gd name="T34" fmla="*/ 147 w 292"/>
                  <a:gd name="T35" fmla="*/ 99 h 229"/>
                  <a:gd name="T36" fmla="*/ 102 w 292"/>
                  <a:gd name="T37" fmla="*/ 161 h 229"/>
                  <a:gd name="T38" fmla="*/ 13 w 292"/>
                  <a:gd name="T39" fmla="*/ 201 h 229"/>
                  <a:gd name="T40" fmla="*/ 5 w 292"/>
                  <a:gd name="T41" fmla="*/ 219 h 229"/>
                  <a:gd name="T42" fmla="*/ 6 w 292"/>
                  <a:gd name="T43" fmla="*/ 219 h 229"/>
                  <a:gd name="T44" fmla="*/ 23 w 292"/>
                  <a:gd name="T45" fmla="*/ 209 h 229"/>
                  <a:gd name="T46" fmla="*/ 6 w 292"/>
                  <a:gd name="T47" fmla="*/ 219 h 229"/>
                  <a:gd name="T48" fmla="*/ 88 w 292"/>
                  <a:gd name="T49" fmla="*/ 184 h 229"/>
                  <a:gd name="T50" fmla="*/ 132 w 292"/>
                  <a:gd name="T51" fmla="*/ 118 h 229"/>
                  <a:gd name="T52" fmla="*/ 174 w 292"/>
                  <a:gd name="T53" fmla="*/ 83 h 229"/>
                  <a:gd name="T54" fmla="*/ 190 w 292"/>
                  <a:gd name="T55" fmla="*/ 62 h 229"/>
                  <a:gd name="T56" fmla="*/ 206 w 292"/>
                  <a:gd name="T57" fmla="*/ 89 h 229"/>
                  <a:gd name="T58" fmla="*/ 167 w 292"/>
                  <a:gd name="T59" fmla="*/ 77 h 229"/>
                  <a:gd name="T60" fmla="*/ 233 w 292"/>
                  <a:gd name="T61" fmla="*/ 82 h 229"/>
                  <a:gd name="T62" fmla="*/ 195 w 292"/>
                  <a:gd name="T63" fmla="*/ 128 h 229"/>
                  <a:gd name="T64" fmla="*/ 192 w 292"/>
                  <a:gd name="T65" fmla="*/ 129 h 229"/>
                  <a:gd name="T66" fmla="*/ 143 w 292"/>
                  <a:gd name="T67" fmla="*/ 129 h 229"/>
                  <a:gd name="T68" fmla="*/ 137 w 292"/>
                  <a:gd name="T69" fmla="*/ 119 h 229"/>
                  <a:gd name="T70" fmla="*/ 124 w 292"/>
                  <a:gd name="T71" fmla="*/ 111 h 229"/>
                  <a:gd name="T72" fmla="*/ 137 w 292"/>
                  <a:gd name="T73" fmla="*/ 47 h 229"/>
                  <a:gd name="T74" fmla="*/ 142 w 292"/>
                  <a:gd name="T75" fmla="*/ 45 h 229"/>
                  <a:gd name="T76" fmla="*/ 191 w 292"/>
                  <a:gd name="T77" fmla="*/ 4 h 229"/>
                  <a:gd name="T78" fmla="*/ 229 w 292"/>
                  <a:gd name="T79" fmla="*/ 20 h 229"/>
                  <a:gd name="T80" fmla="*/ 239 w 292"/>
                  <a:gd name="T81" fmla="*/ 20 h 229"/>
                  <a:gd name="T82" fmla="*/ 277 w 292"/>
                  <a:gd name="T83" fmla="*/ 109 h 229"/>
                  <a:gd name="T84" fmla="*/ 268 w 292"/>
                  <a:gd name="T85" fmla="*/ 117 h 229"/>
                  <a:gd name="T86" fmla="*/ 263 w 292"/>
                  <a:gd name="T87" fmla="*/ 138 h 229"/>
                  <a:gd name="T88" fmla="*/ 185 w 292"/>
                  <a:gd name="T89" fmla="*/ 163 h 229"/>
                  <a:gd name="T90" fmla="*/ 181 w 292"/>
                  <a:gd name="T91" fmla="*/ 163 h 229"/>
                  <a:gd name="T92" fmla="*/ 141 w 292"/>
                  <a:gd name="T93" fmla="*/ 165 h 229"/>
                  <a:gd name="T94" fmla="*/ 117 w 292"/>
                  <a:gd name="T95" fmla="*/ 171 h 229"/>
                  <a:gd name="T96" fmla="*/ 32 w 292"/>
                  <a:gd name="T97" fmla="*/ 209 h 229"/>
                  <a:gd name="T98" fmla="*/ 23 w 292"/>
                  <a:gd name="T99" fmla="*/ 207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92" h="229">
                    <a:moveTo>
                      <a:pt x="23" y="209"/>
                    </a:moveTo>
                    <a:cubicBezTo>
                      <a:pt x="23" y="211"/>
                      <a:pt x="23" y="211"/>
                      <a:pt x="23" y="211"/>
                    </a:cubicBezTo>
                    <a:cubicBezTo>
                      <a:pt x="23" y="211"/>
                      <a:pt x="36" y="214"/>
                      <a:pt x="51" y="214"/>
                    </a:cubicBezTo>
                    <a:cubicBezTo>
                      <a:pt x="58" y="214"/>
                      <a:pt x="66" y="213"/>
                      <a:pt x="72" y="211"/>
                    </a:cubicBezTo>
                    <a:cubicBezTo>
                      <a:pt x="92" y="206"/>
                      <a:pt x="105" y="191"/>
                      <a:pt x="110" y="185"/>
                    </a:cubicBezTo>
                    <a:cubicBezTo>
                      <a:pt x="112" y="181"/>
                      <a:pt x="117" y="177"/>
                      <a:pt x="121" y="173"/>
                    </a:cubicBezTo>
                    <a:cubicBezTo>
                      <a:pt x="123" y="171"/>
                      <a:pt x="126" y="169"/>
                      <a:pt x="127" y="168"/>
                    </a:cubicBezTo>
                    <a:cubicBezTo>
                      <a:pt x="128" y="167"/>
                      <a:pt x="129" y="166"/>
                      <a:pt x="130" y="166"/>
                    </a:cubicBezTo>
                    <a:cubicBezTo>
                      <a:pt x="131" y="166"/>
                      <a:pt x="131" y="166"/>
                      <a:pt x="131" y="166"/>
                    </a:cubicBezTo>
                    <a:cubicBezTo>
                      <a:pt x="132" y="166"/>
                      <a:pt x="133" y="166"/>
                      <a:pt x="135" y="167"/>
                    </a:cubicBezTo>
                    <a:cubicBezTo>
                      <a:pt x="137" y="167"/>
                      <a:pt x="140" y="169"/>
                      <a:pt x="142" y="170"/>
                    </a:cubicBezTo>
                    <a:cubicBezTo>
                      <a:pt x="145" y="171"/>
                      <a:pt x="147" y="172"/>
                      <a:pt x="149" y="173"/>
                    </a:cubicBezTo>
                    <a:cubicBezTo>
                      <a:pt x="151" y="173"/>
                      <a:pt x="155" y="174"/>
                      <a:pt x="159" y="174"/>
                    </a:cubicBezTo>
                    <a:cubicBezTo>
                      <a:pt x="163" y="174"/>
                      <a:pt x="168" y="173"/>
                      <a:pt x="173" y="172"/>
                    </a:cubicBezTo>
                    <a:cubicBezTo>
                      <a:pt x="177" y="171"/>
                      <a:pt x="182" y="169"/>
                      <a:pt x="184" y="165"/>
                    </a:cubicBezTo>
                    <a:cubicBezTo>
                      <a:pt x="182" y="164"/>
                      <a:pt x="182" y="164"/>
                      <a:pt x="182" y="164"/>
                    </a:cubicBezTo>
                    <a:cubicBezTo>
                      <a:pt x="181" y="166"/>
                      <a:pt x="181" y="166"/>
                      <a:pt x="181" y="166"/>
                    </a:cubicBezTo>
                    <a:cubicBezTo>
                      <a:pt x="182" y="166"/>
                      <a:pt x="196" y="171"/>
                      <a:pt x="214" y="171"/>
                    </a:cubicBezTo>
                    <a:cubicBezTo>
                      <a:pt x="223" y="171"/>
                      <a:pt x="232" y="170"/>
                      <a:pt x="242" y="166"/>
                    </a:cubicBezTo>
                    <a:cubicBezTo>
                      <a:pt x="256" y="159"/>
                      <a:pt x="263" y="147"/>
                      <a:pt x="267" y="137"/>
                    </a:cubicBezTo>
                    <a:cubicBezTo>
                      <a:pt x="271" y="127"/>
                      <a:pt x="271" y="119"/>
                      <a:pt x="271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70" y="120"/>
                      <a:pt x="275" y="117"/>
                      <a:pt x="280" y="111"/>
                    </a:cubicBezTo>
                    <a:cubicBezTo>
                      <a:pt x="284" y="105"/>
                      <a:pt x="290" y="97"/>
                      <a:pt x="291" y="86"/>
                    </a:cubicBezTo>
                    <a:cubicBezTo>
                      <a:pt x="292" y="82"/>
                      <a:pt x="292" y="78"/>
                      <a:pt x="292" y="75"/>
                    </a:cubicBezTo>
                    <a:cubicBezTo>
                      <a:pt x="292" y="59"/>
                      <a:pt x="287" y="45"/>
                      <a:pt x="279" y="35"/>
                    </a:cubicBezTo>
                    <a:cubicBezTo>
                      <a:pt x="271" y="24"/>
                      <a:pt x="255" y="16"/>
                      <a:pt x="239" y="16"/>
                    </a:cubicBezTo>
                    <a:cubicBezTo>
                      <a:pt x="236" y="16"/>
                      <a:pt x="233" y="16"/>
                      <a:pt x="230" y="17"/>
                    </a:cubicBezTo>
                    <a:cubicBezTo>
                      <a:pt x="231" y="19"/>
                      <a:pt x="231" y="19"/>
                      <a:pt x="231" y="19"/>
                    </a:cubicBezTo>
                    <a:cubicBezTo>
                      <a:pt x="232" y="17"/>
                      <a:pt x="232" y="17"/>
                      <a:pt x="232" y="17"/>
                    </a:cubicBezTo>
                    <a:cubicBezTo>
                      <a:pt x="232" y="17"/>
                      <a:pt x="214" y="0"/>
                      <a:pt x="191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78" y="0"/>
                      <a:pt x="167" y="4"/>
                      <a:pt x="157" y="11"/>
                    </a:cubicBezTo>
                    <a:cubicBezTo>
                      <a:pt x="148" y="19"/>
                      <a:pt x="141" y="29"/>
                      <a:pt x="139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0" y="41"/>
                      <a:pt x="140" y="41"/>
                      <a:pt x="140" y="41"/>
                    </a:cubicBezTo>
                    <a:cubicBezTo>
                      <a:pt x="140" y="41"/>
                      <a:pt x="132" y="44"/>
                      <a:pt x="125" y="51"/>
                    </a:cubicBezTo>
                    <a:cubicBezTo>
                      <a:pt x="117" y="58"/>
                      <a:pt x="110" y="68"/>
                      <a:pt x="109" y="83"/>
                    </a:cubicBezTo>
                    <a:cubicBezTo>
                      <a:pt x="109" y="84"/>
                      <a:pt x="109" y="85"/>
                      <a:pt x="109" y="86"/>
                    </a:cubicBezTo>
                    <a:cubicBezTo>
                      <a:pt x="109" y="100"/>
                      <a:pt x="116" y="109"/>
                      <a:pt x="122" y="115"/>
                    </a:cubicBezTo>
                    <a:cubicBezTo>
                      <a:pt x="128" y="120"/>
                      <a:pt x="135" y="122"/>
                      <a:pt x="135" y="122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34" y="121"/>
                      <a:pt x="134" y="121"/>
                      <a:pt x="134" y="121"/>
                    </a:cubicBezTo>
                    <a:cubicBezTo>
                      <a:pt x="134" y="121"/>
                      <a:pt x="136" y="126"/>
                      <a:pt x="139" y="131"/>
                    </a:cubicBezTo>
                    <a:cubicBezTo>
                      <a:pt x="143" y="137"/>
                      <a:pt x="148" y="143"/>
                      <a:pt x="155" y="145"/>
                    </a:cubicBezTo>
                    <a:cubicBezTo>
                      <a:pt x="158" y="146"/>
                      <a:pt x="161" y="147"/>
                      <a:pt x="164" y="147"/>
                    </a:cubicBezTo>
                    <a:cubicBezTo>
                      <a:pt x="170" y="147"/>
                      <a:pt x="176" y="145"/>
                      <a:pt x="182" y="143"/>
                    </a:cubicBezTo>
                    <a:cubicBezTo>
                      <a:pt x="187" y="140"/>
                      <a:pt x="192" y="136"/>
                      <a:pt x="195" y="131"/>
                    </a:cubicBezTo>
                    <a:cubicBezTo>
                      <a:pt x="194" y="130"/>
                      <a:pt x="194" y="130"/>
                      <a:pt x="194" y="130"/>
                    </a:cubicBezTo>
                    <a:cubicBezTo>
                      <a:pt x="194" y="132"/>
                      <a:pt x="194" y="132"/>
                      <a:pt x="194" y="132"/>
                    </a:cubicBezTo>
                    <a:cubicBezTo>
                      <a:pt x="194" y="132"/>
                      <a:pt x="201" y="130"/>
                      <a:pt x="210" y="127"/>
                    </a:cubicBezTo>
                    <a:cubicBezTo>
                      <a:pt x="218" y="124"/>
                      <a:pt x="227" y="118"/>
                      <a:pt x="231" y="109"/>
                    </a:cubicBezTo>
                    <a:cubicBezTo>
                      <a:pt x="234" y="102"/>
                      <a:pt x="237" y="92"/>
                      <a:pt x="237" y="82"/>
                    </a:cubicBezTo>
                    <a:cubicBezTo>
                      <a:pt x="237" y="69"/>
                      <a:pt x="233" y="55"/>
                      <a:pt x="222" y="47"/>
                    </a:cubicBezTo>
                    <a:cubicBezTo>
                      <a:pt x="215" y="41"/>
                      <a:pt x="208" y="39"/>
                      <a:pt x="201" y="39"/>
                    </a:cubicBezTo>
                    <a:cubicBezTo>
                      <a:pt x="188" y="39"/>
                      <a:pt x="177" y="46"/>
                      <a:pt x="170" y="54"/>
                    </a:cubicBezTo>
                    <a:cubicBezTo>
                      <a:pt x="165" y="60"/>
                      <a:pt x="163" y="69"/>
                      <a:pt x="163" y="77"/>
                    </a:cubicBezTo>
                    <a:cubicBezTo>
                      <a:pt x="163" y="84"/>
                      <a:pt x="164" y="91"/>
                      <a:pt x="169" y="96"/>
                    </a:cubicBezTo>
                    <a:cubicBezTo>
                      <a:pt x="174" y="100"/>
                      <a:pt x="181" y="103"/>
                      <a:pt x="188" y="103"/>
                    </a:cubicBezTo>
                    <a:cubicBezTo>
                      <a:pt x="192" y="103"/>
                      <a:pt x="197" y="102"/>
                      <a:pt x="200" y="100"/>
                    </a:cubicBezTo>
                    <a:cubicBezTo>
                      <a:pt x="204" y="98"/>
                      <a:pt x="207" y="95"/>
                      <a:pt x="209" y="91"/>
                    </a:cubicBezTo>
                    <a:cubicBezTo>
                      <a:pt x="211" y="88"/>
                      <a:pt x="212" y="84"/>
                      <a:pt x="212" y="81"/>
                    </a:cubicBezTo>
                    <a:cubicBezTo>
                      <a:pt x="212" y="76"/>
                      <a:pt x="209" y="70"/>
                      <a:pt x="206" y="67"/>
                    </a:cubicBezTo>
                    <a:cubicBezTo>
                      <a:pt x="203" y="63"/>
                      <a:pt x="199" y="60"/>
                      <a:pt x="195" y="59"/>
                    </a:cubicBezTo>
                    <a:cubicBezTo>
                      <a:pt x="194" y="59"/>
                      <a:pt x="192" y="58"/>
                      <a:pt x="190" y="58"/>
                    </a:cubicBezTo>
                    <a:cubicBezTo>
                      <a:pt x="186" y="58"/>
                      <a:pt x="181" y="60"/>
                      <a:pt x="177" y="64"/>
                    </a:cubicBezTo>
                    <a:cubicBezTo>
                      <a:pt x="173" y="67"/>
                      <a:pt x="170" y="73"/>
                      <a:pt x="170" y="81"/>
                    </a:cubicBezTo>
                    <a:cubicBezTo>
                      <a:pt x="170" y="81"/>
                      <a:pt x="170" y="81"/>
                      <a:pt x="170" y="82"/>
                    </a:cubicBezTo>
                    <a:cubicBezTo>
                      <a:pt x="172" y="82"/>
                      <a:pt x="172" y="82"/>
                      <a:pt x="172" y="82"/>
                    </a:cubicBezTo>
                    <a:cubicBezTo>
                      <a:pt x="171" y="80"/>
                      <a:pt x="171" y="80"/>
                      <a:pt x="171" y="80"/>
                    </a:cubicBezTo>
                    <a:cubicBezTo>
                      <a:pt x="171" y="80"/>
                      <a:pt x="159" y="88"/>
                      <a:pt x="147" y="99"/>
                    </a:cubicBezTo>
                    <a:cubicBezTo>
                      <a:pt x="141" y="104"/>
                      <a:pt x="134" y="109"/>
                      <a:pt x="129" y="115"/>
                    </a:cubicBezTo>
                    <a:cubicBezTo>
                      <a:pt x="124" y="120"/>
                      <a:pt x="120" y="125"/>
                      <a:pt x="118" y="130"/>
                    </a:cubicBezTo>
                    <a:cubicBezTo>
                      <a:pt x="114" y="138"/>
                      <a:pt x="113" y="142"/>
                      <a:pt x="112" y="145"/>
                    </a:cubicBezTo>
                    <a:cubicBezTo>
                      <a:pt x="111" y="149"/>
                      <a:pt x="109" y="153"/>
                      <a:pt x="102" y="161"/>
                    </a:cubicBezTo>
                    <a:cubicBezTo>
                      <a:pt x="95" y="170"/>
                      <a:pt x="91" y="176"/>
                      <a:pt x="85" y="181"/>
                    </a:cubicBezTo>
                    <a:cubicBezTo>
                      <a:pt x="80" y="185"/>
                      <a:pt x="74" y="188"/>
                      <a:pt x="65" y="189"/>
                    </a:cubicBezTo>
                    <a:cubicBezTo>
                      <a:pt x="56" y="190"/>
                      <a:pt x="42" y="190"/>
                      <a:pt x="30" y="193"/>
                    </a:cubicBezTo>
                    <a:cubicBezTo>
                      <a:pt x="23" y="195"/>
                      <a:pt x="17" y="197"/>
                      <a:pt x="13" y="201"/>
                    </a:cubicBezTo>
                    <a:cubicBezTo>
                      <a:pt x="8" y="205"/>
                      <a:pt x="4" y="211"/>
                      <a:pt x="2" y="2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5" y="219"/>
                      <a:pt x="5" y="219"/>
                      <a:pt x="5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5" y="219"/>
                      <a:pt x="5" y="219"/>
                      <a:pt x="5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6" y="219"/>
                      <a:pt x="10" y="213"/>
                      <a:pt x="24" y="211"/>
                    </a:cubicBezTo>
                    <a:cubicBezTo>
                      <a:pt x="23" y="209"/>
                      <a:pt x="23" y="209"/>
                      <a:pt x="23" y="209"/>
                    </a:cubicBezTo>
                    <a:cubicBezTo>
                      <a:pt x="23" y="211"/>
                      <a:pt x="23" y="211"/>
                      <a:pt x="23" y="211"/>
                    </a:cubicBezTo>
                    <a:cubicBezTo>
                      <a:pt x="23" y="209"/>
                      <a:pt x="23" y="209"/>
                      <a:pt x="23" y="209"/>
                    </a:cubicBezTo>
                    <a:cubicBezTo>
                      <a:pt x="23" y="207"/>
                      <a:pt x="23" y="207"/>
                      <a:pt x="23" y="207"/>
                    </a:cubicBezTo>
                    <a:cubicBezTo>
                      <a:pt x="8" y="209"/>
                      <a:pt x="3" y="217"/>
                      <a:pt x="3" y="217"/>
                    </a:cubicBezTo>
                    <a:cubicBezTo>
                      <a:pt x="4" y="218"/>
                      <a:pt x="4" y="218"/>
                      <a:pt x="4" y="218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8" y="212"/>
                      <a:pt x="11" y="208"/>
                      <a:pt x="15" y="204"/>
                    </a:cubicBezTo>
                    <a:cubicBezTo>
                      <a:pt x="21" y="199"/>
                      <a:pt x="31" y="197"/>
                      <a:pt x="40" y="195"/>
                    </a:cubicBezTo>
                    <a:cubicBezTo>
                      <a:pt x="49" y="194"/>
                      <a:pt x="59" y="194"/>
                      <a:pt x="66" y="193"/>
                    </a:cubicBezTo>
                    <a:cubicBezTo>
                      <a:pt x="75" y="192"/>
                      <a:pt x="82" y="189"/>
                      <a:pt x="88" y="184"/>
                    </a:cubicBezTo>
                    <a:cubicBezTo>
                      <a:pt x="94" y="179"/>
                      <a:pt x="99" y="172"/>
                      <a:pt x="105" y="164"/>
                    </a:cubicBezTo>
                    <a:cubicBezTo>
                      <a:pt x="112" y="155"/>
                      <a:pt x="114" y="151"/>
                      <a:pt x="116" y="147"/>
                    </a:cubicBezTo>
                    <a:cubicBezTo>
                      <a:pt x="117" y="143"/>
                      <a:pt x="118" y="139"/>
                      <a:pt x="121" y="131"/>
                    </a:cubicBezTo>
                    <a:cubicBezTo>
                      <a:pt x="123" y="128"/>
                      <a:pt x="127" y="123"/>
                      <a:pt x="132" y="118"/>
                    </a:cubicBezTo>
                    <a:cubicBezTo>
                      <a:pt x="140" y="110"/>
                      <a:pt x="150" y="101"/>
                      <a:pt x="158" y="95"/>
                    </a:cubicBezTo>
                    <a:cubicBezTo>
                      <a:pt x="163" y="91"/>
                      <a:pt x="166" y="88"/>
                      <a:pt x="169" y="86"/>
                    </a:cubicBezTo>
                    <a:cubicBezTo>
                      <a:pt x="172" y="84"/>
                      <a:pt x="173" y="83"/>
                      <a:pt x="173" y="83"/>
                    </a:cubicBezTo>
                    <a:cubicBezTo>
                      <a:pt x="174" y="83"/>
                      <a:pt x="174" y="83"/>
                      <a:pt x="174" y="83"/>
                    </a:cubicBezTo>
                    <a:cubicBezTo>
                      <a:pt x="174" y="82"/>
                      <a:pt x="174" y="82"/>
                      <a:pt x="174" y="82"/>
                    </a:cubicBezTo>
                    <a:cubicBezTo>
                      <a:pt x="174" y="81"/>
                      <a:pt x="174" y="81"/>
                      <a:pt x="174" y="81"/>
                    </a:cubicBezTo>
                    <a:cubicBezTo>
                      <a:pt x="174" y="74"/>
                      <a:pt x="176" y="69"/>
                      <a:pt x="179" y="66"/>
                    </a:cubicBezTo>
                    <a:cubicBezTo>
                      <a:pt x="182" y="64"/>
                      <a:pt x="187" y="62"/>
                      <a:pt x="190" y="62"/>
                    </a:cubicBezTo>
                    <a:cubicBezTo>
                      <a:pt x="192" y="62"/>
                      <a:pt x="193" y="63"/>
                      <a:pt x="194" y="63"/>
                    </a:cubicBezTo>
                    <a:cubicBezTo>
                      <a:pt x="197" y="64"/>
                      <a:pt x="201" y="66"/>
                      <a:pt x="203" y="69"/>
                    </a:cubicBezTo>
                    <a:cubicBezTo>
                      <a:pt x="206" y="72"/>
                      <a:pt x="208" y="77"/>
                      <a:pt x="208" y="81"/>
                    </a:cubicBezTo>
                    <a:cubicBezTo>
                      <a:pt x="208" y="84"/>
                      <a:pt x="207" y="86"/>
                      <a:pt x="206" y="89"/>
                    </a:cubicBezTo>
                    <a:cubicBezTo>
                      <a:pt x="204" y="92"/>
                      <a:pt x="202" y="95"/>
                      <a:pt x="198" y="96"/>
                    </a:cubicBezTo>
                    <a:cubicBezTo>
                      <a:pt x="195" y="98"/>
                      <a:pt x="192" y="99"/>
                      <a:pt x="188" y="99"/>
                    </a:cubicBezTo>
                    <a:cubicBezTo>
                      <a:pt x="182" y="99"/>
                      <a:pt x="175" y="96"/>
                      <a:pt x="172" y="93"/>
                    </a:cubicBezTo>
                    <a:cubicBezTo>
                      <a:pt x="168" y="89"/>
                      <a:pt x="167" y="83"/>
                      <a:pt x="167" y="77"/>
                    </a:cubicBezTo>
                    <a:cubicBezTo>
                      <a:pt x="167" y="70"/>
                      <a:pt x="169" y="62"/>
                      <a:pt x="174" y="56"/>
                    </a:cubicBezTo>
                    <a:cubicBezTo>
                      <a:pt x="179" y="50"/>
                      <a:pt x="190" y="43"/>
                      <a:pt x="201" y="43"/>
                    </a:cubicBezTo>
                    <a:cubicBezTo>
                      <a:pt x="207" y="43"/>
                      <a:pt x="213" y="45"/>
                      <a:pt x="220" y="50"/>
                    </a:cubicBezTo>
                    <a:cubicBezTo>
                      <a:pt x="229" y="57"/>
                      <a:pt x="233" y="69"/>
                      <a:pt x="233" y="82"/>
                    </a:cubicBezTo>
                    <a:cubicBezTo>
                      <a:pt x="233" y="91"/>
                      <a:pt x="230" y="101"/>
                      <a:pt x="227" y="108"/>
                    </a:cubicBezTo>
                    <a:cubicBezTo>
                      <a:pt x="224" y="115"/>
                      <a:pt x="216" y="120"/>
                      <a:pt x="208" y="123"/>
                    </a:cubicBezTo>
                    <a:cubicBezTo>
                      <a:pt x="204" y="125"/>
                      <a:pt x="200" y="126"/>
                      <a:pt x="198" y="127"/>
                    </a:cubicBezTo>
                    <a:cubicBezTo>
                      <a:pt x="196" y="127"/>
                      <a:pt x="195" y="128"/>
                      <a:pt x="195" y="128"/>
                    </a:cubicBezTo>
                    <a:cubicBezTo>
                      <a:pt x="194" y="128"/>
                      <a:pt x="194" y="128"/>
                      <a:pt x="194" y="128"/>
                    </a:cubicBezTo>
                    <a:cubicBezTo>
                      <a:pt x="193" y="128"/>
                      <a:pt x="193" y="128"/>
                      <a:pt x="193" y="128"/>
                    </a:cubicBezTo>
                    <a:cubicBezTo>
                      <a:pt x="192" y="128"/>
                      <a:pt x="192" y="128"/>
                      <a:pt x="192" y="128"/>
                    </a:cubicBezTo>
                    <a:cubicBezTo>
                      <a:pt x="192" y="129"/>
                      <a:pt x="192" y="129"/>
                      <a:pt x="192" y="129"/>
                    </a:cubicBezTo>
                    <a:cubicBezTo>
                      <a:pt x="189" y="133"/>
                      <a:pt x="185" y="137"/>
                      <a:pt x="180" y="139"/>
                    </a:cubicBezTo>
                    <a:cubicBezTo>
                      <a:pt x="175" y="141"/>
                      <a:pt x="169" y="143"/>
                      <a:pt x="164" y="143"/>
                    </a:cubicBezTo>
                    <a:cubicBezTo>
                      <a:pt x="161" y="143"/>
                      <a:pt x="158" y="142"/>
                      <a:pt x="156" y="141"/>
                    </a:cubicBezTo>
                    <a:cubicBezTo>
                      <a:pt x="151" y="140"/>
                      <a:pt x="146" y="134"/>
                      <a:pt x="143" y="129"/>
                    </a:cubicBezTo>
                    <a:cubicBezTo>
                      <a:pt x="141" y="127"/>
                      <a:pt x="140" y="124"/>
                      <a:pt x="139" y="122"/>
                    </a:cubicBezTo>
                    <a:cubicBezTo>
                      <a:pt x="138" y="122"/>
                      <a:pt x="138" y="121"/>
                      <a:pt x="138" y="120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37" y="119"/>
                      <a:pt x="137" y="119"/>
                      <a:pt x="137" y="119"/>
                    </a:cubicBezTo>
                    <a:cubicBezTo>
                      <a:pt x="137" y="119"/>
                      <a:pt x="137" y="119"/>
                      <a:pt x="137" y="119"/>
                    </a:cubicBezTo>
                    <a:cubicBezTo>
                      <a:pt x="136" y="118"/>
                      <a:pt x="136" y="118"/>
                      <a:pt x="136" y="118"/>
                    </a:cubicBezTo>
                    <a:cubicBezTo>
                      <a:pt x="136" y="118"/>
                      <a:pt x="136" y="118"/>
                      <a:pt x="136" y="118"/>
                    </a:cubicBezTo>
                    <a:cubicBezTo>
                      <a:pt x="136" y="118"/>
                      <a:pt x="130" y="116"/>
                      <a:pt x="124" y="111"/>
                    </a:cubicBezTo>
                    <a:cubicBezTo>
                      <a:pt x="118" y="106"/>
                      <a:pt x="113" y="98"/>
                      <a:pt x="113" y="86"/>
                    </a:cubicBezTo>
                    <a:cubicBezTo>
                      <a:pt x="113" y="85"/>
                      <a:pt x="113" y="84"/>
                      <a:pt x="113" y="84"/>
                    </a:cubicBezTo>
                    <a:cubicBezTo>
                      <a:pt x="114" y="70"/>
                      <a:pt x="121" y="60"/>
                      <a:pt x="128" y="54"/>
                    </a:cubicBezTo>
                    <a:cubicBezTo>
                      <a:pt x="131" y="51"/>
                      <a:pt x="135" y="49"/>
                      <a:pt x="137" y="47"/>
                    </a:cubicBezTo>
                    <a:cubicBezTo>
                      <a:pt x="138" y="46"/>
                      <a:pt x="140" y="46"/>
                      <a:pt x="140" y="46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2" y="45"/>
                      <a:pt x="142" y="45"/>
                      <a:pt x="142" y="45"/>
                    </a:cubicBezTo>
                    <a:cubicBezTo>
                      <a:pt x="143" y="44"/>
                      <a:pt x="143" y="44"/>
                      <a:pt x="143" y="44"/>
                    </a:cubicBezTo>
                    <a:cubicBezTo>
                      <a:pt x="145" y="31"/>
                      <a:pt x="151" y="21"/>
                      <a:pt x="160" y="15"/>
                    </a:cubicBezTo>
                    <a:cubicBezTo>
                      <a:pt x="168" y="8"/>
                      <a:pt x="179" y="4"/>
                      <a:pt x="190" y="4"/>
                    </a:cubicBezTo>
                    <a:cubicBezTo>
                      <a:pt x="191" y="4"/>
                      <a:pt x="191" y="4"/>
                      <a:pt x="191" y="4"/>
                    </a:cubicBezTo>
                    <a:cubicBezTo>
                      <a:pt x="201" y="4"/>
                      <a:pt x="211" y="8"/>
                      <a:pt x="218" y="12"/>
                    </a:cubicBezTo>
                    <a:cubicBezTo>
                      <a:pt x="222" y="14"/>
                      <a:pt x="224" y="16"/>
                      <a:pt x="226" y="18"/>
                    </a:cubicBezTo>
                    <a:cubicBezTo>
                      <a:pt x="227" y="19"/>
                      <a:pt x="228" y="19"/>
                      <a:pt x="229" y="20"/>
                    </a:cubicBezTo>
                    <a:cubicBezTo>
                      <a:pt x="229" y="20"/>
                      <a:pt x="229" y="20"/>
                      <a:pt x="229" y="20"/>
                    </a:cubicBezTo>
                    <a:cubicBezTo>
                      <a:pt x="229" y="20"/>
                      <a:pt x="229" y="20"/>
                      <a:pt x="229" y="20"/>
                    </a:cubicBezTo>
                    <a:cubicBezTo>
                      <a:pt x="230" y="21"/>
                      <a:pt x="230" y="21"/>
                      <a:pt x="230" y="21"/>
                    </a:cubicBezTo>
                    <a:cubicBezTo>
                      <a:pt x="231" y="21"/>
                      <a:pt x="231" y="21"/>
                      <a:pt x="231" y="21"/>
                    </a:cubicBezTo>
                    <a:cubicBezTo>
                      <a:pt x="234" y="20"/>
                      <a:pt x="236" y="20"/>
                      <a:pt x="239" y="20"/>
                    </a:cubicBezTo>
                    <a:cubicBezTo>
                      <a:pt x="254" y="20"/>
                      <a:pt x="268" y="27"/>
                      <a:pt x="276" y="37"/>
                    </a:cubicBezTo>
                    <a:cubicBezTo>
                      <a:pt x="283" y="47"/>
                      <a:pt x="288" y="60"/>
                      <a:pt x="288" y="75"/>
                    </a:cubicBezTo>
                    <a:cubicBezTo>
                      <a:pt x="288" y="78"/>
                      <a:pt x="288" y="82"/>
                      <a:pt x="287" y="85"/>
                    </a:cubicBezTo>
                    <a:cubicBezTo>
                      <a:pt x="286" y="95"/>
                      <a:pt x="281" y="103"/>
                      <a:pt x="277" y="109"/>
                    </a:cubicBezTo>
                    <a:cubicBezTo>
                      <a:pt x="274" y="111"/>
                      <a:pt x="272" y="114"/>
                      <a:pt x="270" y="115"/>
                    </a:cubicBezTo>
                    <a:cubicBezTo>
                      <a:pt x="270" y="116"/>
                      <a:pt x="269" y="116"/>
                      <a:pt x="268" y="117"/>
                    </a:cubicBezTo>
                    <a:cubicBezTo>
                      <a:pt x="268" y="117"/>
                      <a:pt x="268" y="117"/>
                      <a:pt x="268" y="117"/>
                    </a:cubicBezTo>
                    <a:cubicBezTo>
                      <a:pt x="268" y="117"/>
                      <a:pt x="268" y="117"/>
                      <a:pt x="268" y="117"/>
                    </a:cubicBezTo>
                    <a:cubicBezTo>
                      <a:pt x="267" y="118"/>
                      <a:pt x="267" y="118"/>
                      <a:pt x="267" y="118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21"/>
                      <a:pt x="266" y="129"/>
                      <a:pt x="263" y="138"/>
                    </a:cubicBezTo>
                    <a:cubicBezTo>
                      <a:pt x="259" y="146"/>
                      <a:pt x="252" y="156"/>
                      <a:pt x="240" y="162"/>
                    </a:cubicBezTo>
                    <a:cubicBezTo>
                      <a:pt x="231" y="166"/>
                      <a:pt x="222" y="167"/>
                      <a:pt x="214" y="167"/>
                    </a:cubicBezTo>
                    <a:cubicBezTo>
                      <a:pt x="205" y="167"/>
                      <a:pt x="198" y="166"/>
                      <a:pt x="192" y="165"/>
                    </a:cubicBezTo>
                    <a:cubicBezTo>
                      <a:pt x="189" y="164"/>
                      <a:pt x="187" y="163"/>
                      <a:pt x="185" y="163"/>
                    </a:cubicBezTo>
                    <a:cubicBezTo>
                      <a:pt x="185" y="162"/>
                      <a:pt x="184" y="162"/>
                      <a:pt x="184" y="162"/>
                    </a:cubicBezTo>
                    <a:cubicBezTo>
                      <a:pt x="183" y="162"/>
                      <a:pt x="183" y="162"/>
                      <a:pt x="183" y="162"/>
                    </a:cubicBezTo>
                    <a:cubicBezTo>
                      <a:pt x="181" y="161"/>
                      <a:pt x="181" y="161"/>
                      <a:pt x="181" y="161"/>
                    </a:cubicBezTo>
                    <a:cubicBezTo>
                      <a:pt x="181" y="163"/>
                      <a:pt x="181" y="163"/>
                      <a:pt x="181" y="163"/>
                    </a:cubicBezTo>
                    <a:cubicBezTo>
                      <a:pt x="179" y="165"/>
                      <a:pt x="176" y="167"/>
                      <a:pt x="172" y="168"/>
                    </a:cubicBezTo>
                    <a:cubicBezTo>
                      <a:pt x="168" y="169"/>
                      <a:pt x="163" y="170"/>
                      <a:pt x="159" y="170"/>
                    </a:cubicBezTo>
                    <a:cubicBezTo>
                      <a:pt x="155" y="170"/>
                      <a:pt x="151" y="169"/>
                      <a:pt x="150" y="169"/>
                    </a:cubicBezTo>
                    <a:cubicBezTo>
                      <a:pt x="148" y="169"/>
                      <a:pt x="145" y="167"/>
                      <a:pt x="141" y="165"/>
                    </a:cubicBezTo>
                    <a:cubicBezTo>
                      <a:pt x="140" y="164"/>
                      <a:pt x="138" y="164"/>
                      <a:pt x="136" y="163"/>
                    </a:cubicBezTo>
                    <a:cubicBezTo>
                      <a:pt x="135" y="162"/>
                      <a:pt x="133" y="162"/>
                      <a:pt x="131" y="162"/>
                    </a:cubicBezTo>
                    <a:cubicBezTo>
                      <a:pt x="130" y="162"/>
                      <a:pt x="129" y="162"/>
                      <a:pt x="128" y="163"/>
                    </a:cubicBezTo>
                    <a:cubicBezTo>
                      <a:pt x="125" y="164"/>
                      <a:pt x="121" y="167"/>
                      <a:pt x="117" y="171"/>
                    </a:cubicBezTo>
                    <a:cubicBezTo>
                      <a:pt x="113" y="175"/>
                      <a:pt x="109" y="179"/>
                      <a:pt x="107" y="182"/>
                    </a:cubicBezTo>
                    <a:cubicBezTo>
                      <a:pt x="102" y="188"/>
                      <a:pt x="89" y="203"/>
                      <a:pt x="71" y="208"/>
                    </a:cubicBezTo>
                    <a:cubicBezTo>
                      <a:pt x="65" y="209"/>
                      <a:pt x="58" y="210"/>
                      <a:pt x="51" y="210"/>
                    </a:cubicBezTo>
                    <a:cubicBezTo>
                      <a:pt x="44" y="210"/>
                      <a:pt x="37" y="209"/>
                      <a:pt x="32" y="209"/>
                    </a:cubicBezTo>
                    <a:cubicBezTo>
                      <a:pt x="30" y="208"/>
                      <a:pt x="27" y="208"/>
                      <a:pt x="26" y="208"/>
                    </a:cubicBezTo>
                    <a:cubicBezTo>
                      <a:pt x="25" y="208"/>
                      <a:pt x="24" y="207"/>
                      <a:pt x="24" y="207"/>
                    </a:cubicBezTo>
                    <a:cubicBezTo>
                      <a:pt x="23" y="207"/>
                      <a:pt x="23" y="207"/>
                      <a:pt x="23" y="207"/>
                    </a:cubicBezTo>
                    <a:cubicBezTo>
                      <a:pt x="23" y="207"/>
                      <a:pt x="23" y="207"/>
                      <a:pt x="23" y="207"/>
                    </a:cubicBezTo>
                    <a:lnTo>
                      <a:pt x="23" y="20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" name="Freeform 19"/>
              <p:cNvSpPr>
                <a:spLocks/>
              </p:cNvSpPr>
              <p:nvPr/>
            </p:nvSpPr>
            <p:spPr bwMode="auto">
              <a:xfrm>
                <a:off x="8735120" y="1507708"/>
                <a:ext cx="360386" cy="357570"/>
              </a:xfrm>
              <a:custGeom>
                <a:avLst/>
                <a:gdLst>
                  <a:gd name="T0" fmla="*/ 56 w 108"/>
                  <a:gd name="T1" fmla="*/ 37 h 107"/>
                  <a:gd name="T2" fmla="*/ 55 w 108"/>
                  <a:gd name="T3" fmla="*/ 44 h 107"/>
                  <a:gd name="T4" fmla="*/ 48 w 108"/>
                  <a:gd name="T5" fmla="*/ 46 h 107"/>
                  <a:gd name="T6" fmla="*/ 42 w 108"/>
                  <a:gd name="T7" fmla="*/ 39 h 107"/>
                  <a:gd name="T8" fmla="*/ 57 w 108"/>
                  <a:gd name="T9" fmla="*/ 24 h 107"/>
                  <a:gd name="T10" fmla="*/ 74 w 108"/>
                  <a:gd name="T11" fmla="*/ 30 h 107"/>
                  <a:gd name="T12" fmla="*/ 79 w 108"/>
                  <a:gd name="T13" fmla="*/ 42 h 107"/>
                  <a:gd name="T14" fmla="*/ 74 w 108"/>
                  <a:gd name="T15" fmla="*/ 56 h 107"/>
                  <a:gd name="T16" fmla="*/ 56 w 108"/>
                  <a:gd name="T17" fmla="*/ 62 h 107"/>
                  <a:gd name="T18" fmla="*/ 37 w 108"/>
                  <a:gd name="T19" fmla="*/ 36 h 107"/>
                  <a:gd name="T20" fmla="*/ 52 w 108"/>
                  <a:gd name="T21" fmla="*/ 12 h 107"/>
                  <a:gd name="T22" fmla="*/ 73 w 108"/>
                  <a:gd name="T23" fmla="*/ 4 h 107"/>
                  <a:gd name="T24" fmla="*/ 104 w 108"/>
                  <a:gd name="T25" fmla="*/ 41 h 107"/>
                  <a:gd name="T26" fmla="*/ 90 w 108"/>
                  <a:gd name="T27" fmla="*/ 76 h 107"/>
                  <a:gd name="T28" fmla="*/ 63 w 108"/>
                  <a:gd name="T29" fmla="*/ 89 h 107"/>
                  <a:gd name="T30" fmla="*/ 63 w 108"/>
                  <a:gd name="T31" fmla="*/ 90 h 107"/>
                  <a:gd name="T32" fmla="*/ 40 w 108"/>
                  <a:gd name="T33" fmla="*/ 103 h 107"/>
                  <a:gd name="T34" fmla="*/ 18 w 108"/>
                  <a:gd name="T35" fmla="*/ 94 h 107"/>
                  <a:gd name="T36" fmla="*/ 8 w 108"/>
                  <a:gd name="T37" fmla="*/ 80 h 107"/>
                  <a:gd name="T38" fmla="*/ 0 w 108"/>
                  <a:gd name="T39" fmla="*/ 80 h 107"/>
                  <a:gd name="T40" fmla="*/ 7 w 108"/>
                  <a:gd name="T41" fmla="*/ 81 h 107"/>
                  <a:gd name="T42" fmla="*/ 15 w 108"/>
                  <a:gd name="T43" fmla="*/ 97 h 107"/>
                  <a:gd name="T44" fmla="*/ 40 w 108"/>
                  <a:gd name="T45" fmla="*/ 107 h 107"/>
                  <a:gd name="T46" fmla="*/ 67 w 108"/>
                  <a:gd name="T47" fmla="*/ 92 h 107"/>
                  <a:gd name="T48" fmla="*/ 65 w 108"/>
                  <a:gd name="T49" fmla="*/ 93 h 107"/>
                  <a:gd name="T50" fmla="*/ 108 w 108"/>
                  <a:gd name="T51" fmla="*/ 45 h 107"/>
                  <a:gd name="T52" fmla="*/ 96 w 108"/>
                  <a:gd name="T53" fmla="*/ 10 h 107"/>
                  <a:gd name="T54" fmla="*/ 72 w 108"/>
                  <a:gd name="T55" fmla="*/ 0 h 107"/>
                  <a:gd name="T56" fmla="*/ 35 w 108"/>
                  <a:gd name="T57" fmla="*/ 26 h 107"/>
                  <a:gd name="T58" fmla="*/ 39 w 108"/>
                  <a:gd name="T59" fmla="*/ 55 h 107"/>
                  <a:gd name="T60" fmla="*/ 59 w 108"/>
                  <a:gd name="T61" fmla="*/ 66 h 107"/>
                  <a:gd name="T62" fmla="*/ 83 w 108"/>
                  <a:gd name="T63" fmla="*/ 42 h 107"/>
                  <a:gd name="T64" fmla="*/ 83 w 108"/>
                  <a:gd name="T65" fmla="*/ 42 h 107"/>
                  <a:gd name="T66" fmla="*/ 59 w 108"/>
                  <a:gd name="T67" fmla="*/ 20 h 107"/>
                  <a:gd name="T68" fmla="*/ 43 w 108"/>
                  <a:gd name="T69" fmla="*/ 26 h 107"/>
                  <a:gd name="T70" fmla="*/ 41 w 108"/>
                  <a:gd name="T71" fmla="*/ 46 h 107"/>
                  <a:gd name="T72" fmla="*/ 50 w 108"/>
                  <a:gd name="T73" fmla="*/ 50 h 107"/>
                  <a:gd name="T74" fmla="*/ 60 w 108"/>
                  <a:gd name="T75" fmla="*/ 41 h 107"/>
                  <a:gd name="T76" fmla="*/ 56 w 108"/>
                  <a:gd name="T77" fmla="*/ 3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8" h="107">
                    <a:moveTo>
                      <a:pt x="56" y="37"/>
                    </a:move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8"/>
                      <a:pt x="56" y="39"/>
                      <a:pt x="56" y="41"/>
                    </a:cubicBezTo>
                    <a:cubicBezTo>
                      <a:pt x="56" y="42"/>
                      <a:pt x="56" y="44"/>
                      <a:pt x="55" y="44"/>
                    </a:cubicBezTo>
                    <a:cubicBezTo>
                      <a:pt x="55" y="45"/>
                      <a:pt x="53" y="46"/>
                      <a:pt x="50" y="46"/>
                    </a:cubicBezTo>
                    <a:cubicBezTo>
                      <a:pt x="50" y="46"/>
                      <a:pt x="49" y="46"/>
                      <a:pt x="48" y="46"/>
                    </a:cubicBezTo>
                    <a:cubicBezTo>
                      <a:pt x="46" y="46"/>
                      <a:pt x="45" y="45"/>
                      <a:pt x="44" y="44"/>
                    </a:cubicBezTo>
                    <a:cubicBezTo>
                      <a:pt x="43" y="42"/>
                      <a:pt x="42" y="41"/>
                      <a:pt x="42" y="39"/>
                    </a:cubicBezTo>
                    <a:cubicBezTo>
                      <a:pt x="42" y="36"/>
                      <a:pt x="44" y="32"/>
                      <a:pt x="46" y="29"/>
                    </a:cubicBezTo>
                    <a:cubicBezTo>
                      <a:pt x="49" y="26"/>
                      <a:pt x="52" y="24"/>
                      <a:pt x="57" y="24"/>
                    </a:cubicBezTo>
                    <a:cubicBezTo>
                      <a:pt x="57" y="24"/>
                      <a:pt x="58" y="24"/>
                      <a:pt x="58" y="24"/>
                    </a:cubicBezTo>
                    <a:cubicBezTo>
                      <a:pt x="66" y="25"/>
                      <a:pt x="71" y="27"/>
                      <a:pt x="74" y="30"/>
                    </a:cubicBezTo>
                    <a:cubicBezTo>
                      <a:pt x="77" y="33"/>
                      <a:pt x="78" y="37"/>
                      <a:pt x="79" y="4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8" y="47"/>
                      <a:pt x="77" y="52"/>
                      <a:pt x="74" y="56"/>
                    </a:cubicBezTo>
                    <a:cubicBezTo>
                      <a:pt x="70" y="59"/>
                      <a:pt x="66" y="62"/>
                      <a:pt x="59" y="62"/>
                    </a:cubicBezTo>
                    <a:cubicBezTo>
                      <a:pt x="58" y="62"/>
                      <a:pt x="57" y="62"/>
                      <a:pt x="56" y="62"/>
                    </a:cubicBezTo>
                    <a:cubicBezTo>
                      <a:pt x="50" y="61"/>
                      <a:pt x="45" y="57"/>
                      <a:pt x="42" y="52"/>
                    </a:cubicBezTo>
                    <a:cubicBezTo>
                      <a:pt x="39" y="48"/>
                      <a:pt x="37" y="41"/>
                      <a:pt x="37" y="36"/>
                    </a:cubicBezTo>
                    <a:cubicBezTo>
                      <a:pt x="37" y="33"/>
                      <a:pt x="38" y="30"/>
                      <a:pt x="39" y="28"/>
                    </a:cubicBezTo>
                    <a:cubicBezTo>
                      <a:pt x="42" y="23"/>
                      <a:pt x="46" y="17"/>
                      <a:pt x="52" y="12"/>
                    </a:cubicBezTo>
                    <a:cubicBezTo>
                      <a:pt x="57" y="7"/>
                      <a:pt x="64" y="4"/>
                      <a:pt x="72" y="4"/>
                    </a:cubicBezTo>
                    <a:cubicBezTo>
                      <a:pt x="73" y="4"/>
                      <a:pt x="73" y="4"/>
                      <a:pt x="73" y="4"/>
                    </a:cubicBezTo>
                    <a:cubicBezTo>
                      <a:pt x="81" y="4"/>
                      <a:pt x="88" y="7"/>
                      <a:pt x="93" y="12"/>
                    </a:cubicBezTo>
                    <a:cubicBezTo>
                      <a:pt x="98" y="18"/>
                      <a:pt x="102" y="27"/>
                      <a:pt x="104" y="41"/>
                    </a:cubicBezTo>
                    <a:cubicBezTo>
                      <a:pt x="104" y="42"/>
                      <a:pt x="104" y="44"/>
                      <a:pt x="104" y="45"/>
                    </a:cubicBezTo>
                    <a:cubicBezTo>
                      <a:pt x="104" y="57"/>
                      <a:pt x="98" y="68"/>
                      <a:pt x="90" y="76"/>
                    </a:cubicBezTo>
                    <a:cubicBezTo>
                      <a:pt x="83" y="84"/>
                      <a:pt x="73" y="89"/>
                      <a:pt x="65" y="89"/>
                    </a:cubicBezTo>
                    <a:cubicBezTo>
                      <a:pt x="63" y="89"/>
                      <a:pt x="63" y="89"/>
                      <a:pt x="63" y="89"/>
                    </a:cubicBezTo>
                    <a:cubicBezTo>
                      <a:pt x="63" y="90"/>
                      <a:pt x="63" y="90"/>
                      <a:pt x="63" y="90"/>
                    </a:cubicBezTo>
                    <a:cubicBezTo>
                      <a:pt x="63" y="90"/>
                      <a:pt x="63" y="90"/>
                      <a:pt x="63" y="90"/>
                    </a:cubicBezTo>
                    <a:cubicBezTo>
                      <a:pt x="63" y="90"/>
                      <a:pt x="61" y="93"/>
                      <a:pt x="58" y="97"/>
                    </a:cubicBezTo>
                    <a:cubicBezTo>
                      <a:pt x="54" y="100"/>
                      <a:pt x="49" y="103"/>
                      <a:pt x="40" y="103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30" y="103"/>
                      <a:pt x="23" y="99"/>
                      <a:pt x="18" y="94"/>
                    </a:cubicBezTo>
                    <a:cubicBezTo>
                      <a:pt x="13" y="90"/>
                      <a:pt x="9" y="84"/>
                      <a:pt x="9" y="81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6" y="83"/>
                      <a:pt x="6" y="83"/>
                      <a:pt x="6" y="83"/>
                    </a:cubicBezTo>
                    <a:cubicBezTo>
                      <a:pt x="7" y="81"/>
                      <a:pt x="7" y="81"/>
                      <a:pt x="7" y="81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6" y="86"/>
                      <a:pt x="9" y="92"/>
                      <a:pt x="15" y="97"/>
                    </a:cubicBezTo>
                    <a:cubicBezTo>
                      <a:pt x="21" y="103"/>
                      <a:pt x="29" y="107"/>
                      <a:pt x="39" y="107"/>
                    </a:cubicBezTo>
                    <a:cubicBezTo>
                      <a:pt x="39" y="107"/>
                      <a:pt x="39" y="107"/>
                      <a:pt x="40" y="107"/>
                    </a:cubicBezTo>
                    <a:cubicBezTo>
                      <a:pt x="50" y="107"/>
                      <a:pt x="57" y="103"/>
                      <a:pt x="61" y="99"/>
                    </a:cubicBezTo>
                    <a:cubicBezTo>
                      <a:pt x="65" y="95"/>
                      <a:pt x="67" y="92"/>
                      <a:pt x="67" y="92"/>
                    </a:cubicBezTo>
                    <a:cubicBezTo>
                      <a:pt x="65" y="91"/>
                      <a:pt x="65" y="91"/>
                      <a:pt x="65" y="91"/>
                    </a:cubicBezTo>
                    <a:cubicBezTo>
                      <a:pt x="65" y="93"/>
                      <a:pt x="65" y="93"/>
                      <a:pt x="65" y="93"/>
                    </a:cubicBezTo>
                    <a:cubicBezTo>
                      <a:pt x="74" y="93"/>
                      <a:pt x="85" y="87"/>
                      <a:pt x="93" y="79"/>
                    </a:cubicBezTo>
                    <a:cubicBezTo>
                      <a:pt x="102" y="71"/>
                      <a:pt x="108" y="59"/>
                      <a:pt x="108" y="45"/>
                    </a:cubicBezTo>
                    <a:cubicBezTo>
                      <a:pt x="108" y="44"/>
                      <a:pt x="108" y="42"/>
                      <a:pt x="108" y="40"/>
                    </a:cubicBezTo>
                    <a:cubicBezTo>
                      <a:pt x="106" y="26"/>
                      <a:pt x="102" y="16"/>
                      <a:pt x="96" y="10"/>
                    </a:cubicBezTo>
                    <a:cubicBezTo>
                      <a:pt x="90" y="3"/>
                      <a:pt x="82" y="0"/>
                      <a:pt x="73" y="0"/>
                    </a:cubicBezTo>
                    <a:cubicBezTo>
                      <a:pt x="73" y="0"/>
                      <a:pt x="72" y="0"/>
                      <a:pt x="72" y="0"/>
                    </a:cubicBezTo>
                    <a:cubicBezTo>
                      <a:pt x="63" y="0"/>
                      <a:pt x="55" y="4"/>
                      <a:pt x="49" y="9"/>
                    </a:cubicBezTo>
                    <a:cubicBezTo>
                      <a:pt x="43" y="14"/>
                      <a:pt x="38" y="20"/>
                      <a:pt x="35" y="26"/>
                    </a:cubicBezTo>
                    <a:cubicBezTo>
                      <a:pt x="34" y="29"/>
                      <a:pt x="33" y="32"/>
                      <a:pt x="33" y="36"/>
                    </a:cubicBezTo>
                    <a:cubicBezTo>
                      <a:pt x="33" y="42"/>
                      <a:pt x="35" y="49"/>
                      <a:pt x="39" y="55"/>
                    </a:cubicBezTo>
                    <a:cubicBezTo>
                      <a:pt x="42" y="60"/>
                      <a:pt x="48" y="65"/>
                      <a:pt x="55" y="66"/>
                    </a:cubicBezTo>
                    <a:cubicBezTo>
                      <a:pt x="56" y="66"/>
                      <a:pt x="58" y="66"/>
                      <a:pt x="59" y="66"/>
                    </a:cubicBezTo>
                    <a:cubicBezTo>
                      <a:pt x="67" y="66"/>
                      <a:pt x="73" y="63"/>
                      <a:pt x="77" y="58"/>
                    </a:cubicBezTo>
                    <a:cubicBezTo>
                      <a:pt x="81" y="54"/>
                      <a:pt x="82" y="48"/>
                      <a:pt x="83" y="42"/>
                    </a:cubicBezTo>
                    <a:cubicBezTo>
                      <a:pt x="83" y="42"/>
                      <a:pt x="83" y="42"/>
                      <a:pt x="83" y="42"/>
                    </a:cubicBezTo>
                    <a:cubicBezTo>
                      <a:pt x="83" y="42"/>
                      <a:pt x="83" y="42"/>
                      <a:pt x="83" y="42"/>
                    </a:cubicBezTo>
                    <a:cubicBezTo>
                      <a:pt x="83" y="36"/>
                      <a:pt x="81" y="31"/>
                      <a:pt x="77" y="27"/>
                    </a:cubicBezTo>
                    <a:cubicBezTo>
                      <a:pt x="73" y="23"/>
                      <a:pt x="67" y="21"/>
                      <a:pt x="59" y="20"/>
                    </a:cubicBezTo>
                    <a:cubicBezTo>
                      <a:pt x="58" y="20"/>
                      <a:pt x="57" y="20"/>
                      <a:pt x="57" y="20"/>
                    </a:cubicBezTo>
                    <a:cubicBezTo>
                      <a:pt x="51" y="20"/>
                      <a:pt x="46" y="22"/>
                      <a:pt x="43" y="26"/>
                    </a:cubicBezTo>
                    <a:cubicBezTo>
                      <a:pt x="40" y="30"/>
                      <a:pt x="38" y="35"/>
                      <a:pt x="38" y="39"/>
                    </a:cubicBezTo>
                    <a:cubicBezTo>
                      <a:pt x="38" y="41"/>
                      <a:pt x="39" y="44"/>
                      <a:pt x="41" y="46"/>
                    </a:cubicBezTo>
                    <a:cubicBezTo>
                      <a:pt x="42" y="48"/>
                      <a:pt x="45" y="49"/>
                      <a:pt x="48" y="50"/>
                    </a:cubicBezTo>
                    <a:cubicBezTo>
                      <a:pt x="49" y="50"/>
                      <a:pt x="50" y="50"/>
                      <a:pt x="50" y="50"/>
                    </a:cubicBezTo>
                    <a:cubicBezTo>
                      <a:pt x="54" y="50"/>
                      <a:pt x="57" y="49"/>
                      <a:pt x="58" y="47"/>
                    </a:cubicBezTo>
                    <a:cubicBezTo>
                      <a:pt x="60" y="45"/>
                      <a:pt x="60" y="43"/>
                      <a:pt x="60" y="41"/>
                    </a:cubicBezTo>
                    <a:cubicBezTo>
                      <a:pt x="60" y="38"/>
                      <a:pt x="60" y="36"/>
                      <a:pt x="59" y="36"/>
                    </a:cubicBezTo>
                    <a:lnTo>
                      <a:pt x="56" y="3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5" name="组合 4"/>
            <p:cNvGrpSpPr/>
            <p:nvPr/>
          </p:nvGrpSpPr>
          <p:grpSpPr>
            <a:xfrm>
              <a:off x="4309806" y="1337977"/>
              <a:ext cx="4319811" cy="584775"/>
              <a:chOff x="4069482" y="1020455"/>
              <a:chExt cx="4319811" cy="584775"/>
            </a:xfrm>
          </p:grpSpPr>
          <p:sp>
            <p:nvSpPr>
              <p:cNvPr id="55" name="文本框 54"/>
              <p:cNvSpPr txBox="1"/>
              <p:nvPr/>
            </p:nvSpPr>
            <p:spPr>
              <a:xfrm>
                <a:off x="4809852" y="1020455"/>
                <a:ext cx="357944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3200" dirty="0" smtClean="0">
                    <a:solidFill>
                      <a:schemeClr val="bg1"/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点击此处添加文本</a:t>
                </a:r>
                <a:endParaRPr lang="zh-CN" altLang="en-US" sz="3200" dirty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endParaRPr>
              </a:p>
            </p:txBody>
          </p:sp>
          <p:sp>
            <p:nvSpPr>
              <p:cNvPr id="79" name="文本框 78"/>
              <p:cNvSpPr txBox="1"/>
              <p:nvPr/>
            </p:nvSpPr>
            <p:spPr>
              <a:xfrm>
                <a:off x="4069482" y="1028159"/>
                <a:ext cx="264567" cy="569367"/>
              </a:xfrm>
              <a:custGeom>
                <a:avLst/>
                <a:gdLst/>
                <a:ahLst/>
                <a:cxnLst/>
                <a:rect l="l" t="t" r="r" b="b"/>
                <a:pathLst>
                  <a:path w="264567" h="569367">
                    <a:moveTo>
                      <a:pt x="5487" y="0"/>
                    </a:moveTo>
                    <a:lnTo>
                      <a:pt x="137160" y="0"/>
                    </a:lnTo>
                    <a:cubicBezTo>
                      <a:pt x="148705" y="305"/>
                      <a:pt x="158230" y="4267"/>
                      <a:pt x="165735" y="11887"/>
                    </a:cubicBezTo>
                    <a:cubicBezTo>
                      <a:pt x="173241" y="19507"/>
                      <a:pt x="177127" y="28956"/>
                      <a:pt x="177394" y="40234"/>
                    </a:cubicBezTo>
                    <a:lnTo>
                      <a:pt x="177394" y="534620"/>
                    </a:lnTo>
                    <a:lnTo>
                      <a:pt x="264567" y="534620"/>
                    </a:lnTo>
                    <a:lnTo>
                      <a:pt x="264567" y="569367"/>
                    </a:lnTo>
                    <a:lnTo>
                      <a:pt x="0" y="569367"/>
                    </a:lnTo>
                    <a:lnTo>
                      <a:pt x="0" y="534620"/>
                    </a:lnTo>
                    <a:lnTo>
                      <a:pt x="84735" y="534620"/>
                    </a:lnTo>
                    <a:lnTo>
                      <a:pt x="84735" y="57912"/>
                    </a:lnTo>
                    <a:cubicBezTo>
                      <a:pt x="84824" y="51346"/>
                      <a:pt x="83579" y="45885"/>
                      <a:pt x="81001" y="41529"/>
                    </a:cubicBezTo>
                    <a:cubicBezTo>
                      <a:pt x="78423" y="37173"/>
                      <a:pt x="73978" y="34913"/>
                      <a:pt x="67666" y="34747"/>
                    </a:cubicBezTo>
                    <a:lnTo>
                      <a:pt x="5487" y="34747"/>
                    </a:lnTo>
                    <a:lnTo>
                      <a:pt x="5487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>
                  <a:defRPr sz="4800" b="1" spc="1500">
                    <a:solidFill>
                      <a:schemeClr val="bg1"/>
                    </a:solidFill>
                    <a:latin typeface="造字工房朗倩（非商用）常规体" pitchFamily="50" charset="-122"/>
                    <a:ea typeface="造字工房朗倩（非商用）常规体" pitchFamily="50" charset="-122"/>
                  </a:defRPr>
                </a:lvl1pPr>
              </a:lstStyle>
              <a:p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" name="组合 1"/>
            <p:cNvGrpSpPr/>
            <p:nvPr/>
          </p:nvGrpSpPr>
          <p:grpSpPr>
            <a:xfrm>
              <a:off x="4309806" y="5024858"/>
              <a:ext cx="4410032" cy="593872"/>
              <a:chOff x="3979261" y="5144263"/>
              <a:chExt cx="4410032" cy="593872"/>
            </a:xfrm>
          </p:grpSpPr>
          <p:sp>
            <p:nvSpPr>
              <p:cNvPr id="58" name="文本框 57"/>
              <p:cNvSpPr txBox="1"/>
              <p:nvPr/>
            </p:nvSpPr>
            <p:spPr>
              <a:xfrm>
                <a:off x="4809852" y="5144263"/>
                <a:ext cx="357944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3200" dirty="0" smtClean="0">
                    <a:solidFill>
                      <a:schemeClr val="bg1"/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点击此处添加文本</a:t>
                </a:r>
                <a:endParaRPr lang="zh-CN" altLang="en-US" sz="3200" dirty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endParaRPr>
              </a:p>
            </p:txBody>
          </p:sp>
          <p:sp>
            <p:nvSpPr>
              <p:cNvPr id="78" name="文本框 77"/>
              <p:cNvSpPr txBox="1"/>
              <p:nvPr/>
            </p:nvSpPr>
            <p:spPr>
              <a:xfrm>
                <a:off x="3979261" y="5163892"/>
                <a:ext cx="445008" cy="574243"/>
              </a:xfrm>
              <a:custGeom>
                <a:avLst/>
                <a:gdLst/>
                <a:ahLst/>
                <a:cxnLst/>
                <a:rect l="l" t="t" r="r" b="b"/>
                <a:pathLst>
                  <a:path w="445008" h="574243">
                    <a:moveTo>
                      <a:pt x="0" y="0"/>
                    </a:moveTo>
                    <a:lnTo>
                      <a:pt x="84734" y="0"/>
                    </a:lnTo>
                    <a:lnTo>
                      <a:pt x="84734" y="343204"/>
                    </a:lnTo>
                    <a:cubicBezTo>
                      <a:pt x="84900" y="349161"/>
                      <a:pt x="87008" y="354164"/>
                      <a:pt x="91059" y="358216"/>
                    </a:cubicBezTo>
                    <a:cubicBezTo>
                      <a:pt x="95110" y="362267"/>
                      <a:pt x="100114" y="364375"/>
                      <a:pt x="106070" y="364540"/>
                    </a:cubicBezTo>
                    <a:lnTo>
                      <a:pt x="352349" y="364540"/>
                    </a:lnTo>
                    <a:lnTo>
                      <a:pt x="352349" y="0"/>
                    </a:lnTo>
                    <a:lnTo>
                      <a:pt x="445008" y="0"/>
                    </a:lnTo>
                    <a:lnTo>
                      <a:pt x="445008" y="574243"/>
                    </a:lnTo>
                    <a:lnTo>
                      <a:pt x="352349" y="574243"/>
                    </a:lnTo>
                    <a:lnTo>
                      <a:pt x="352349" y="399288"/>
                    </a:lnTo>
                    <a:lnTo>
                      <a:pt x="37186" y="399288"/>
                    </a:lnTo>
                    <a:cubicBezTo>
                      <a:pt x="26568" y="399046"/>
                      <a:pt x="17780" y="395414"/>
                      <a:pt x="10820" y="388391"/>
                    </a:cubicBezTo>
                    <a:cubicBezTo>
                      <a:pt x="3861" y="381368"/>
                      <a:pt x="254" y="372402"/>
                      <a:pt x="0" y="361492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0000"/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>
                  <a:defRPr sz="4800" b="1" spc="1500">
                    <a:solidFill>
                      <a:schemeClr val="bg1"/>
                    </a:solidFill>
                    <a:latin typeface="造字工房朗倩（非商用）常规体" pitchFamily="50" charset="-122"/>
                    <a:ea typeface="造字工房朗倩（非商用）常规体" pitchFamily="50" charset="-122"/>
                  </a:defRPr>
                </a:lvl1pPr>
              </a:lstStyle>
              <a:p>
                <a:endParaRPr lang="zh-CN" altLang="en-US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9" name="组合 58"/>
            <p:cNvGrpSpPr/>
            <p:nvPr/>
          </p:nvGrpSpPr>
          <p:grpSpPr>
            <a:xfrm>
              <a:off x="8578216" y="4925891"/>
              <a:ext cx="974168" cy="764412"/>
              <a:chOff x="8304347" y="1378194"/>
              <a:chExt cx="974168" cy="764412"/>
            </a:xfrm>
          </p:grpSpPr>
          <p:sp>
            <p:nvSpPr>
              <p:cNvPr id="60" name="Freeform 17"/>
              <p:cNvSpPr>
                <a:spLocks/>
              </p:cNvSpPr>
              <p:nvPr/>
            </p:nvSpPr>
            <p:spPr bwMode="auto">
              <a:xfrm>
                <a:off x="8304347" y="1378194"/>
                <a:ext cx="974168" cy="764412"/>
              </a:xfrm>
              <a:custGeom>
                <a:avLst/>
                <a:gdLst>
                  <a:gd name="T0" fmla="*/ 72 w 292"/>
                  <a:gd name="T1" fmla="*/ 211 h 229"/>
                  <a:gd name="T2" fmla="*/ 130 w 292"/>
                  <a:gd name="T3" fmla="*/ 166 h 229"/>
                  <a:gd name="T4" fmla="*/ 149 w 292"/>
                  <a:gd name="T5" fmla="*/ 173 h 229"/>
                  <a:gd name="T6" fmla="*/ 182 w 292"/>
                  <a:gd name="T7" fmla="*/ 164 h 229"/>
                  <a:gd name="T8" fmla="*/ 267 w 292"/>
                  <a:gd name="T9" fmla="*/ 137 h 229"/>
                  <a:gd name="T10" fmla="*/ 280 w 292"/>
                  <a:gd name="T11" fmla="*/ 111 h 229"/>
                  <a:gd name="T12" fmla="*/ 239 w 292"/>
                  <a:gd name="T13" fmla="*/ 16 h 229"/>
                  <a:gd name="T14" fmla="*/ 191 w 292"/>
                  <a:gd name="T15" fmla="*/ 0 h 229"/>
                  <a:gd name="T16" fmla="*/ 141 w 292"/>
                  <a:gd name="T17" fmla="*/ 43 h 229"/>
                  <a:gd name="T18" fmla="*/ 109 w 292"/>
                  <a:gd name="T19" fmla="*/ 86 h 229"/>
                  <a:gd name="T20" fmla="*/ 134 w 292"/>
                  <a:gd name="T21" fmla="*/ 121 h 229"/>
                  <a:gd name="T22" fmla="*/ 182 w 292"/>
                  <a:gd name="T23" fmla="*/ 143 h 229"/>
                  <a:gd name="T24" fmla="*/ 210 w 292"/>
                  <a:gd name="T25" fmla="*/ 127 h 229"/>
                  <a:gd name="T26" fmla="*/ 201 w 292"/>
                  <a:gd name="T27" fmla="*/ 39 h 229"/>
                  <a:gd name="T28" fmla="*/ 188 w 292"/>
                  <a:gd name="T29" fmla="*/ 103 h 229"/>
                  <a:gd name="T30" fmla="*/ 206 w 292"/>
                  <a:gd name="T31" fmla="*/ 67 h 229"/>
                  <a:gd name="T32" fmla="*/ 170 w 292"/>
                  <a:gd name="T33" fmla="*/ 81 h 229"/>
                  <a:gd name="T34" fmla="*/ 147 w 292"/>
                  <a:gd name="T35" fmla="*/ 99 h 229"/>
                  <a:gd name="T36" fmla="*/ 102 w 292"/>
                  <a:gd name="T37" fmla="*/ 161 h 229"/>
                  <a:gd name="T38" fmla="*/ 13 w 292"/>
                  <a:gd name="T39" fmla="*/ 201 h 229"/>
                  <a:gd name="T40" fmla="*/ 5 w 292"/>
                  <a:gd name="T41" fmla="*/ 219 h 229"/>
                  <a:gd name="T42" fmla="*/ 6 w 292"/>
                  <a:gd name="T43" fmla="*/ 219 h 229"/>
                  <a:gd name="T44" fmla="*/ 23 w 292"/>
                  <a:gd name="T45" fmla="*/ 209 h 229"/>
                  <a:gd name="T46" fmla="*/ 6 w 292"/>
                  <a:gd name="T47" fmla="*/ 219 h 229"/>
                  <a:gd name="T48" fmla="*/ 88 w 292"/>
                  <a:gd name="T49" fmla="*/ 184 h 229"/>
                  <a:gd name="T50" fmla="*/ 132 w 292"/>
                  <a:gd name="T51" fmla="*/ 118 h 229"/>
                  <a:gd name="T52" fmla="*/ 174 w 292"/>
                  <a:gd name="T53" fmla="*/ 83 h 229"/>
                  <a:gd name="T54" fmla="*/ 190 w 292"/>
                  <a:gd name="T55" fmla="*/ 62 h 229"/>
                  <a:gd name="T56" fmla="*/ 206 w 292"/>
                  <a:gd name="T57" fmla="*/ 89 h 229"/>
                  <a:gd name="T58" fmla="*/ 167 w 292"/>
                  <a:gd name="T59" fmla="*/ 77 h 229"/>
                  <a:gd name="T60" fmla="*/ 233 w 292"/>
                  <a:gd name="T61" fmla="*/ 82 h 229"/>
                  <a:gd name="T62" fmla="*/ 195 w 292"/>
                  <a:gd name="T63" fmla="*/ 128 h 229"/>
                  <a:gd name="T64" fmla="*/ 192 w 292"/>
                  <a:gd name="T65" fmla="*/ 129 h 229"/>
                  <a:gd name="T66" fmla="*/ 143 w 292"/>
                  <a:gd name="T67" fmla="*/ 129 h 229"/>
                  <a:gd name="T68" fmla="*/ 137 w 292"/>
                  <a:gd name="T69" fmla="*/ 119 h 229"/>
                  <a:gd name="T70" fmla="*/ 124 w 292"/>
                  <a:gd name="T71" fmla="*/ 111 h 229"/>
                  <a:gd name="T72" fmla="*/ 137 w 292"/>
                  <a:gd name="T73" fmla="*/ 47 h 229"/>
                  <a:gd name="T74" fmla="*/ 142 w 292"/>
                  <a:gd name="T75" fmla="*/ 45 h 229"/>
                  <a:gd name="T76" fmla="*/ 191 w 292"/>
                  <a:gd name="T77" fmla="*/ 4 h 229"/>
                  <a:gd name="T78" fmla="*/ 229 w 292"/>
                  <a:gd name="T79" fmla="*/ 20 h 229"/>
                  <a:gd name="T80" fmla="*/ 239 w 292"/>
                  <a:gd name="T81" fmla="*/ 20 h 229"/>
                  <a:gd name="T82" fmla="*/ 277 w 292"/>
                  <a:gd name="T83" fmla="*/ 109 h 229"/>
                  <a:gd name="T84" fmla="*/ 268 w 292"/>
                  <a:gd name="T85" fmla="*/ 117 h 229"/>
                  <a:gd name="T86" fmla="*/ 263 w 292"/>
                  <a:gd name="T87" fmla="*/ 138 h 229"/>
                  <a:gd name="T88" fmla="*/ 185 w 292"/>
                  <a:gd name="T89" fmla="*/ 163 h 229"/>
                  <a:gd name="T90" fmla="*/ 181 w 292"/>
                  <a:gd name="T91" fmla="*/ 163 h 229"/>
                  <a:gd name="T92" fmla="*/ 141 w 292"/>
                  <a:gd name="T93" fmla="*/ 165 h 229"/>
                  <a:gd name="T94" fmla="*/ 117 w 292"/>
                  <a:gd name="T95" fmla="*/ 171 h 229"/>
                  <a:gd name="T96" fmla="*/ 32 w 292"/>
                  <a:gd name="T97" fmla="*/ 209 h 229"/>
                  <a:gd name="T98" fmla="*/ 23 w 292"/>
                  <a:gd name="T99" fmla="*/ 207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92" h="229">
                    <a:moveTo>
                      <a:pt x="23" y="209"/>
                    </a:moveTo>
                    <a:cubicBezTo>
                      <a:pt x="23" y="211"/>
                      <a:pt x="23" y="211"/>
                      <a:pt x="23" y="211"/>
                    </a:cubicBezTo>
                    <a:cubicBezTo>
                      <a:pt x="23" y="211"/>
                      <a:pt x="36" y="214"/>
                      <a:pt x="51" y="214"/>
                    </a:cubicBezTo>
                    <a:cubicBezTo>
                      <a:pt x="58" y="214"/>
                      <a:pt x="66" y="213"/>
                      <a:pt x="72" y="211"/>
                    </a:cubicBezTo>
                    <a:cubicBezTo>
                      <a:pt x="92" y="206"/>
                      <a:pt x="105" y="191"/>
                      <a:pt x="110" y="185"/>
                    </a:cubicBezTo>
                    <a:cubicBezTo>
                      <a:pt x="112" y="181"/>
                      <a:pt x="117" y="177"/>
                      <a:pt x="121" y="173"/>
                    </a:cubicBezTo>
                    <a:cubicBezTo>
                      <a:pt x="123" y="171"/>
                      <a:pt x="126" y="169"/>
                      <a:pt x="127" y="168"/>
                    </a:cubicBezTo>
                    <a:cubicBezTo>
                      <a:pt x="128" y="167"/>
                      <a:pt x="129" y="166"/>
                      <a:pt x="130" y="166"/>
                    </a:cubicBezTo>
                    <a:cubicBezTo>
                      <a:pt x="131" y="166"/>
                      <a:pt x="131" y="166"/>
                      <a:pt x="131" y="166"/>
                    </a:cubicBezTo>
                    <a:cubicBezTo>
                      <a:pt x="132" y="166"/>
                      <a:pt x="133" y="166"/>
                      <a:pt x="135" y="167"/>
                    </a:cubicBezTo>
                    <a:cubicBezTo>
                      <a:pt x="137" y="167"/>
                      <a:pt x="140" y="169"/>
                      <a:pt x="142" y="170"/>
                    </a:cubicBezTo>
                    <a:cubicBezTo>
                      <a:pt x="145" y="171"/>
                      <a:pt x="147" y="172"/>
                      <a:pt x="149" y="173"/>
                    </a:cubicBezTo>
                    <a:cubicBezTo>
                      <a:pt x="151" y="173"/>
                      <a:pt x="155" y="174"/>
                      <a:pt x="159" y="174"/>
                    </a:cubicBezTo>
                    <a:cubicBezTo>
                      <a:pt x="163" y="174"/>
                      <a:pt x="168" y="173"/>
                      <a:pt x="173" y="172"/>
                    </a:cubicBezTo>
                    <a:cubicBezTo>
                      <a:pt x="177" y="171"/>
                      <a:pt x="182" y="169"/>
                      <a:pt x="184" y="165"/>
                    </a:cubicBezTo>
                    <a:cubicBezTo>
                      <a:pt x="182" y="164"/>
                      <a:pt x="182" y="164"/>
                      <a:pt x="182" y="164"/>
                    </a:cubicBezTo>
                    <a:cubicBezTo>
                      <a:pt x="181" y="166"/>
                      <a:pt x="181" y="166"/>
                      <a:pt x="181" y="166"/>
                    </a:cubicBezTo>
                    <a:cubicBezTo>
                      <a:pt x="182" y="166"/>
                      <a:pt x="196" y="171"/>
                      <a:pt x="214" y="171"/>
                    </a:cubicBezTo>
                    <a:cubicBezTo>
                      <a:pt x="223" y="171"/>
                      <a:pt x="232" y="170"/>
                      <a:pt x="242" y="166"/>
                    </a:cubicBezTo>
                    <a:cubicBezTo>
                      <a:pt x="256" y="159"/>
                      <a:pt x="263" y="147"/>
                      <a:pt x="267" y="137"/>
                    </a:cubicBezTo>
                    <a:cubicBezTo>
                      <a:pt x="271" y="127"/>
                      <a:pt x="271" y="119"/>
                      <a:pt x="271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70" y="120"/>
                      <a:pt x="275" y="117"/>
                      <a:pt x="280" y="111"/>
                    </a:cubicBezTo>
                    <a:cubicBezTo>
                      <a:pt x="284" y="105"/>
                      <a:pt x="290" y="97"/>
                      <a:pt x="291" y="86"/>
                    </a:cubicBezTo>
                    <a:cubicBezTo>
                      <a:pt x="292" y="82"/>
                      <a:pt x="292" y="78"/>
                      <a:pt x="292" y="75"/>
                    </a:cubicBezTo>
                    <a:cubicBezTo>
                      <a:pt x="292" y="59"/>
                      <a:pt x="287" y="45"/>
                      <a:pt x="279" y="35"/>
                    </a:cubicBezTo>
                    <a:cubicBezTo>
                      <a:pt x="271" y="24"/>
                      <a:pt x="255" y="16"/>
                      <a:pt x="239" y="16"/>
                    </a:cubicBezTo>
                    <a:cubicBezTo>
                      <a:pt x="236" y="16"/>
                      <a:pt x="233" y="16"/>
                      <a:pt x="230" y="17"/>
                    </a:cubicBezTo>
                    <a:cubicBezTo>
                      <a:pt x="231" y="19"/>
                      <a:pt x="231" y="19"/>
                      <a:pt x="231" y="19"/>
                    </a:cubicBezTo>
                    <a:cubicBezTo>
                      <a:pt x="232" y="17"/>
                      <a:pt x="232" y="17"/>
                      <a:pt x="232" y="17"/>
                    </a:cubicBezTo>
                    <a:cubicBezTo>
                      <a:pt x="232" y="17"/>
                      <a:pt x="214" y="0"/>
                      <a:pt x="191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78" y="0"/>
                      <a:pt x="167" y="4"/>
                      <a:pt x="157" y="11"/>
                    </a:cubicBezTo>
                    <a:cubicBezTo>
                      <a:pt x="148" y="19"/>
                      <a:pt x="141" y="29"/>
                      <a:pt x="139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0" y="41"/>
                      <a:pt x="140" y="41"/>
                      <a:pt x="140" y="41"/>
                    </a:cubicBezTo>
                    <a:cubicBezTo>
                      <a:pt x="140" y="41"/>
                      <a:pt x="132" y="44"/>
                      <a:pt x="125" y="51"/>
                    </a:cubicBezTo>
                    <a:cubicBezTo>
                      <a:pt x="117" y="58"/>
                      <a:pt x="110" y="68"/>
                      <a:pt x="109" y="83"/>
                    </a:cubicBezTo>
                    <a:cubicBezTo>
                      <a:pt x="109" y="84"/>
                      <a:pt x="109" y="85"/>
                      <a:pt x="109" y="86"/>
                    </a:cubicBezTo>
                    <a:cubicBezTo>
                      <a:pt x="109" y="100"/>
                      <a:pt x="116" y="109"/>
                      <a:pt x="122" y="115"/>
                    </a:cubicBezTo>
                    <a:cubicBezTo>
                      <a:pt x="128" y="120"/>
                      <a:pt x="135" y="122"/>
                      <a:pt x="135" y="122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34" y="121"/>
                      <a:pt x="134" y="121"/>
                      <a:pt x="134" y="121"/>
                    </a:cubicBezTo>
                    <a:cubicBezTo>
                      <a:pt x="134" y="121"/>
                      <a:pt x="136" y="126"/>
                      <a:pt x="139" y="131"/>
                    </a:cubicBezTo>
                    <a:cubicBezTo>
                      <a:pt x="143" y="137"/>
                      <a:pt x="148" y="143"/>
                      <a:pt x="155" y="145"/>
                    </a:cubicBezTo>
                    <a:cubicBezTo>
                      <a:pt x="158" y="146"/>
                      <a:pt x="161" y="147"/>
                      <a:pt x="164" y="147"/>
                    </a:cubicBezTo>
                    <a:cubicBezTo>
                      <a:pt x="170" y="147"/>
                      <a:pt x="176" y="145"/>
                      <a:pt x="182" y="143"/>
                    </a:cubicBezTo>
                    <a:cubicBezTo>
                      <a:pt x="187" y="140"/>
                      <a:pt x="192" y="136"/>
                      <a:pt x="195" y="131"/>
                    </a:cubicBezTo>
                    <a:cubicBezTo>
                      <a:pt x="194" y="130"/>
                      <a:pt x="194" y="130"/>
                      <a:pt x="194" y="130"/>
                    </a:cubicBezTo>
                    <a:cubicBezTo>
                      <a:pt x="194" y="132"/>
                      <a:pt x="194" y="132"/>
                      <a:pt x="194" y="132"/>
                    </a:cubicBezTo>
                    <a:cubicBezTo>
                      <a:pt x="194" y="132"/>
                      <a:pt x="201" y="130"/>
                      <a:pt x="210" y="127"/>
                    </a:cubicBezTo>
                    <a:cubicBezTo>
                      <a:pt x="218" y="124"/>
                      <a:pt x="227" y="118"/>
                      <a:pt x="231" y="109"/>
                    </a:cubicBezTo>
                    <a:cubicBezTo>
                      <a:pt x="234" y="102"/>
                      <a:pt x="237" y="92"/>
                      <a:pt x="237" y="82"/>
                    </a:cubicBezTo>
                    <a:cubicBezTo>
                      <a:pt x="237" y="69"/>
                      <a:pt x="233" y="55"/>
                      <a:pt x="222" y="47"/>
                    </a:cubicBezTo>
                    <a:cubicBezTo>
                      <a:pt x="215" y="41"/>
                      <a:pt x="208" y="39"/>
                      <a:pt x="201" y="39"/>
                    </a:cubicBezTo>
                    <a:cubicBezTo>
                      <a:pt x="188" y="39"/>
                      <a:pt x="177" y="46"/>
                      <a:pt x="170" y="54"/>
                    </a:cubicBezTo>
                    <a:cubicBezTo>
                      <a:pt x="165" y="60"/>
                      <a:pt x="163" y="69"/>
                      <a:pt x="163" y="77"/>
                    </a:cubicBezTo>
                    <a:cubicBezTo>
                      <a:pt x="163" y="84"/>
                      <a:pt x="164" y="91"/>
                      <a:pt x="169" y="96"/>
                    </a:cubicBezTo>
                    <a:cubicBezTo>
                      <a:pt x="174" y="100"/>
                      <a:pt x="181" y="103"/>
                      <a:pt x="188" y="103"/>
                    </a:cubicBezTo>
                    <a:cubicBezTo>
                      <a:pt x="192" y="103"/>
                      <a:pt x="197" y="102"/>
                      <a:pt x="200" y="100"/>
                    </a:cubicBezTo>
                    <a:cubicBezTo>
                      <a:pt x="204" y="98"/>
                      <a:pt x="207" y="95"/>
                      <a:pt x="209" y="91"/>
                    </a:cubicBezTo>
                    <a:cubicBezTo>
                      <a:pt x="211" y="88"/>
                      <a:pt x="212" y="84"/>
                      <a:pt x="212" y="81"/>
                    </a:cubicBezTo>
                    <a:cubicBezTo>
                      <a:pt x="212" y="76"/>
                      <a:pt x="209" y="70"/>
                      <a:pt x="206" y="67"/>
                    </a:cubicBezTo>
                    <a:cubicBezTo>
                      <a:pt x="203" y="63"/>
                      <a:pt x="199" y="60"/>
                      <a:pt x="195" y="59"/>
                    </a:cubicBezTo>
                    <a:cubicBezTo>
                      <a:pt x="194" y="59"/>
                      <a:pt x="192" y="58"/>
                      <a:pt x="190" y="58"/>
                    </a:cubicBezTo>
                    <a:cubicBezTo>
                      <a:pt x="186" y="58"/>
                      <a:pt x="181" y="60"/>
                      <a:pt x="177" y="64"/>
                    </a:cubicBezTo>
                    <a:cubicBezTo>
                      <a:pt x="173" y="67"/>
                      <a:pt x="170" y="73"/>
                      <a:pt x="170" y="81"/>
                    </a:cubicBezTo>
                    <a:cubicBezTo>
                      <a:pt x="170" y="81"/>
                      <a:pt x="170" y="81"/>
                      <a:pt x="170" y="82"/>
                    </a:cubicBezTo>
                    <a:cubicBezTo>
                      <a:pt x="172" y="82"/>
                      <a:pt x="172" y="82"/>
                      <a:pt x="172" y="82"/>
                    </a:cubicBezTo>
                    <a:cubicBezTo>
                      <a:pt x="171" y="80"/>
                      <a:pt x="171" y="80"/>
                      <a:pt x="171" y="80"/>
                    </a:cubicBezTo>
                    <a:cubicBezTo>
                      <a:pt x="171" y="80"/>
                      <a:pt x="159" y="88"/>
                      <a:pt x="147" y="99"/>
                    </a:cubicBezTo>
                    <a:cubicBezTo>
                      <a:pt x="141" y="104"/>
                      <a:pt x="134" y="109"/>
                      <a:pt x="129" y="115"/>
                    </a:cubicBezTo>
                    <a:cubicBezTo>
                      <a:pt x="124" y="120"/>
                      <a:pt x="120" y="125"/>
                      <a:pt x="118" y="130"/>
                    </a:cubicBezTo>
                    <a:cubicBezTo>
                      <a:pt x="114" y="138"/>
                      <a:pt x="113" y="142"/>
                      <a:pt x="112" y="145"/>
                    </a:cubicBezTo>
                    <a:cubicBezTo>
                      <a:pt x="111" y="149"/>
                      <a:pt x="109" y="153"/>
                      <a:pt x="102" y="161"/>
                    </a:cubicBezTo>
                    <a:cubicBezTo>
                      <a:pt x="95" y="170"/>
                      <a:pt x="91" y="176"/>
                      <a:pt x="85" y="181"/>
                    </a:cubicBezTo>
                    <a:cubicBezTo>
                      <a:pt x="80" y="185"/>
                      <a:pt x="74" y="188"/>
                      <a:pt x="65" y="189"/>
                    </a:cubicBezTo>
                    <a:cubicBezTo>
                      <a:pt x="56" y="190"/>
                      <a:pt x="42" y="190"/>
                      <a:pt x="30" y="193"/>
                    </a:cubicBezTo>
                    <a:cubicBezTo>
                      <a:pt x="23" y="195"/>
                      <a:pt x="17" y="197"/>
                      <a:pt x="13" y="201"/>
                    </a:cubicBezTo>
                    <a:cubicBezTo>
                      <a:pt x="8" y="205"/>
                      <a:pt x="4" y="211"/>
                      <a:pt x="2" y="2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5" y="219"/>
                      <a:pt x="5" y="219"/>
                      <a:pt x="5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5" y="219"/>
                      <a:pt x="5" y="219"/>
                      <a:pt x="5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6" y="219"/>
                      <a:pt x="10" y="213"/>
                      <a:pt x="24" y="211"/>
                    </a:cubicBezTo>
                    <a:cubicBezTo>
                      <a:pt x="23" y="209"/>
                      <a:pt x="23" y="209"/>
                      <a:pt x="23" y="209"/>
                    </a:cubicBezTo>
                    <a:cubicBezTo>
                      <a:pt x="23" y="211"/>
                      <a:pt x="23" y="211"/>
                      <a:pt x="23" y="211"/>
                    </a:cubicBezTo>
                    <a:cubicBezTo>
                      <a:pt x="23" y="209"/>
                      <a:pt x="23" y="209"/>
                      <a:pt x="23" y="209"/>
                    </a:cubicBezTo>
                    <a:cubicBezTo>
                      <a:pt x="23" y="207"/>
                      <a:pt x="23" y="207"/>
                      <a:pt x="23" y="207"/>
                    </a:cubicBezTo>
                    <a:cubicBezTo>
                      <a:pt x="8" y="209"/>
                      <a:pt x="3" y="217"/>
                      <a:pt x="3" y="217"/>
                    </a:cubicBezTo>
                    <a:cubicBezTo>
                      <a:pt x="4" y="218"/>
                      <a:pt x="4" y="218"/>
                      <a:pt x="4" y="218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8" y="212"/>
                      <a:pt x="11" y="208"/>
                      <a:pt x="15" y="204"/>
                    </a:cubicBezTo>
                    <a:cubicBezTo>
                      <a:pt x="21" y="199"/>
                      <a:pt x="31" y="197"/>
                      <a:pt x="40" y="195"/>
                    </a:cubicBezTo>
                    <a:cubicBezTo>
                      <a:pt x="49" y="194"/>
                      <a:pt x="59" y="194"/>
                      <a:pt x="66" y="193"/>
                    </a:cubicBezTo>
                    <a:cubicBezTo>
                      <a:pt x="75" y="192"/>
                      <a:pt x="82" y="189"/>
                      <a:pt x="88" y="184"/>
                    </a:cubicBezTo>
                    <a:cubicBezTo>
                      <a:pt x="94" y="179"/>
                      <a:pt x="99" y="172"/>
                      <a:pt x="105" y="164"/>
                    </a:cubicBezTo>
                    <a:cubicBezTo>
                      <a:pt x="112" y="155"/>
                      <a:pt x="114" y="151"/>
                      <a:pt x="116" y="147"/>
                    </a:cubicBezTo>
                    <a:cubicBezTo>
                      <a:pt x="117" y="143"/>
                      <a:pt x="118" y="139"/>
                      <a:pt x="121" y="131"/>
                    </a:cubicBezTo>
                    <a:cubicBezTo>
                      <a:pt x="123" y="128"/>
                      <a:pt x="127" y="123"/>
                      <a:pt x="132" y="118"/>
                    </a:cubicBezTo>
                    <a:cubicBezTo>
                      <a:pt x="140" y="110"/>
                      <a:pt x="150" y="101"/>
                      <a:pt x="158" y="95"/>
                    </a:cubicBezTo>
                    <a:cubicBezTo>
                      <a:pt x="163" y="91"/>
                      <a:pt x="166" y="88"/>
                      <a:pt x="169" y="86"/>
                    </a:cubicBezTo>
                    <a:cubicBezTo>
                      <a:pt x="172" y="84"/>
                      <a:pt x="173" y="83"/>
                      <a:pt x="173" y="83"/>
                    </a:cubicBezTo>
                    <a:cubicBezTo>
                      <a:pt x="174" y="83"/>
                      <a:pt x="174" y="83"/>
                      <a:pt x="174" y="83"/>
                    </a:cubicBezTo>
                    <a:cubicBezTo>
                      <a:pt x="174" y="82"/>
                      <a:pt x="174" y="82"/>
                      <a:pt x="174" y="82"/>
                    </a:cubicBezTo>
                    <a:cubicBezTo>
                      <a:pt x="174" y="81"/>
                      <a:pt x="174" y="81"/>
                      <a:pt x="174" y="81"/>
                    </a:cubicBezTo>
                    <a:cubicBezTo>
                      <a:pt x="174" y="74"/>
                      <a:pt x="176" y="69"/>
                      <a:pt x="179" y="66"/>
                    </a:cubicBezTo>
                    <a:cubicBezTo>
                      <a:pt x="182" y="64"/>
                      <a:pt x="187" y="62"/>
                      <a:pt x="190" y="62"/>
                    </a:cubicBezTo>
                    <a:cubicBezTo>
                      <a:pt x="192" y="62"/>
                      <a:pt x="193" y="63"/>
                      <a:pt x="194" y="63"/>
                    </a:cubicBezTo>
                    <a:cubicBezTo>
                      <a:pt x="197" y="64"/>
                      <a:pt x="201" y="66"/>
                      <a:pt x="203" y="69"/>
                    </a:cubicBezTo>
                    <a:cubicBezTo>
                      <a:pt x="206" y="72"/>
                      <a:pt x="208" y="77"/>
                      <a:pt x="208" y="81"/>
                    </a:cubicBezTo>
                    <a:cubicBezTo>
                      <a:pt x="208" y="84"/>
                      <a:pt x="207" y="86"/>
                      <a:pt x="206" y="89"/>
                    </a:cubicBezTo>
                    <a:cubicBezTo>
                      <a:pt x="204" y="92"/>
                      <a:pt x="202" y="95"/>
                      <a:pt x="198" y="96"/>
                    </a:cubicBezTo>
                    <a:cubicBezTo>
                      <a:pt x="195" y="98"/>
                      <a:pt x="192" y="99"/>
                      <a:pt x="188" y="99"/>
                    </a:cubicBezTo>
                    <a:cubicBezTo>
                      <a:pt x="182" y="99"/>
                      <a:pt x="175" y="96"/>
                      <a:pt x="172" y="93"/>
                    </a:cubicBezTo>
                    <a:cubicBezTo>
                      <a:pt x="168" y="89"/>
                      <a:pt x="167" y="83"/>
                      <a:pt x="167" y="77"/>
                    </a:cubicBezTo>
                    <a:cubicBezTo>
                      <a:pt x="167" y="70"/>
                      <a:pt x="169" y="62"/>
                      <a:pt x="174" y="56"/>
                    </a:cubicBezTo>
                    <a:cubicBezTo>
                      <a:pt x="179" y="50"/>
                      <a:pt x="190" y="43"/>
                      <a:pt x="201" y="43"/>
                    </a:cubicBezTo>
                    <a:cubicBezTo>
                      <a:pt x="207" y="43"/>
                      <a:pt x="213" y="45"/>
                      <a:pt x="220" y="50"/>
                    </a:cubicBezTo>
                    <a:cubicBezTo>
                      <a:pt x="229" y="57"/>
                      <a:pt x="233" y="69"/>
                      <a:pt x="233" y="82"/>
                    </a:cubicBezTo>
                    <a:cubicBezTo>
                      <a:pt x="233" y="91"/>
                      <a:pt x="230" y="101"/>
                      <a:pt x="227" y="108"/>
                    </a:cubicBezTo>
                    <a:cubicBezTo>
                      <a:pt x="224" y="115"/>
                      <a:pt x="216" y="120"/>
                      <a:pt x="208" y="123"/>
                    </a:cubicBezTo>
                    <a:cubicBezTo>
                      <a:pt x="204" y="125"/>
                      <a:pt x="200" y="126"/>
                      <a:pt x="198" y="127"/>
                    </a:cubicBezTo>
                    <a:cubicBezTo>
                      <a:pt x="196" y="127"/>
                      <a:pt x="195" y="128"/>
                      <a:pt x="195" y="128"/>
                    </a:cubicBezTo>
                    <a:cubicBezTo>
                      <a:pt x="194" y="128"/>
                      <a:pt x="194" y="128"/>
                      <a:pt x="194" y="128"/>
                    </a:cubicBezTo>
                    <a:cubicBezTo>
                      <a:pt x="193" y="128"/>
                      <a:pt x="193" y="128"/>
                      <a:pt x="193" y="128"/>
                    </a:cubicBezTo>
                    <a:cubicBezTo>
                      <a:pt x="192" y="128"/>
                      <a:pt x="192" y="128"/>
                      <a:pt x="192" y="128"/>
                    </a:cubicBezTo>
                    <a:cubicBezTo>
                      <a:pt x="192" y="129"/>
                      <a:pt x="192" y="129"/>
                      <a:pt x="192" y="129"/>
                    </a:cubicBezTo>
                    <a:cubicBezTo>
                      <a:pt x="189" y="133"/>
                      <a:pt x="185" y="137"/>
                      <a:pt x="180" y="139"/>
                    </a:cubicBezTo>
                    <a:cubicBezTo>
                      <a:pt x="175" y="141"/>
                      <a:pt x="169" y="143"/>
                      <a:pt x="164" y="143"/>
                    </a:cubicBezTo>
                    <a:cubicBezTo>
                      <a:pt x="161" y="143"/>
                      <a:pt x="158" y="142"/>
                      <a:pt x="156" y="141"/>
                    </a:cubicBezTo>
                    <a:cubicBezTo>
                      <a:pt x="151" y="140"/>
                      <a:pt x="146" y="134"/>
                      <a:pt x="143" y="129"/>
                    </a:cubicBezTo>
                    <a:cubicBezTo>
                      <a:pt x="141" y="127"/>
                      <a:pt x="140" y="124"/>
                      <a:pt x="139" y="122"/>
                    </a:cubicBezTo>
                    <a:cubicBezTo>
                      <a:pt x="138" y="122"/>
                      <a:pt x="138" y="121"/>
                      <a:pt x="138" y="120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37" y="119"/>
                      <a:pt x="137" y="119"/>
                      <a:pt x="137" y="119"/>
                    </a:cubicBezTo>
                    <a:cubicBezTo>
                      <a:pt x="137" y="119"/>
                      <a:pt x="137" y="119"/>
                      <a:pt x="137" y="119"/>
                    </a:cubicBezTo>
                    <a:cubicBezTo>
                      <a:pt x="136" y="118"/>
                      <a:pt x="136" y="118"/>
                      <a:pt x="136" y="118"/>
                    </a:cubicBezTo>
                    <a:cubicBezTo>
                      <a:pt x="136" y="118"/>
                      <a:pt x="136" y="118"/>
                      <a:pt x="136" y="118"/>
                    </a:cubicBezTo>
                    <a:cubicBezTo>
                      <a:pt x="136" y="118"/>
                      <a:pt x="130" y="116"/>
                      <a:pt x="124" y="111"/>
                    </a:cubicBezTo>
                    <a:cubicBezTo>
                      <a:pt x="118" y="106"/>
                      <a:pt x="113" y="98"/>
                      <a:pt x="113" y="86"/>
                    </a:cubicBezTo>
                    <a:cubicBezTo>
                      <a:pt x="113" y="85"/>
                      <a:pt x="113" y="84"/>
                      <a:pt x="113" y="84"/>
                    </a:cubicBezTo>
                    <a:cubicBezTo>
                      <a:pt x="114" y="70"/>
                      <a:pt x="121" y="60"/>
                      <a:pt x="128" y="54"/>
                    </a:cubicBezTo>
                    <a:cubicBezTo>
                      <a:pt x="131" y="51"/>
                      <a:pt x="135" y="49"/>
                      <a:pt x="137" y="47"/>
                    </a:cubicBezTo>
                    <a:cubicBezTo>
                      <a:pt x="138" y="46"/>
                      <a:pt x="140" y="46"/>
                      <a:pt x="140" y="46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2" y="45"/>
                      <a:pt x="142" y="45"/>
                      <a:pt x="142" y="45"/>
                    </a:cubicBezTo>
                    <a:cubicBezTo>
                      <a:pt x="143" y="44"/>
                      <a:pt x="143" y="44"/>
                      <a:pt x="143" y="44"/>
                    </a:cubicBezTo>
                    <a:cubicBezTo>
                      <a:pt x="145" y="31"/>
                      <a:pt x="151" y="21"/>
                      <a:pt x="160" y="15"/>
                    </a:cubicBezTo>
                    <a:cubicBezTo>
                      <a:pt x="168" y="8"/>
                      <a:pt x="179" y="4"/>
                      <a:pt x="190" y="4"/>
                    </a:cubicBezTo>
                    <a:cubicBezTo>
                      <a:pt x="191" y="4"/>
                      <a:pt x="191" y="4"/>
                      <a:pt x="191" y="4"/>
                    </a:cubicBezTo>
                    <a:cubicBezTo>
                      <a:pt x="201" y="4"/>
                      <a:pt x="211" y="8"/>
                      <a:pt x="218" y="12"/>
                    </a:cubicBezTo>
                    <a:cubicBezTo>
                      <a:pt x="222" y="14"/>
                      <a:pt x="224" y="16"/>
                      <a:pt x="226" y="18"/>
                    </a:cubicBezTo>
                    <a:cubicBezTo>
                      <a:pt x="227" y="19"/>
                      <a:pt x="228" y="19"/>
                      <a:pt x="229" y="20"/>
                    </a:cubicBezTo>
                    <a:cubicBezTo>
                      <a:pt x="229" y="20"/>
                      <a:pt x="229" y="20"/>
                      <a:pt x="229" y="20"/>
                    </a:cubicBezTo>
                    <a:cubicBezTo>
                      <a:pt x="229" y="20"/>
                      <a:pt x="229" y="20"/>
                      <a:pt x="229" y="20"/>
                    </a:cubicBezTo>
                    <a:cubicBezTo>
                      <a:pt x="230" y="21"/>
                      <a:pt x="230" y="21"/>
                      <a:pt x="230" y="21"/>
                    </a:cubicBezTo>
                    <a:cubicBezTo>
                      <a:pt x="231" y="21"/>
                      <a:pt x="231" y="21"/>
                      <a:pt x="231" y="21"/>
                    </a:cubicBezTo>
                    <a:cubicBezTo>
                      <a:pt x="234" y="20"/>
                      <a:pt x="236" y="20"/>
                      <a:pt x="239" y="20"/>
                    </a:cubicBezTo>
                    <a:cubicBezTo>
                      <a:pt x="254" y="20"/>
                      <a:pt x="268" y="27"/>
                      <a:pt x="276" y="37"/>
                    </a:cubicBezTo>
                    <a:cubicBezTo>
                      <a:pt x="283" y="47"/>
                      <a:pt x="288" y="60"/>
                      <a:pt x="288" y="75"/>
                    </a:cubicBezTo>
                    <a:cubicBezTo>
                      <a:pt x="288" y="78"/>
                      <a:pt x="288" y="82"/>
                      <a:pt x="287" y="85"/>
                    </a:cubicBezTo>
                    <a:cubicBezTo>
                      <a:pt x="286" y="95"/>
                      <a:pt x="281" y="103"/>
                      <a:pt x="277" y="109"/>
                    </a:cubicBezTo>
                    <a:cubicBezTo>
                      <a:pt x="274" y="111"/>
                      <a:pt x="272" y="114"/>
                      <a:pt x="270" y="115"/>
                    </a:cubicBezTo>
                    <a:cubicBezTo>
                      <a:pt x="270" y="116"/>
                      <a:pt x="269" y="116"/>
                      <a:pt x="268" y="117"/>
                    </a:cubicBezTo>
                    <a:cubicBezTo>
                      <a:pt x="268" y="117"/>
                      <a:pt x="268" y="117"/>
                      <a:pt x="268" y="117"/>
                    </a:cubicBezTo>
                    <a:cubicBezTo>
                      <a:pt x="268" y="117"/>
                      <a:pt x="268" y="117"/>
                      <a:pt x="268" y="117"/>
                    </a:cubicBezTo>
                    <a:cubicBezTo>
                      <a:pt x="267" y="118"/>
                      <a:pt x="267" y="118"/>
                      <a:pt x="267" y="118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21"/>
                      <a:pt x="266" y="129"/>
                      <a:pt x="263" y="138"/>
                    </a:cubicBezTo>
                    <a:cubicBezTo>
                      <a:pt x="259" y="146"/>
                      <a:pt x="252" y="156"/>
                      <a:pt x="240" y="162"/>
                    </a:cubicBezTo>
                    <a:cubicBezTo>
                      <a:pt x="231" y="166"/>
                      <a:pt x="222" y="167"/>
                      <a:pt x="214" y="167"/>
                    </a:cubicBezTo>
                    <a:cubicBezTo>
                      <a:pt x="205" y="167"/>
                      <a:pt x="198" y="166"/>
                      <a:pt x="192" y="165"/>
                    </a:cubicBezTo>
                    <a:cubicBezTo>
                      <a:pt x="189" y="164"/>
                      <a:pt x="187" y="163"/>
                      <a:pt x="185" y="163"/>
                    </a:cubicBezTo>
                    <a:cubicBezTo>
                      <a:pt x="185" y="162"/>
                      <a:pt x="184" y="162"/>
                      <a:pt x="184" y="162"/>
                    </a:cubicBezTo>
                    <a:cubicBezTo>
                      <a:pt x="183" y="162"/>
                      <a:pt x="183" y="162"/>
                      <a:pt x="183" y="162"/>
                    </a:cubicBezTo>
                    <a:cubicBezTo>
                      <a:pt x="181" y="161"/>
                      <a:pt x="181" y="161"/>
                      <a:pt x="181" y="161"/>
                    </a:cubicBezTo>
                    <a:cubicBezTo>
                      <a:pt x="181" y="163"/>
                      <a:pt x="181" y="163"/>
                      <a:pt x="181" y="163"/>
                    </a:cubicBezTo>
                    <a:cubicBezTo>
                      <a:pt x="179" y="165"/>
                      <a:pt x="176" y="167"/>
                      <a:pt x="172" y="168"/>
                    </a:cubicBezTo>
                    <a:cubicBezTo>
                      <a:pt x="168" y="169"/>
                      <a:pt x="163" y="170"/>
                      <a:pt x="159" y="170"/>
                    </a:cubicBezTo>
                    <a:cubicBezTo>
                      <a:pt x="155" y="170"/>
                      <a:pt x="151" y="169"/>
                      <a:pt x="150" y="169"/>
                    </a:cubicBezTo>
                    <a:cubicBezTo>
                      <a:pt x="148" y="169"/>
                      <a:pt x="145" y="167"/>
                      <a:pt x="141" y="165"/>
                    </a:cubicBezTo>
                    <a:cubicBezTo>
                      <a:pt x="140" y="164"/>
                      <a:pt x="138" y="164"/>
                      <a:pt x="136" y="163"/>
                    </a:cubicBezTo>
                    <a:cubicBezTo>
                      <a:pt x="135" y="162"/>
                      <a:pt x="133" y="162"/>
                      <a:pt x="131" y="162"/>
                    </a:cubicBezTo>
                    <a:cubicBezTo>
                      <a:pt x="130" y="162"/>
                      <a:pt x="129" y="162"/>
                      <a:pt x="128" y="163"/>
                    </a:cubicBezTo>
                    <a:cubicBezTo>
                      <a:pt x="125" y="164"/>
                      <a:pt x="121" y="167"/>
                      <a:pt x="117" y="171"/>
                    </a:cubicBezTo>
                    <a:cubicBezTo>
                      <a:pt x="113" y="175"/>
                      <a:pt x="109" y="179"/>
                      <a:pt x="107" y="182"/>
                    </a:cubicBezTo>
                    <a:cubicBezTo>
                      <a:pt x="102" y="188"/>
                      <a:pt x="89" y="203"/>
                      <a:pt x="71" y="208"/>
                    </a:cubicBezTo>
                    <a:cubicBezTo>
                      <a:pt x="65" y="209"/>
                      <a:pt x="58" y="210"/>
                      <a:pt x="51" y="210"/>
                    </a:cubicBezTo>
                    <a:cubicBezTo>
                      <a:pt x="44" y="210"/>
                      <a:pt x="37" y="209"/>
                      <a:pt x="32" y="209"/>
                    </a:cubicBezTo>
                    <a:cubicBezTo>
                      <a:pt x="30" y="208"/>
                      <a:pt x="27" y="208"/>
                      <a:pt x="26" y="208"/>
                    </a:cubicBezTo>
                    <a:cubicBezTo>
                      <a:pt x="25" y="208"/>
                      <a:pt x="24" y="207"/>
                      <a:pt x="24" y="207"/>
                    </a:cubicBezTo>
                    <a:cubicBezTo>
                      <a:pt x="23" y="207"/>
                      <a:pt x="23" y="207"/>
                      <a:pt x="23" y="207"/>
                    </a:cubicBezTo>
                    <a:cubicBezTo>
                      <a:pt x="23" y="207"/>
                      <a:pt x="23" y="207"/>
                      <a:pt x="23" y="207"/>
                    </a:cubicBezTo>
                    <a:lnTo>
                      <a:pt x="23" y="20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" name="Freeform 19"/>
              <p:cNvSpPr>
                <a:spLocks/>
              </p:cNvSpPr>
              <p:nvPr/>
            </p:nvSpPr>
            <p:spPr bwMode="auto">
              <a:xfrm>
                <a:off x="8735120" y="1507708"/>
                <a:ext cx="360386" cy="357570"/>
              </a:xfrm>
              <a:custGeom>
                <a:avLst/>
                <a:gdLst>
                  <a:gd name="T0" fmla="*/ 56 w 108"/>
                  <a:gd name="T1" fmla="*/ 37 h 107"/>
                  <a:gd name="T2" fmla="*/ 55 w 108"/>
                  <a:gd name="T3" fmla="*/ 44 h 107"/>
                  <a:gd name="T4" fmla="*/ 48 w 108"/>
                  <a:gd name="T5" fmla="*/ 46 h 107"/>
                  <a:gd name="T6" fmla="*/ 42 w 108"/>
                  <a:gd name="T7" fmla="*/ 39 h 107"/>
                  <a:gd name="T8" fmla="*/ 57 w 108"/>
                  <a:gd name="T9" fmla="*/ 24 h 107"/>
                  <a:gd name="T10" fmla="*/ 74 w 108"/>
                  <a:gd name="T11" fmla="*/ 30 h 107"/>
                  <a:gd name="T12" fmla="*/ 79 w 108"/>
                  <a:gd name="T13" fmla="*/ 42 h 107"/>
                  <a:gd name="T14" fmla="*/ 74 w 108"/>
                  <a:gd name="T15" fmla="*/ 56 h 107"/>
                  <a:gd name="T16" fmla="*/ 56 w 108"/>
                  <a:gd name="T17" fmla="*/ 62 h 107"/>
                  <a:gd name="T18" fmla="*/ 37 w 108"/>
                  <a:gd name="T19" fmla="*/ 36 h 107"/>
                  <a:gd name="T20" fmla="*/ 52 w 108"/>
                  <a:gd name="T21" fmla="*/ 12 h 107"/>
                  <a:gd name="T22" fmla="*/ 73 w 108"/>
                  <a:gd name="T23" fmla="*/ 4 h 107"/>
                  <a:gd name="T24" fmla="*/ 104 w 108"/>
                  <a:gd name="T25" fmla="*/ 41 h 107"/>
                  <a:gd name="T26" fmla="*/ 90 w 108"/>
                  <a:gd name="T27" fmla="*/ 76 h 107"/>
                  <a:gd name="T28" fmla="*/ 63 w 108"/>
                  <a:gd name="T29" fmla="*/ 89 h 107"/>
                  <a:gd name="T30" fmla="*/ 63 w 108"/>
                  <a:gd name="T31" fmla="*/ 90 h 107"/>
                  <a:gd name="T32" fmla="*/ 40 w 108"/>
                  <a:gd name="T33" fmla="*/ 103 h 107"/>
                  <a:gd name="T34" fmla="*/ 18 w 108"/>
                  <a:gd name="T35" fmla="*/ 94 h 107"/>
                  <a:gd name="T36" fmla="*/ 8 w 108"/>
                  <a:gd name="T37" fmla="*/ 80 h 107"/>
                  <a:gd name="T38" fmla="*/ 0 w 108"/>
                  <a:gd name="T39" fmla="*/ 80 h 107"/>
                  <a:gd name="T40" fmla="*/ 7 w 108"/>
                  <a:gd name="T41" fmla="*/ 81 h 107"/>
                  <a:gd name="T42" fmla="*/ 15 w 108"/>
                  <a:gd name="T43" fmla="*/ 97 h 107"/>
                  <a:gd name="T44" fmla="*/ 40 w 108"/>
                  <a:gd name="T45" fmla="*/ 107 h 107"/>
                  <a:gd name="T46" fmla="*/ 67 w 108"/>
                  <a:gd name="T47" fmla="*/ 92 h 107"/>
                  <a:gd name="T48" fmla="*/ 65 w 108"/>
                  <a:gd name="T49" fmla="*/ 93 h 107"/>
                  <a:gd name="T50" fmla="*/ 108 w 108"/>
                  <a:gd name="T51" fmla="*/ 45 h 107"/>
                  <a:gd name="T52" fmla="*/ 96 w 108"/>
                  <a:gd name="T53" fmla="*/ 10 h 107"/>
                  <a:gd name="T54" fmla="*/ 72 w 108"/>
                  <a:gd name="T55" fmla="*/ 0 h 107"/>
                  <a:gd name="T56" fmla="*/ 35 w 108"/>
                  <a:gd name="T57" fmla="*/ 26 h 107"/>
                  <a:gd name="T58" fmla="*/ 39 w 108"/>
                  <a:gd name="T59" fmla="*/ 55 h 107"/>
                  <a:gd name="T60" fmla="*/ 59 w 108"/>
                  <a:gd name="T61" fmla="*/ 66 h 107"/>
                  <a:gd name="T62" fmla="*/ 83 w 108"/>
                  <a:gd name="T63" fmla="*/ 42 h 107"/>
                  <a:gd name="T64" fmla="*/ 83 w 108"/>
                  <a:gd name="T65" fmla="*/ 42 h 107"/>
                  <a:gd name="T66" fmla="*/ 59 w 108"/>
                  <a:gd name="T67" fmla="*/ 20 h 107"/>
                  <a:gd name="T68" fmla="*/ 43 w 108"/>
                  <a:gd name="T69" fmla="*/ 26 h 107"/>
                  <a:gd name="T70" fmla="*/ 41 w 108"/>
                  <a:gd name="T71" fmla="*/ 46 h 107"/>
                  <a:gd name="T72" fmla="*/ 50 w 108"/>
                  <a:gd name="T73" fmla="*/ 50 h 107"/>
                  <a:gd name="T74" fmla="*/ 60 w 108"/>
                  <a:gd name="T75" fmla="*/ 41 h 107"/>
                  <a:gd name="T76" fmla="*/ 56 w 108"/>
                  <a:gd name="T77" fmla="*/ 3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8" h="107">
                    <a:moveTo>
                      <a:pt x="56" y="37"/>
                    </a:move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8"/>
                      <a:pt x="56" y="39"/>
                      <a:pt x="56" y="41"/>
                    </a:cubicBezTo>
                    <a:cubicBezTo>
                      <a:pt x="56" y="42"/>
                      <a:pt x="56" y="44"/>
                      <a:pt x="55" y="44"/>
                    </a:cubicBezTo>
                    <a:cubicBezTo>
                      <a:pt x="55" y="45"/>
                      <a:pt x="53" y="46"/>
                      <a:pt x="50" y="46"/>
                    </a:cubicBezTo>
                    <a:cubicBezTo>
                      <a:pt x="50" y="46"/>
                      <a:pt x="49" y="46"/>
                      <a:pt x="48" y="46"/>
                    </a:cubicBezTo>
                    <a:cubicBezTo>
                      <a:pt x="46" y="46"/>
                      <a:pt x="45" y="45"/>
                      <a:pt x="44" y="44"/>
                    </a:cubicBezTo>
                    <a:cubicBezTo>
                      <a:pt x="43" y="42"/>
                      <a:pt x="42" y="41"/>
                      <a:pt x="42" y="39"/>
                    </a:cubicBezTo>
                    <a:cubicBezTo>
                      <a:pt x="42" y="36"/>
                      <a:pt x="44" y="32"/>
                      <a:pt x="46" y="29"/>
                    </a:cubicBezTo>
                    <a:cubicBezTo>
                      <a:pt x="49" y="26"/>
                      <a:pt x="52" y="24"/>
                      <a:pt x="57" y="24"/>
                    </a:cubicBezTo>
                    <a:cubicBezTo>
                      <a:pt x="57" y="24"/>
                      <a:pt x="58" y="24"/>
                      <a:pt x="58" y="24"/>
                    </a:cubicBezTo>
                    <a:cubicBezTo>
                      <a:pt x="66" y="25"/>
                      <a:pt x="71" y="27"/>
                      <a:pt x="74" y="30"/>
                    </a:cubicBezTo>
                    <a:cubicBezTo>
                      <a:pt x="77" y="33"/>
                      <a:pt x="78" y="37"/>
                      <a:pt x="79" y="4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8" y="47"/>
                      <a:pt x="77" y="52"/>
                      <a:pt x="74" y="56"/>
                    </a:cubicBezTo>
                    <a:cubicBezTo>
                      <a:pt x="70" y="59"/>
                      <a:pt x="66" y="62"/>
                      <a:pt x="59" y="62"/>
                    </a:cubicBezTo>
                    <a:cubicBezTo>
                      <a:pt x="58" y="62"/>
                      <a:pt x="57" y="62"/>
                      <a:pt x="56" y="62"/>
                    </a:cubicBezTo>
                    <a:cubicBezTo>
                      <a:pt x="50" y="61"/>
                      <a:pt x="45" y="57"/>
                      <a:pt x="42" y="52"/>
                    </a:cubicBezTo>
                    <a:cubicBezTo>
                      <a:pt x="39" y="48"/>
                      <a:pt x="37" y="41"/>
                      <a:pt x="37" y="36"/>
                    </a:cubicBezTo>
                    <a:cubicBezTo>
                      <a:pt x="37" y="33"/>
                      <a:pt x="38" y="30"/>
                      <a:pt x="39" y="28"/>
                    </a:cubicBezTo>
                    <a:cubicBezTo>
                      <a:pt x="42" y="23"/>
                      <a:pt x="46" y="17"/>
                      <a:pt x="52" y="12"/>
                    </a:cubicBezTo>
                    <a:cubicBezTo>
                      <a:pt x="57" y="7"/>
                      <a:pt x="64" y="4"/>
                      <a:pt x="72" y="4"/>
                    </a:cubicBezTo>
                    <a:cubicBezTo>
                      <a:pt x="73" y="4"/>
                      <a:pt x="73" y="4"/>
                      <a:pt x="73" y="4"/>
                    </a:cubicBezTo>
                    <a:cubicBezTo>
                      <a:pt x="81" y="4"/>
                      <a:pt x="88" y="7"/>
                      <a:pt x="93" y="12"/>
                    </a:cubicBezTo>
                    <a:cubicBezTo>
                      <a:pt x="98" y="18"/>
                      <a:pt x="102" y="27"/>
                      <a:pt x="104" y="41"/>
                    </a:cubicBezTo>
                    <a:cubicBezTo>
                      <a:pt x="104" y="42"/>
                      <a:pt x="104" y="44"/>
                      <a:pt x="104" y="45"/>
                    </a:cubicBezTo>
                    <a:cubicBezTo>
                      <a:pt x="104" y="57"/>
                      <a:pt x="98" y="68"/>
                      <a:pt x="90" y="76"/>
                    </a:cubicBezTo>
                    <a:cubicBezTo>
                      <a:pt x="83" y="84"/>
                      <a:pt x="73" y="89"/>
                      <a:pt x="65" y="89"/>
                    </a:cubicBezTo>
                    <a:cubicBezTo>
                      <a:pt x="63" y="89"/>
                      <a:pt x="63" y="89"/>
                      <a:pt x="63" y="89"/>
                    </a:cubicBezTo>
                    <a:cubicBezTo>
                      <a:pt x="63" y="90"/>
                      <a:pt x="63" y="90"/>
                      <a:pt x="63" y="90"/>
                    </a:cubicBezTo>
                    <a:cubicBezTo>
                      <a:pt x="63" y="90"/>
                      <a:pt x="63" y="90"/>
                      <a:pt x="63" y="90"/>
                    </a:cubicBezTo>
                    <a:cubicBezTo>
                      <a:pt x="63" y="90"/>
                      <a:pt x="61" y="93"/>
                      <a:pt x="58" y="97"/>
                    </a:cubicBezTo>
                    <a:cubicBezTo>
                      <a:pt x="54" y="100"/>
                      <a:pt x="49" y="103"/>
                      <a:pt x="40" y="103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30" y="103"/>
                      <a:pt x="23" y="99"/>
                      <a:pt x="18" y="94"/>
                    </a:cubicBezTo>
                    <a:cubicBezTo>
                      <a:pt x="13" y="90"/>
                      <a:pt x="9" y="84"/>
                      <a:pt x="9" y="81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6" y="83"/>
                      <a:pt x="6" y="83"/>
                      <a:pt x="6" y="83"/>
                    </a:cubicBezTo>
                    <a:cubicBezTo>
                      <a:pt x="7" y="81"/>
                      <a:pt x="7" y="81"/>
                      <a:pt x="7" y="81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6" y="86"/>
                      <a:pt x="9" y="92"/>
                      <a:pt x="15" y="97"/>
                    </a:cubicBezTo>
                    <a:cubicBezTo>
                      <a:pt x="21" y="103"/>
                      <a:pt x="29" y="107"/>
                      <a:pt x="39" y="107"/>
                    </a:cubicBezTo>
                    <a:cubicBezTo>
                      <a:pt x="39" y="107"/>
                      <a:pt x="39" y="107"/>
                      <a:pt x="40" y="107"/>
                    </a:cubicBezTo>
                    <a:cubicBezTo>
                      <a:pt x="50" y="107"/>
                      <a:pt x="57" y="103"/>
                      <a:pt x="61" y="99"/>
                    </a:cubicBezTo>
                    <a:cubicBezTo>
                      <a:pt x="65" y="95"/>
                      <a:pt x="67" y="92"/>
                      <a:pt x="67" y="92"/>
                    </a:cubicBezTo>
                    <a:cubicBezTo>
                      <a:pt x="65" y="91"/>
                      <a:pt x="65" y="91"/>
                      <a:pt x="65" y="91"/>
                    </a:cubicBezTo>
                    <a:cubicBezTo>
                      <a:pt x="65" y="93"/>
                      <a:pt x="65" y="93"/>
                      <a:pt x="65" y="93"/>
                    </a:cubicBezTo>
                    <a:cubicBezTo>
                      <a:pt x="74" y="93"/>
                      <a:pt x="85" y="87"/>
                      <a:pt x="93" y="79"/>
                    </a:cubicBezTo>
                    <a:cubicBezTo>
                      <a:pt x="102" y="71"/>
                      <a:pt x="108" y="59"/>
                      <a:pt x="108" y="45"/>
                    </a:cubicBezTo>
                    <a:cubicBezTo>
                      <a:pt x="108" y="44"/>
                      <a:pt x="108" y="42"/>
                      <a:pt x="108" y="40"/>
                    </a:cubicBezTo>
                    <a:cubicBezTo>
                      <a:pt x="106" y="26"/>
                      <a:pt x="102" y="16"/>
                      <a:pt x="96" y="10"/>
                    </a:cubicBezTo>
                    <a:cubicBezTo>
                      <a:pt x="90" y="3"/>
                      <a:pt x="82" y="0"/>
                      <a:pt x="73" y="0"/>
                    </a:cubicBezTo>
                    <a:cubicBezTo>
                      <a:pt x="73" y="0"/>
                      <a:pt x="72" y="0"/>
                      <a:pt x="72" y="0"/>
                    </a:cubicBezTo>
                    <a:cubicBezTo>
                      <a:pt x="63" y="0"/>
                      <a:pt x="55" y="4"/>
                      <a:pt x="49" y="9"/>
                    </a:cubicBezTo>
                    <a:cubicBezTo>
                      <a:pt x="43" y="14"/>
                      <a:pt x="38" y="20"/>
                      <a:pt x="35" y="26"/>
                    </a:cubicBezTo>
                    <a:cubicBezTo>
                      <a:pt x="34" y="29"/>
                      <a:pt x="33" y="32"/>
                      <a:pt x="33" y="36"/>
                    </a:cubicBezTo>
                    <a:cubicBezTo>
                      <a:pt x="33" y="42"/>
                      <a:pt x="35" y="49"/>
                      <a:pt x="39" y="55"/>
                    </a:cubicBezTo>
                    <a:cubicBezTo>
                      <a:pt x="42" y="60"/>
                      <a:pt x="48" y="65"/>
                      <a:pt x="55" y="66"/>
                    </a:cubicBezTo>
                    <a:cubicBezTo>
                      <a:pt x="56" y="66"/>
                      <a:pt x="58" y="66"/>
                      <a:pt x="59" y="66"/>
                    </a:cubicBezTo>
                    <a:cubicBezTo>
                      <a:pt x="67" y="66"/>
                      <a:pt x="73" y="63"/>
                      <a:pt x="77" y="58"/>
                    </a:cubicBezTo>
                    <a:cubicBezTo>
                      <a:pt x="81" y="54"/>
                      <a:pt x="82" y="48"/>
                      <a:pt x="83" y="42"/>
                    </a:cubicBezTo>
                    <a:cubicBezTo>
                      <a:pt x="83" y="42"/>
                      <a:pt x="83" y="42"/>
                      <a:pt x="83" y="42"/>
                    </a:cubicBezTo>
                    <a:cubicBezTo>
                      <a:pt x="83" y="42"/>
                      <a:pt x="83" y="42"/>
                      <a:pt x="83" y="42"/>
                    </a:cubicBezTo>
                    <a:cubicBezTo>
                      <a:pt x="83" y="36"/>
                      <a:pt x="81" y="31"/>
                      <a:pt x="77" y="27"/>
                    </a:cubicBezTo>
                    <a:cubicBezTo>
                      <a:pt x="73" y="23"/>
                      <a:pt x="67" y="21"/>
                      <a:pt x="59" y="20"/>
                    </a:cubicBezTo>
                    <a:cubicBezTo>
                      <a:pt x="58" y="20"/>
                      <a:pt x="57" y="20"/>
                      <a:pt x="57" y="20"/>
                    </a:cubicBezTo>
                    <a:cubicBezTo>
                      <a:pt x="51" y="20"/>
                      <a:pt x="46" y="22"/>
                      <a:pt x="43" y="26"/>
                    </a:cubicBezTo>
                    <a:cubicBezTo>
                      <a:pt x="40" y="30"/>
                      <a:pt x="38" y="35"/>
                      <a:pt x="38" y="39"/>
                    </a:cubicBezTo>
                    <a:cubicBezTo>
                      <a:pt x="38" y="41"/>
                      <a:pt x="39" y="44"/>
                      <a:pt x="41" y="46"/>
                    </a:cubicBezTo>
                    <a:cubicBezTo>
                      <a:pt x="42" y="48"/>
                      <a:pt x="45" y="49"/>
                      <a:pt x="48" y="50"/>
                    </a:cubicBezTo>
                    <a:cubicBezTo>
                      <a:pt x="49" y="50"/>
                      <a:pt x="50" y="50"/>
                      <a:pt x="50" y="50"/>
                    </a:cubicBezTo>
                    <a:cubicBezTo>
                      <a:pt x="54" y="50"/>
                      <a:pt x="57" y="49"/>
                      <a:pt x="58" y="47"/>
                    </a:cubicBezTo>
                    <a:cubicBezTo>
                      <a:pt x="60" y="45"/>
                      <a:pt x="60" y="43"/>
                      <a:pt x="60" y="41"/>
                    </a:cubicBezTo>
                    <a:cubicBezTo>
                      <a:pt x="60" y="38"/>
                      <a:pt x="60" y="36"/>
                      <a:pt x="59" y="36"/>
                    </a:cubicBezTo>
                    <a:lnTo>
                      <a:pt x="56" y="3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62" name="组合 61"/>
            <p:cNvGrpSpPr/>
            <p:nvPr/>
          </p:nvGrpSpPr>
          <p:grpSpPr>
            <a:xfrm>
              <a:off x="8578216" y="3707948"/>
              <a:ext cx="974168" cy="764412"/>
              <a:chOff x="8304347" y="1378194"/>
              <a:chExt cx="974168" cy="764412"/>
            </a:xfrm>
          </p:grpSpPr>
          <p:sp>
            <p:nvSpPr>
              <p:cNvPr id="63" name="Freeform 17"/>
              <p:cNvSpPr>
                <a:spLocks/>
              </p:cNvSpPr>
              <p:nvPr/>
            </p:nvSpPr>
            <p:spPr bwMode="auto">
              <a:xfrm>
                <a:off x="8304347" y="1378194"/>
                <a:ext cx="974168" cy="764412"/>
              </a:xfrm>
              <a:custGeom>
                <a:avLst/>
                <a:gdLst>
                  <a:gd name="T0" fmla="*/ 72 w 292"/>
                  <a:gd name="T1" fmla="*/ 211 h 229"/>
                  <a:gd name="T2" fmla="*/ 130 w 292"/>
                  <a:gd name="T3" fmla="*/ 166 h 229"/>
                  <a:gd name="T4" fmla="*/ 149 w 292"/>
                  <a:gd name="T5" fmla="*/ 173 h 229"/>
                  <a:gd name="T6" fmla="*/ 182 w 292"/>
                  <a:gd name="T7" fmla="*/ 164 h 229"/>
                  <a:gd name="T8" fmla="*/ 267 w 292"/>
                  <a:gd name="T9" fmla="*/ 137 h 229"/>
                  <a:gd name="T10" fmla="*/ 280 w 292"/>
                  <a:gd name="T11" fmla="*/ 111 h 229"/>
                  <a:gd name="T12" fmla="*/ 239 w 292"/>
                  <a:gd name="T13" fmla="*/ 16 h 229"/>
                  <a:gd name="T14" fmla="*/ 191 w 292"/>
                  <a:gd name="T15" fmla="*/ 0 h 229"/>
                  <a:gd name="T16" fmla="*/ 141 w 292"/>
                  <a:gd name="T17" fmla="*/ 43 h 229"/>
                  <a:gd name="T18" fmla="*/ 109 w 292"/>
                  <a:gd name="T19" fmla="*/ 86 h 229"/>
                  <a:gd name="T20" fmla="*/ 134 w 292"/>
                  <a:gd name="T21" fmla="*/ 121 h 229"/>
                  <a:gd name="T22" fmla="*/ 182 w 292"/>
                  <a:gd name="T23" fmla="*/ 143 h 229"/>
                  <a:gd name="T24" fmla="*/ 210 w 292"/>
                  <a:gd name="T25" fmla="*/ 127 h 229"/>
                  <a:gd name="T26" fmla="*/ 201 w 292"/>
                  <a:gd name="T27" fmla="*/ 39 h 229"/>
                  <a:gd name="T28" fmla="*/ 188 w 292"/>
                  <a:gd name="T29" fmla="*/ 103 h 229"/>
                  <a:gd name="T30" fmla="*/ 206 w 292"/>
                  <a:gd name="T31" fmla="*/ 67 h 229"/>
                  <a:gd name="T32" fmla="*/ 170 w 292"/>
                  <a:gd name="T33" fmla="*/ 81 h 229"/>
                  <a:gd name="T34" fmla="*/ 147 w 292"/>
                  <a:gd name="T35" fmla="*/ 99 h 229"/>
                  <a:gd name="T36" fmla="*/ 102 w 292"/>
                  <a:gd name="T37" fmla="*/ 161 h 229"/>
                  <a:gd name="T38" fmla="*/ 13 w 292"/>
                  <a:gd name="T39" fmla="*/ 201 h 229"/>
                  <a:gd name="T40" fmla="*/ 5 w 292"/>
                  <a:gd name="T41" fmla="*/ 219 h 229"/>
                  <a:gd name="T42" fmla="*/ 6 w 292"/>
                  <a:gd name="T43" fmla="*/ 219 h 229"/>
                  <a:gd name="T44" fmla="*/ 23 w 292"/>
                  <a:gd name="T45" fmla="*/ 209 h 229"/>
                  <a:gd name="T46" fmla="*/ 6 w 292"/>
                  <a:gd name="T47" fmla="*/ 219 h 229"/>
                  <a:gd name="T48" fmla="*/ 88 w 292"/>
                  <a:gd name="T49" fmla="*/ 184 h 229"/>
                  <a:gd name="T50" fmla="*/ 132 w 292"/>
                  <a:gd name="T51" fmla="*/ 118 h 229"/>
                  <a:gd name="T52" fmla="*/ 174 w 292"/>
                  <a:gd name="T53" fmla="*/ 83 h 229"/>
                  <a:gd name="T54" fmla="*/ 190 w 292"/>
                  <a:gd name="T55" fmla="*/ 62 h 229"/>
                  <a:gd name="T56" fmla="*/ 206 w 292"/>
                  <a:gd name="T57" fmla="*/ 89 h 229"/>
                  <a:gd name="T58" fmla="*/ 167 w 292"/>
                  <a:gd name="T59" fmla="*/ 77 h 229"/>
                  <a:gd name="T60" fmla="*/ 233 w 292"/>
                  <a:gd name="T61" fmla="*/ 82 h 229"/>
                  <a:gd name="T62" fmla="*/ 195 w 292"/>
                  <a:gd name="T63" fmla="*/ 128 h 229"/>
                  <a:gd name="T64" fmla="*/ 192 w 292"/>
                  <a:gd name="T65" fmla="*/ 129 h 229"/>
                  <a:gd name="T66" fmla="*/ 143 w 292"/>
                  <a:gd name="T67" fmla="*/ 129 h 229"/>
                  <a:gd name="T68" fmla="*/ 137 w 292"/>
                  <a:gd name="T69" fmla="*/ 119 h 229"/>
                  <a:gd name="T70" fmla="*/ 124 w 292"/>
                  <a:gd name="T71" fmla="*/ 111 h 229"/>
                  <a:gd name="T72" fmla="*/ 137 w 292"/>
                  <a:gd name="T73" fmla="*/ 47 h 229"/>
                  <a:gd name="T74" fmla="*/ 142 w 292"/>
                  <a:gd name="T75" fmla="*/ 45 h 229"/>
                  <a:gd name="T76" fmla="*/ 191 w 292"/>
                  <a:gd name="T77" fmla="*/ 4 h 229"/>
                  <a:gd name="T78" fmla="*/ 229 w 292"/>
                  <a:gd name="T79" fmla="*/ 20 h 229"/>
                  <a:gd name="T80" fmla="*/ 239 w 292"/>
                  <a:gd name="T81" fmla="*/ 20 h 229"/>
                  <a:gd name="T82" fmla="*/ 277 w 292"/>
                  <a:gd name="T83" fmla="*/ 109 h 229"/>
                  <a:gd name="T84" fmla="*/ 268 w 292"/>
                  <a:gd name="T85" fmla="*/ 117 h 229"/>
                  <a:gd name="T86" fmla="*/ 263 w 292"/>
                  <a:gd name="T87" fmla="*/ 138 h 229"/>
                  <a:gd name="T88" fmla="*/ 185 w 292"/>
                  <a:gd name="T89" fmla="*/ 163 h 229"/>
                  <a:gd name="T90" fmla="*/ 181 w 292"/>
                  <a:gd name="T91" fmla="*/ 163 h 229"/>
                  <a:gd name="T92" fmla="*/ 141 w 292"/>
                  <a:gd name="T93" fmla="*/ 165 h 229"/>
                  <a:gd name="T94" fmla="*/ 117 w 292"/>
                  <a:gd name="T95" fmla="*/ 171 h 229"/>
                  <a:gd name="T96" fmla="*/ 32 w 292"/>
                  <a:gd name="T97" fmla="*/ 209 h 229"/>
                  <a:gd name="T98" fmla="*/ 23 w 292"/>
                  <a:gd name="T99" fmla="*/ 207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92" h="229">
                    <a:moveTo>
                      <a:pt x="23" y="209"/>
                    </a:moveTo>
                    <a:cubicBezTo>
                      <a:pt x="23" y="211"/>
                      <a:pt x="23" y="211"/>
                      <a:pt x="23" y="211"/>
                    </a:cubicBezTo>
                    <a:cubicBezTo>
                      <a:pt x="23" y="211"/>
                      <a:pt x="36" y="214"/>
                      <a:pt x="51" y="214"/>
                    </a:cubicBezTo>
                    <a:cubicBezTo>
                      <a:pt x="58" y="214"/>
                      <a:pt x="66" y="213"/>
                      <a:pt x="72" y="211"/>
                    </a:cubicBezTo>
                    <a:cubicBezTo>
                      <a:pt x="92" y="206"/>
                      <a:pt x="105" y="191"/>
                      <a:pt x="110" y="185"/>
                    </a:cubicBezTo>
                    <a:cubicBezTo>
                      <a:pt x="112" y="181"/>
                      <a:pt x="117" y="177"/>
                      <a:pt x="121" y="173"/>
                    </a:cubicBezTo>
                    <a:cubicBezTo>
                      <a:pt x="123" y="171"/>
                      <a:pt x="126" y="169"/>
                      <a:pt x="127" y="168"/>
                    </a:cubicBezTo>
                    <a:cubicBezTo>
                      <a:pt x="128" y="167"/>
                      <a:pt x="129" y="166"/>
                      <a:pt x="130" y="166"/>
                    </a:cubicBezTo>
                    <a:cubicBezTo>
                      <a:pt x="131" y="166"/>
                      <a:pt x="131" y="166"/>
                      <a:pt x="131" y="166"/>
                    </a:cubicBezTo>
                    <a:cubicBezTo>
                      <a:pt x="132" y="166"/>
                      <a:pt x="133" y="166"/>
                      <a:pt x="135" y="167"/>
                    </a:cubicBezTo>
                    <a:cubicBezTo>
                      <a:pt x="137" y="167"/>
                      <a:pt x="140" y="169"/>
                      <a:pt x="142" y="170"/>
                    </a:cubicBezTo>
                    <a:cubicBezTo>
                      <a:pt x="145" y="171"/>
                      <a:pt x="147" y="172"/>
                      <a:pt x="149" y="173"/>
                    </a:cubicBezTo>
                    <a:cubicBezTo>
                      <a:pt x="151" y="173"/>
                      <a:pt x="155" y="174"/>
                      <a:pt x="159" y="174"/>
                    </a:cubicBezTo>
                    <a:cubicBezTo>
                      <a:pt x="163" y="174"/>
                      <a:pt x="168" y="173"/>
                      <a:pt x="173" y="172"/>
                    </a:cubicBezTo>
                    <a:cubicBezTo>
                      <a:pt x="177" y="171"/>
                      <a:pt x="182" y="169"/>
                      <a:pt x="184" y="165"/>
                    </a:cubicBezTo>
                    <a:cubicBezTo>
                      <a:pt x="182" y="164"/>
                      <a:pt x="182" y="164"/>
                      <a:pt x="182" y="164"/>
                    </a:cubicBezTo>
                    <a:cubicBezTo>
                      <a:pt x="181" y="166"/>
                      <a:pt x="181" y="166"/>
                      <a:pt x="181" y="166"/>
                    </a:cubicBezTo>
                    <a:cubicBezTo>
                      <a:pt x="182" y="166"/>
                      <a:pt x="196" y="171"/>
                      <a:pt x="214" y="171"/>
                    </a:cubicBezTo>
                    <a:cubicBezTo>
                      <a:pt x="223" y="171"/>
                      <a:pt x="232" y="170"/>
                      <a:pt x="242" y="166"/>
                    </a:cubicBezTo>
                    <a:cubicBezTo>
                      <a:pt x="256" y="159"/>
                      <a:pt x="263" y="147"/>
                      <a:pt x="267" y="137"/>
                    </a:cubicBezTo>
                    <a:cubicBezTo>
                      <a:pt x="271" y="127"/>
                      <a:pt x="271" y="119"/>
                      <a:pt x="271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70" y="120"/>
                      <a:pt x="275" y="117"/>
                      <a:pt x="280" y="111"/>
                    </a:cubicBezTo>
                    <a:cubicBezTo>
                      <a:pt x="284" y="105"/>
                      <a:pt x="290" y="97"/>
                      <a:pt x="291" y="86"/>
                    </a:cubicBezTo>
                    <a:cubicBezTo>
                      <a:pt x="292" y="82"/>
                      <a:pt x="292" y="78"/>
                      <a:pt x="292" y="75"/>
                    </a:cubicBezTo>
                    <a:cubicBezTo>
                      <a:pt x="292" y="59"/>
                      <a:pt x="287" y="45"/>
                      <a:pt x="279" y="35"/>
                    </a:cubicBezTo>
                    <a:cubicBezTo>
                      <a:pt x="271" y="24"/>
                      <a:pt x="255" y="16"/>
                      <a:pt x="239" y="16"/>
                    </a:cubicBezTo>
                    <a:cubicBezTo>
                      <a:pt x="236" y="16"/>
                      <a:pt x="233" y="16"/>
                      <a:pt x="230" y="17"/>
                    </a:cubicBezTo>
                    <a:cubicBezTo>
                      <a:pt x="231" y="19"/>
                      <a:pt x="231" y="19"/>
                      <a:pt x="231" y="19"/>
                    </a:cubicBezTo>
                    <a:cubicBezTo>
                      <a:pt x="232" y="17"/>
                      <a:pt x="232" y="17"/>
                      <a:pt x="232" y="17"/>
                    </a:cubicBezTo>
                    <a:cubicBezTo>
                      <a:pt x="232" y="17"/>
                      <a:pt x="214" y="0"/>
                      <a:pt x="191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78" y="0"/>
                      <a:pt x="167" y="4"/>
                      <a:pt x="157" y="11"/>
                    </a:cubicBezTo>
                    <a:cubicBezTo>
                      <a:pt x="148" y="19"/>
                      <a:pt x="141" y="29"/>
                      <a:pt x="139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0" y="41"/>
                      <a:pt x="140" y="41"/>
                      <a:pt x="140" y="41"/>
                    </a:cubicBezTo>
                    <a:cubicBezTo>
                      <a:pt x="140" y="41"/>
                      <a:pt x="132" y="44"/>
                      <a:pt x="125" y="51"/>
                    </a:cubicBezTo>
                    <a:cubicBezTo>
                      <a:pt x="117" y="58"/>
                      <a:pt x="110" y="68"/>
                      <a:pt x="109" y="83"/>
                    </a:cubicBezTo>
                    <a:cubicBezTo>
                      <a:pt x="109" y="84"/>
                      <a:pt x="109" y="85"/>
                      <a:pt x="109" y="86"/>
                    </a:cubicBezTo>
                    <a:cubicBezTo>
                      <a:pt x="109" y="100"/>
                      <a:pt x="116" y="109"/>
                      <a:pt x="122" y="115"/>
                    </a:cubicBezTo>
                    <a:cubicBezTo>
                      <a:pt x="128" y="120"/>
                      <a:pt x="135" y="122"/>
                      <a:pt x="135" y="122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34" y="121"/>
                      <a:pt x="134" y="121"/>
                      <a:pt x="134" y="121"/>
                    </a:cubicBezTo>
                    <a:cubicBezTo>
                      <a:pt x="134" y="121"/>
                      <a:pt x="136" y="126"/>
                      <a:pt x="139" y="131"/>
                    </a:cubicBezTo>
                    <a:cubicBezTo>
                      <a:pt x="143" y="137"/>
                      <a:pt x="148" y="143"/>
                      <a:pt x="155" y="145"/>
                    </a:cubicBezTo>
                    <a:cubicBezTo>
                      <a:pt x="158" y="146"/>
                      <a:pt x="161" y="147"/>
                      <a:pt x="164" y="147"/>
                    </a:cubicBezTo>
                    <a:cubicBezTo>
                      <a:pt x="170" y="147"/>
                      <a:pt x="176" y="145"/>
                      <a:pt x="182" y="143"/>
                    </a:cubicBezTo>
                    <a:cubicBezTo>
                      <a:pt x="187" y="140"/>
                      <a:pt x="192" y="136"/>
                      <a:pt x="195" y="131"/>
                    </a:cubicBezTo>
                    <a:cubicBezTo>
                      <a:pt x="194" y="130"/>
                      <a:pt x="194" y="130"/>
                      <a:pt x="194" y="130"/>
                    </a:cubicBezTo>
                    <a:cubicBezTo>
                      <a:pt x="194" y="132"/>
                      <a:pt x="194" y="132"/>
                      <a:pt x="194" y="132"/>
                    </a:cubicBezTo>
                    <a:cubicBezTo>
                      <a:pt x="194" y="132"/>
                      <a:pt x="201" y="130"/>
                      <a:pt x="210" y="127"/>
                    </a:cubicBezTo>
                    <a:cubicBezTo>
                      <a:pt x="218" y="124"/>
                      <a:pt x="227" y="118"/>
                      <a:pt x="231" y="109"/>
                    </a:cubicBezTo>
                    <a:cubicBezTo>
                      <a:pt x="234" y="102"/>
                      <a:pt x="237" y="92"/>
                      <a:pt x="237" y="82"/>
                    </a:cubicBezTo>
                    <a:cubicBezTo>
                      <a:pt x="237" y="69"/>
                      <a:pt x="233" y="55"/>
                      <a:pt x="222" y="47"/>
                    </a:cubicBezTo>
                    <a:cubicBezTo>
                      <a:pt x="215" y="41"/>
                      <a:pt x="208" y="39"/>
                      <a:pt x="201" y="39"/>
                    </a:cubicBezTo>
                    <a:cubicBezTo>
                      <a:pt x="188" y="39"/>
                      <a:pt x="177" y="46"/>
                      <a:pt x="170" y="54"/>
                    </a:cubicBezTo>
                    <a:cubicBezTo>
                      <a:pt x="165" y="60"/>
                      <a:pt x="163" y="69"/>
                      <a:pt x="163" y="77"/>
                    </a:cubicBezTo>
                    <a:cubicBezTo>
                      <a:pt x="163" y="84"/>
                      <a:pt x="164" y="91"/>
                      <a:pt x="169" y="96"/>
                    </a:cubicBezTo>
                    <a:cubicBezTo>
                      <a:pt x="174" y="100"/>
                      <a:pt x="181" y="103"/>
                      <a:pt x="188" y="103"/>
                    </a:cubicBezTo>
                    <a:cubicBezTo>
                      <a:pt x="192" y="103"/>
                      <a:pt x="197" y="102"/>
                      <a:pt x="200" y="100"/>
                    </a:cubicBezTo>
                    <a:cubicBezTo>
                      <a:pt x="204" y="98"/>
                      <a:pt x="207" y="95"/>
                      <a:pt x="209" y="91"/>
                    </a:cubicBezTo>
                    <a:cubicBezTo>
                      <a:pt x="211" y="88"/>
                      <a:pt x="212" y="84"/>
                      <a:pt x="212" y="81"/>
                    </a:cubicBezTo>
                    <a:cubicBezTo>
                      <a:pt x="212" y="76"/>
                      <a:pt x="209" y="70"/>
                      <a:pt x="206" y="67"/>
                    </a:cubicBezTo>
                    <a:cubicBezTo>
                      <a:pt x="203" y="63"/>
                      <a:pt x="199" y="60"/>
                      <a:pt x="195" y="59"/>
                    </a:cubicBezTo>
                    <a:cubicBezTo>
                      <a:pt x="194" y="59"/>
                      <a:pt x="192" y="58"/>
                      <a:pt x="190" y="58"/>
                    </a:cubicBezTo>
                    <a:cubicBezTo>
                      <a:pt x="186" y="58"/>
                      <a:pt x="181" y="60"/>
                      <a:pt x="177" y="64"/>
                    </a:cubicBezTo>
                    <a:cubicBezTo>
                      <a:pt x="173" y="67"/>
                      <a:pt x="170" y="73"/>
                      <a:pt x="170" y="81"/>
                    </a:cubicBezTo>
                    <a:cubicBezTo>
                      <a:pt x="170" y="81"/>
                      <a:pt x="170" y="81"/>
                      <a:pt x="170" y="82"/>
                    </a:cubicBezTo>
                    <a:cubicBezTo>
                      <a:pt x="172" y="82"/>
                      <a:pt x="172" y="82"/>
                      <a:pt x="172" y="82"/>
                    </a:cubicBezTo>
                    <a:cubicBezTo>
                      <a:pt x="171" y="80"/>
                      <a:pt x="171" y="80"/>
                      <a:pt x="171" y="80"/>
                    </a:cubicBezTo>
                    <a:cubicBezTo>
                      <a:pt x="171" y="80"/>
                      <a:pt x="159" y="88"/>
                      <a:pt x="147" y="99"/>
                    </a:cubicBezTo>
                    <a:cubicBezTo>
                      <a:pt x="141" y="104"/>
                      <a:pt x="134" y="109"/>
                      <a:pt x="129" y="115"/>
                    </a:cubicBezTo>
                    <a:cubicBezTo>
                      <a:pt x="124" y="120"/>
                      <a:pt x="120" y="125"/>
                      <a:pt x="118" y="130"/>
                    </a:cubicBezTo>
                    <a:cubicBezTo>
                      <a:pt x="114" y="138"/>
                      <a:pt x="113" y="142"/>
                      <a:pt x="112" y="145"/>
                    </a:cubicBezTo>
                    <a:cubicBezTo>
                      <a:pt x="111" y="149"/>
                      <a:pt x="109" y="153"/>
                      <a:pt x="102" y="161"/>
                    </a:cubicBezTo>
                    <a:cubicBezTo>
                      <a:pt x="95" y="170"/>
                      <a:pt x="91" y="176"/>
                      <a:pt x="85" y="181"/>
                    </a:cubicBezTo>
                    <a:cubicBezTo>
                      <a:pt x="80" y="185"/>
                      <a:pt x="74" y="188"/>
                      <a:pt x="65" y="189"/>
                    </a:cubicBezTo>
                    <a:cubicBezTo>
                      <a:pt x="56" y="190"/>
                      <a:pt x="42" y="190"/>
                      <a:pt x="30" y="193"/>
                    </a:cubicBezTo>
                    <a:cubicBezTo>
                      <a:pt x="23" y="195"/>
                      <a:pt x="17" y="197"/>
                      <a:pt x="13" y="201"/>
                    </a:cubicBezTo>
                    <a:cubicBezTo>
                      <a:pt x="8" y="205"/>
                      <a:pt x="4" y="211"/>
                      <a:pt x="2" y="2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5" y="219"/>
                      <a:pt x="5" y="219"/>
                      <a:pt x="5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5" y="219"/>
                      <a:pt x="5" y="219"/>
                      <a:pt x="5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6" y="219"/>
                      <a:pt x="10" y="213"/>
                      <a:pt x="24" y="211"/>
                    </a:cubicBezTo>
                    <a:cubicBezTo>
                      <a:pt x="23" y="209"/>
                      <a:pt x="23" y="209"/>
                      <a:pt x="23" y="209"/>
                    </a:cubicBezTo>
                    <a:cubicBezTo>
                      <a:pt x="23" y="211"/>
                      <a:pt x="23" y="211"/>
                      <a:pt x="23" y="211"/>
                    </a:cubicBezTo>
                    <a:cubicBezTo>
                      <a:pt x="23" y="209"/>
                      <a:pt x="23" y="209"/>
                      <a:pt x="23" y="209"/>
                    </a:cubicBezTo>
                    <a:cubicBezTo>
                      <a:pt x="23" y="207"/>
                      <a:pt x="23" y="207"/>
                      <a:pt x="23" y="207"/>
                    </a:cubicBezTo>
                    <a:cubicBezTo>
                      <a:pt x="8" y="209"/>
                      <a:pt x="3" y="217"/>
                      <a:pt x="3" y="217"/>
                    </a:cubicBezTo>
                    <a:cubicBezTo>
                      <a:pt x="4" y="218"/>
                      <a:pt x="4" y="218"/>
                      <a:pt x="4" y="218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8" y="212"/>
                      <a:pt x="11" y="208"/>
                      <a:pt x="15" y="204"/>
                    </a:cubicBezTo>
                    <a:cubicBezTo>
                      <a:pt x="21" y="199"/>
                      <a:pt x="31" y="197"/>
                      <a:pt x="40" y="195"/>
                    </a:cubicBezTo>
                    <a:cubicBezTo>
                      <a:pt x="49" y="194"/>
                      <a:pt x="59" y="194"/>
                      <a:pt x="66" y="193"/>
                    </a:cubicBezTo>
                    <a:cubicBezTo>
                      <a:pt x="75" y="192"/>
                      <a:pt x="82" y="189"/>
                      <a:pt x="88" y="184"/>
                    </a:cubicBezTo>
                    <a:cubicBezTo>
                      <a:pt x="94" y="179"/>
                      <a:pt x="99" y="172"/>
                      <a:pt x="105" y="164"/>
                    </a:cubicBezTo>
                    <a:cubicBezTo>
                      <a:pt x="112" y="155"/>
                      <a:pt x="114" y="151"/>
                      <a:pt x="116" y="147"/>
                    </a:cubicBezTo>
                    <a:cubicBezTo>
                      <a:pt x="117" y="143"/>
                      <a:pt x="118" y="139"/>
                      <a:pt x="121" y="131"/>
                    </a:cubicBezTo>
                    <a:cubicBezTo>
                      <a:pt x="123" y="128"/>
                      <a:pt x="127" y="123"/>
                      <a:pt x="132" y="118"/>
                    </a:cubicBezTo>
                    <a:cubicBezTo>
                      <a:pt x="140" y="110"/>
                      <a:pt x="150" y="101"/>
                      <a:pt x="158" y="95"/>
                    </a:cubicBezTo>
                    <a:cubicBezTo>
                      <a:pt x="163" y="91"/>
                      <a:pt x="166" y="88"/>
                      <a:pt x="169" y="86"/>
                    </a:cubicBezTo>
                    <a:cubicBezTo>
                      <a:pt x="172" y="84"/>
                      <a:pt x="173" y="83"/>
                      <a:pt x="173" y="83"/>
                    </a:cubicBezTo>
                    <a:cubicBezTo>
                      <a:pt x="174" y="83"/>
                      <a:pt x="174" y="83"/>
                      <a:pt x="174" y="83"/>
                    </a:cubicBezTo>
                    <a:cubicBezTo>
                      <a:pt x="174" y="82"/>
                      <a:pt x="174" y="82"/>
                      <a:pt x="174" y="82"/>
                    </a:cubicBezTo>
                    <a:cubicBezTo>
                      <a:pt x="174" y="81"/>
                      <a:pt x="174" y="81"/>
                      <a:pt x="174" y="81"/>
                    </a:cubicBezTo>
                    <a:cubicBezTo>
                      <a:pt x="174" y="74"/>
                      <a:pt x="176" y="69"/>
                      <a:pt x="179" y="66"/>
                    </a:cubicBezTo>
                    <a:cubicBezTo>
                      <a:pt x="182" y="64"/>
                      <a:pt x="187" y="62"/>
                      <a:pt x="190" y="62"/>
                    </a:cubicBezTo>
                    <a:cubicBezTo>
                      <a:pt x="192" y="62"/>
                      <a:pt x="193" y="63"/>
                      <a:pt x="194" y="63"/>
                    </a:cubicBezTo>
                    <a:cubicBezTo>
                      <a:pt x="197" y="64"/>
                      <a:pt x="201" y="66"/>
                      <a:pt x="203" y="69"/>
                    </a:cubicBezTo>
                    <a:cubicBezTo>
                      <a:pt x="206" y="72"/>
                      <a:pt x="208" y="77"/>
                      <a:pt x="208" y="81"/>
                    </a:cubicBezTo>
                    <a:cubicBezTo>
                      <a:pt x="208" y="84"/>
                      <a:pt x="207" y="86"/>
                      <a:pt x="206" y="89"/>
                    </a:cubicBezTo>
                    <a:cubicBezTo>
                      <a:pt x="204" y="92"/>
                      <a:pt x="202" y="95"/>
                      <a:pt x="198" y="96"/>
                    </a:cubicBezTo>
                    <a:cubicBezTo>
                      <a:pt x="195" y="98"/>
                      <a:pt x="192" y="99"/>
                      <a:pt x="188" y="99"/>
                    </a:cubicBezTo>
                    <a:cubicBezTo>
                      <a:pt x="182" y="99"/>
                      <a:pt x="175" y="96"/>
                      <a:pt x="172" y="93"/>
                    </a:cubicBezTo>
                    <a:cubicBezTo>
                      <a:pt x="168" y="89"/>
                      <a:pt x="167" y="83"/>
                      <a:pt x="167" y="77"/>
                    </a:cubicBezTo>
                    <a:cubicBezTo>
                      <a:pt x="167" y="70"/>
                      <a:pt x="169" y="62"/>
                      <a:pt x="174" y="56"/>
                    </a:cubicBezTo>
                    <a:cubicBezTo>
                      <a:pt x="179" y="50"/>
                      <a:pt x="190" y="43"/>
                      <a:pt x="201" y="43"/>
                    </a:cubicBezTo>
                    <a:cubicBezTo>
                      <a:pt x="207" y="43"/>
                      <a:pt x="213" y="45"/>
                      <a:pt x="220" y="50"/>
                    </a:cubicBezTo>
                    <a:cubicBezTo>
                      <a:pt x="229" y="57"/>
                      <a:pt x="233" y="69"/>
                      <a:pt x="233" y="82"/>
                    </a:cubicBezTo>
                    <a:cubicBezTo>
                      <a:pt x="233" y="91"/>
                      <a:pt x="230" y="101"/>
                      <a:pt x="227" y="108"/>
                    </a:cubicBezTo>
                    <a:cubicBezTo>
                      <a:pt x="224" y="115"/>
                      <a:pt x="216" y="120"/>
                      <a:pt x="208" y="123"/>
                    </a:cubicBezTo>
                    <a:cubicBezTo>
                      <a:pt x="204" y="125"/>
                      <a:pt x="200" y="126"/>
                      <a:pt x="198" y="127"/>
                    </a:cubicBezTo>
                    <a:cubicBezTo>
                      <a:pt x="196" y="127"/>
                      <a:pt x="195" y="128"/>
                      <a:pt x="195" y="128"/>
                    </a:cubicBezTo>
                    <a:cubicBezTo>
                      <a:pt x="194" y="128"/>
                      <a:pt x="194" y="128"/>
                      <a:pt x="194" y="128"/>
                    </a:cubicBezTo>
                    <a:cubicBezTo>
                      <a:pt x="193" y="128"/>
                      <a:pt x="193" y="128"/>
                      <a:pt x="193" y="128"/>
                    </a:cubicBezTo>
                    <a:cubicBezTo>
                      <a:pt x="192" y="128"/>
                      <a:pt x="192" y="128"/>
                      <a:pt x="192" y="128"/>
                    </a:cubicBezTo>
                    <a:cubicBezTo>
                      <a:pt x="192" y="129"/>
                      <a:pt x="192" y="129"/>
                      <a:pt x="192" y="129"/>
                    </a:cubicBezTo>
                    <a:cubicBezTo>
                      <a:pt x="189" y="133"/>
                      <a:pt x="185" y="137"/>
                      <a:pt x="180" y="139"/>
                    </a:cubicBezTo>
                    <a:cubicBezTo>
                      <a:pt x="175" y="141"/>
                      <a:pt x="169" y="143"/>
                      <a:pt x="164" y="143"/>
                    </a:cubicBezTo>
                    <a:cubicBezTo>
                      <a:pt x="161" y="143"/>
                      <a:pt x="158" y="142"/>
                      <a:pt x="156" y="141"/>
                    </a:cubicBezTo>
                    <a:cubicBezTo>
                      <a:pt x="151" y="140"/>
                      <a:pt x="146" y="134"/>
                      <a:pt x="143" y="129"/>
                    </a:cubicBezTo>
                    <a:cubicBezTo>
                      <a:pt x="141" y="127"/>
                      <a:pt x="140" y="124"/>
                      <a:pt x="139" y="122"/>
                    </a:cubicBezTo>
                    <a:cubicBezTo>
                      <a:pt x="138" y="122"/>
                      <a:pt x="138" y="121"/>
                      <a:pt x="138" y="120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37" y="119"/>
                      <a:pt x="137" y="119"/>
                      <a:pt x="137" y="119"/>
                    </a:cubicBezTo>
                    <a:cubicBezTo>
                      <a:pt x="137" y="119"/>
                      <a:pt x="137" y="119"/>
                      <a:pt x="137" y="119"/>
                    </a:cubicBezTo>
                    <a:cubicBezTo>
                      <a:pt x="136" y="118"/>
                      <a:pt x="136" y="118"/>
                      <a:pt x="136" y="118"/>
                    </a:cubicBezTo>
                    <a:cubicBezTo>
                      <a:pt x="136" y="118"/>
                      <a:pt x="136" y="118"/>
                      <a:pt x="136" y="118"/>
                    </a:cubicBezTo>
                    <a:cubicBezTo>
                      <a:pt x="136" y="118"/>
                      <a:pt x="130" y="116"/>
                      <a:pt x="124" y="111"/>
                    </a:cubicBezTo>
                    <a:cubicBezTo>
                      <a:pt x="118" y="106"/>
                      <a:pt x="113" y="98"/>
                      <a:pt x="113" y="86"/>
                    </a:cubicBezTo>
                    <a:cubicBezTo>
                      <a:pt x="113" y="85"/>
                      <a:pt x="113" y="84"/>
                      <a:pt x="113" y="84"/>
                    </a:cubicBezTo>
                    <a:cubicBezTo>
                      <a:pt x="114" y="70"/>
                      <a:pt x="121" y="60"/>
                      <a:pt x="128" y="54"/>
                    </a:cubicBezTo>
                    <a:cubicBezTo>
                      <a:pt x="131" y="51"/>
                      <a:pt x="135" y="49"/>
                      <a:pt x="137" y="47"/>
                    </a:cubicBezTo>
                    <a:cubicBezTo>
                      <a:pt x="138" y="46"/>
                      <a:pt x="140" y="46"/>
                      <a:pt x="140" y="46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2" y="45"/>
                      <a:pt x="142" y="45"/>
                      <a:pt x="142" y="45"/>
                    </a:cubicBezTo>
                    <a:cubicBezTo>
                      <a:pt x="143" y="44"/>
                      <a:pt x="143" y="44"/>
                      <a:pt x="143" y="44"/>
                    </a:cubicBezTo>
                    <a:cubicBezTo>
                      <a:pt x="145" y="31"/>
                      <a:pt x="151" y="21"/>
                      <a:pt x="160" y="15"/>
                    </a:cubicBezTo>
                    <a:cubicBezTo>
                      <a:pt x="168" y="8"/>
                      <a:pt x="179" y="4"/>
                      <a:pt x="190" y="4"/>
                    </a:cubicBezTo>
                    <a:cubicBezTo>
                      <a:pt x="191" y="4"/>
                      <a:pt x="191" y="4"/>
                      <a:pt x="191" y="4"/>
                    </a:cubicBezTo>
                    <a:cubicBezTo>
                      <a:pt x="201" y="4"/>
                      <a:pt x="211" y="8"/>
                      <a:pt x="218" y="12"/>
                    </a:cubicBezTo>
                    <a:cubicBezTo>
                      <a:pt x="222" y="14"/>
                      <a:pt x="224" y="16"/>
                      <a:pt x="226" y="18"/>
                    </a:cubicBezTo>
                    <a:cubicBezTo>
                      <a:pt x="227" y="19"/>
                      <a:pt x="228" y="19"/>
                      <a:pt x="229" y="20"/>
                    </a:cubicBezTo>
                    <a:cubicBezTo>
                      <a:pt x="229" y="20"/>
                      <a:pt x="229" y="20"/>
                      <a:pt x="229" y="20"/>
                    </a:cubicBezTo>
                    <a:cubicBezTo>
                      <a:pt x="229" y="20"/>
                      <a:pt x="229" y="20"/>
                      <a:pt x="229" y="20"/>
                    </a:cubicBezTo>
                    <a:cubicBezTo>
                      <a:pt x="230" y="21"/>
                      <a:pt x="230" y="21"/>
                      <a:pt x="230" y="21"/>
                    </a:cubicBezTo>
                    <a:cubicBezTo>
                      <a:pt x="231" y="21"/>
                      <a:pt x="231" y="21"/>
                      <a:pt x="231" y="21"/>
                    </a:cubicBezTo>
                    <a:cubicBezTo>
                      <a:pt x="234" y="20"/>
                      <a:pt x="236" y="20"/>
                      <a:pt x="239" y="20"/>
                    </a:cubicBezTo>
                    <a:cubicBezTo>
                      <a:pt x="254" y="20"/>
                      <a:pt x="268" y="27"/>
                      <a:pt x="276" y="37"/>
                    </a:cubicBezTo>
                    <a:cubicBezTo>
                      <a:pt x="283" y="47"/>
                      <a:pt x="288" y="60"/>
                      <a:pt x="288" y="75"/>
                    </a:cubicBezTo>
                    <a:cubicBezTo>
                      <a:pt x="288" y="78"/>
                      <a:pt x="288" y="82"/>
                      <a:pt x="287" y="85"/>
                    </a:cubicBezTo>
                    <a:cubicBezTo>
                      <a:pt x="286" y="95"/>
                      <a:pt x="281" y="103"/>
                      <a:pt x="277" y="109"/>
                    </a:cubicBezTo>
                    <a:cubicBezTo>
                      <a:pt x="274" y="111"/>
                      <a:pt x="272" y="114"/>
                      <a:pt x="270" y="115"/>
                    </a:cubicBezTo>
                    <a:cubicBezTo>
                      <a:pt x="270" y="116"/>
                      <a:pt x="269" y="116"/>
                      <a:pt x="268" y="117"/>
                    </a:cubicBezTo>
                    <a:cubicBezTo>
                      <a:pt x="268" y="117"/>
                      <a:pt x="268" y="117"/>
                      <a:pt x="268" y="117"/>
                    </a:cubicBezTo>
                    <a:cubicBezTo>
                      <a:pt x="268" y="117"/>
                      <a:pt x="268" y="117"/>
                      <a:pt x="268" y="117"/>
                    </a:cubicBezTo>
                    <a:cubicBezTo>
                      <a:pt x="267" y="118"/>
                      <a:pt x="267" y="118"/>
                      <a:pt x="267" y="118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21"/>
                      <a:pt x="266" y="129"/>
                      <a:pt x="263" y="138"/>
                    </a:cubicBezTo>
                    <a:cubicBezTo>
                      <a:pt x="259" y="146"/>
                      <a:pt x="252" y="156"/>
                      <a:pt x="240" y="162"/>
                    </a:cubicBezTo>
                    <a:cubicBezTo>
                      <a:pt x="231" y="166"/>
                      <a:pt x="222" y="167"/>
                      <a:pt x="214" y="167"/>
                    </a:cubicBezTo>
                    <a:cubicBezTo>
                      <a:pt x="205" y="167"/>
                      <a:pt x="198" y="166"/>
                      <a:pt x="192" y="165"/>
                    </a:cubicBezTo>
                    <a:cubicBezTo>
                      <a:pt x="189" y="164"/>
                      <a:pt x="187" y="163"/>
                      <a:pt x="185" y="163"/>
                    </a:cubicBezTo>
                    <a:cubicBezTo>
                      <a:pt x="185" y="162"/>
                      <a:pt x="184" y="162"/>
                      <a:pt x="184" y="162"/>
                    </a:cubicBezTo>
                    <a:cubicBezTo>
                      <a:pt x="183" y="162"/>
                      <a:pt x="183" y="162"/>
                      <a:pt x="183" y="162"/>
                    </a:cubicBezTo>
                    <a:cubicBezTo>
                      <a:pt x="181" y="161"/>
                      <a:pt x="181" y="161"/>
                      <a:pt x="181" y="161"/>
                    </a:cubicBezTo>
                    <a:cubicBezTo>
                      <a:pt x="181" y="163"/>
                      <a:pt x="181" y="163"/>
                      <a:pt x="181" y="163"/>
                    </a:cubicBezTo>
                    <a:cubicBezTo>
                      <a:pt x="179" y="165"/>
                      <a:pt x="176" y="167"/>
                      <a:pt x="172" y="168"/>
                    </a:cubicBezTo>
                    <a:cubicBezTo>
                      <a:pt x="168" y="169"/>
                      <a:pt x="163" y="170"/>
                      <a:pt x="159" y="170"/>
                    </a:cubicBezTo>
                    <a:cubicBezTo>
                      <a:pt x="155" y="170"/>
                      <a:pt x="151" y="169"/>
                      <a:pt x="150" y="169"/>
                    </a:cubicBezTo>
                    <a:cubicBezTo>
                      <a:pt x="148" y="169"/>
                      <a:pt x="145" y="167"/>
                      <a:pt x="141" y="165"/>
                    </a:cubicBezTo>
                    <a:cubicBezTo>
                      <a:pt x="140" y="164"/>
                      <a:pt x="138" y="164"/>
                      <a:pt x="136" y="163"/>
                    </a:cubicBezTo>
                    <a:cubicBezTo>
                      <a:pt x="135" y="162"/>
                      <a:pt x="133" y="162"/>
                      <a:pt x="131" y="162"/>
                    </a:cubicBezTo>
                    <a:cubicBezTo>
                      <a:pt x="130" y="162"/>
                      <a:pt x="129" y="162"/>
                      <a:pt x="128" y="163"/>
                    </a:cubicBezTo>
                    <a:cubicBezTo>
                      <a:pt x="125" y="164"/>
                      <a:pt x="121" y="167"/>
                      <a:pt x="117" y="171"/>
                    </a:cubicBezTo>
                    <a:cubicBezTo>
                      <a:pt x="113" y="175"/>
                      <a:pt x="109" y="179"/>
                      <a:pt x="107" y="182"/>
                    </a:cubicBezTo>
                    <a:cubicBezTo>
                      <a:pt x="102" y="188"/>
                      <a:pt x="89" y="203"/>
                      <a:pt x="71" y="208"/>
                    </a:cubicBezTo>
                    <a:cubicBezTo>
                      <a:pt x="65" y="209"/>
                      <a:pt x="58" y="210"/>
                      <a:pt x="51" y="210"/>
                    </a:cubicBezTo>
                    <a:cubicBezTo>
                      <a:pt x="44" y="210"/>
                      <a:pt x="37" y="209"/>
                      <a:pt x="32" y="209"/>
                    </a:cubicBezTo>
                    <a:cubicBezTo>
                      <a:pt x="30" y="208"/>
                      <a:pt x="27" y="208"/>
                      <a:pt x="26" y="208"/>
                    </a:cubicBezTo>
                    <a:cubicBezTo>
                      <a:pt x="25" y="208"/>
                      <a:pt x="24" y="207"/>
                      <a:pt x="24" y="207"/>
                    </a:cubicBezTo>
                    <a:cubicBezTo>
                      <a:pt x="23" y="207"/>
                      <a:pt x="23" y="207"/>
                      <a:pt x="23" y="207"/>
                    </a:cubicBezTo>
                    <a:cubicBezTo>
                      <a:pt x="23" y="207"/>
                      <a:pt x="23" y="207"/>
                      <a:pt x="23" y="207"/>
                    </a:cubicBezTo>
                    <a:lnTo>
                      <a:pt x="23" y="20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4" name="Freeform 19"/>
              <p:cNvSpPr>
                <a:spLocks/>
              </p:cNvSpPr>
              <p:nvPr/>
            </p:nvSpPr>
            <p:spPr bwMode="auto">
              <a:xfrm>
                <a:off x="8735120" y="1507708"/>
                <a:ext cx="360386" cy="357570"/>
              </a:xfrm>
              <a:custGeom>
                <a:avLst/>
                <a:gdLst>
                  <a:gd name="T0" fmla="*/ 56 w 108"/>
                  <a:gd name="T1" fmla="*/ 37 h 107"/>
                  <a:gd name="T2" fmla="*/ 55 w 108"/>
                  <a:gd name="T3" fmla="*/ 44 h 107"/>
                  <a:gd name="T4" fmla="*/ 48 w 108"/>
                  <a:gd name="T5" fmla="*/ 46 h 107"/>
                  <a:gd name="T6" fmla="*/ 42 w 108"/>
                  <a:gd name="T7" fmla="*/ 39 h 107"/>
                  <a:gd name="T8" fmla="*/ 57 w 108"/>
                  <a:gd name="T9" fmla="*/ 24 h 107"/>
                  <a:gd name="T10" fmla="*/ 74 w 108"/>
                  <a:gd name="T11" fmla="*/ 30 h 107"/>
                  <a:gd name="T12" fmla="*/ 79 w 108"/>
                  <a:gd name="T13" fmla="*/ 42 h 107"/>
                  <a:gd name="T14" fmla="*/ 74 w 108"/>
                  <a:gd name="T15" fmla="*/ 56 h 107"/>
                  <a:gd name="T16" fmla="*/ 56 w 108"/>
                  <a:gd name="T17" fmla="*/ 62 h 107"/>
                  <a:gd name="T18" fmla="*/ 37 w 108"/>
                  <a:gd name="T19" fmla="*/ 36 h 107"/>
                  <a:gd name="T20" fmla="*/ 52 w 108"/>
                  <a:gd name="T21" fmla="*/ 12 h 107"/>
                  <a:gd name="T22" fmla="*/ 73 w 108"/>
                  <a:gd name="T23" fmla="*/ 4 h 107"/>
                  <a:gd name="T24" fmla="*/ 104 w 108"/>
                  <a:gd name="T25" fmla="*/ 41 h 107"/>
                  <a:gd name="T26" fmla="*/ 90 w 108"/>
                  <a:gd name="T27" fmla="*/ 76 h 107"/>
                  <a:gd name="T28" fmla="*/ 63 w 108"/>
                  <a:gd name="T29" fmla="*/ 89 h 107"/>
                  <a:gd name="T30" fmla="*/ 63 w 108"/>
                  <a:gd name="T31" fmla="*/ 90 h 107"/>
                  <a:gd name="T32" fmla="*/ 40 w 108"/>
                  <a:gd name="T33" fmla="*/ 103 h 107"/>
                  <a:gd name="T34" fmla="*/ 18 w 108"/>
                  <a:gd name="T35" fmla="*/ 94 h 107"/>
                  <a:gd name="T36" fmla="*/ 8 w 108"/>
                  <a:gd name="T37" fmla="*/ 80 h 107"/>
                  <a:gd name="T38" fmla="*/ 0 w 108"/>
                  <a:gd name="T39" fmla="*/ 80 h 107"/>
                  <a:gd name="T40" fmla="*/ 7 w 108"/>
                  <a:gd name="T41" fmla="*/ 81 h 107"/>
                  <a:gd name="T42" fmla="*/ 15 w 108"/>
                  <a:gd name="T43" fmla="*/ 97 h 107"/>
                  <a:gd name="T44" fmla="*/ 40 w 108"/>
                  <a:gd name="T45" fmla="*/ 107 h 107"/>
                  <a:gd name="T46" fmla="*/ 67 w 108"/>
                  <a:gd name="T47" fmla="*/ 92 h 107"/>
                  <a:gd name="T48" fmla="*/ 65 w 108"/>
                  <a:gd name="T49" fmla="*/ 93 h 107"/>
                  <a:gd name="T50" fmla="*/ 108 w 108"/>
                  <a:gd name="T51" fmla="*/ 45 h 107"/>
                  <a:gd name="T52" fmla="*/ 96 w 108"/>
                  <a:gd name="T53" fmla="*/ 10 h 107"/>
                  <a:gd name="T54" fmla="*/ 72 w 108"/>
                  <a:gd name="T55" fmla="*/ 0 h 107"/>
                  <a:gd name="T56" fmla="*/ 35 w 108"/>
                  <a:gd name="T57" fmla="*/ 26 h 107"/>
                  <a:gd name="T58" fmla="*/ 39 w 108"/>
                  <a:gd name="T59" fmla="*/ 55 h 107"/>
                  <a:gd name="T60" fmla="*/ 59 w 108"/>
                  <a:gd name="T61" fmla="*/ 66 h 107"/>
                  <a:gd name="T62" fmla="*/ 83 w 108"/>
                  <a:gd name="T63" fmla="*/ 42 h 107"/>
                  <a:gd name="T64" fmla="*/ 83 w 108"/>
                  <a:gd name="T65" fmla="*/ 42 h 107"/>
                  <a:gd name="T66" fmla="*/ 59 w 108"/>
                  <a:gd name="T67" fmla="*/ 20 h 107"/>
                  <a:gd name="T68" fmla="*/ 43 w 108"/>
                  <a:gd name="T69" fmla="*/ 26 h 107"/>
                  <a:gd name="T70" fmla="*/ 41 w 108"/>
                  <a:gd name="T71" fmla="*/ 46 h 107"/>
                  <a:gd name="T72" fmla="*/ 50 w 108"/>
                  <a:gd name="T73" fmla="*/ 50 h 107"/>
                  <a:gd name="T74" fmla="*/ 60 w 108"/>
                  <a:gd name="T75" fmla="*/ 41 h 107"/>
                  <a:gd name="T76" fmla="*/ 56 w 108"/>
                  <a:gd name="T77" fmla="*/ 3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8" h="107">
                    <a:moveTo>
                      <a:pt x="56" y="37"/>
                    </a:move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8"/>
                      <a:pt x="56" y="39"/>
                      <a:pt x="56" y="41"/>
                    </a:cubicBezTo>
                    <a:cubicBezTo>
                      <a:pt x="56" y="42"/>
                      <a:pt x="56" y="44"/>
                      <a:pt x="55" y="44"/>
                    </a:cubicBezTo>
                    <a:cubicBezTo>
                      <a:pt x="55" y="45"/>
                      <a:pt x="53" y="46"/>
                      <a:pt x="50" y="46"/>
                    </a:cubicBezTo>
                    <a:cubicBezTo>
                      <a:pt x="50" y="46"/>
                      <a:pt x="49" y="46"/>
                      <a:pt x="48" y="46"/>
                    </a:cubicBezTo>
                    <a:cubicBezTo>
                      <a:pt x="46" y="46"/>
                      <a:pt x="45" y="45"/>
                      <a:pt x="44" y="44"/>
                    </a:cubicBezTo>
                    <a:cubicBezTo>
                      <a:pt x="43" y="42"/>
                      <a:pt x="42" y="41"/>
                      <a:pt x="42" y="39"/>
                    </a:cubicBezTo>
                    <a:cubicBezTo>
                      <a:pt x="42" y="36"/>
                      <a:pt x="44" y="32"/>
                      <a:pt x="46" y="29"/>
                    </a:cubicBezTo>
                    <a:cubicBezTo>
                      <a:pt x="49" y="26"/>
                      <a:pt x="52" y="24"/>
                      <a:pt x="57" y="24"/>
                    </a:cubicBezTo>
                    <a:cubicBezTo>
                      <a:pt x="57" y="24"/>
                      <a:pt x="58" y="24"/>
                      <a:pt x="58" y="24"/>
                    </a:cubicBezTo>
                    <a:cubicBezTo>
                      <a:pt x="66" y="25"/>
                      <a:pt x="71" y="27"/>
                      <a:pt x="74" y="30"/>
                    </a:cubicBezTo>
                    <a:cubicBezTo>
                      <a:pt x="77" y="33"/>
                      <a:pt x="78" y="37"/>
                      <a:pt x="79" y="4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8" y="47"/>
                      <a:pt x="77" y="52"/>
                      <a:pt x="74" y="56"/>
                    </a:cubicBezTo>
                    <a:cubicBezTo>
                      <a:pt x="70" y="59"/>
                      <a:pt x="66" y="62"/>
                      <a:pt x="59" y="62"/>
                    </a:cubicBezTo>
                    <a:cubicBezTo>
                      <a:pt x="58" y="62"/>
                      <a:pt x="57" y="62"/>
                      <a:pt x="56" y="62"/>
                    </a:cubicBezTo>
                    <a:cubicBezTo>
                      <a:pt x="50" y="61"/>
                      <a:pt x="45" y="57"/>
                      <a:pt x="42" y="52"/>
                    </a:cubicBezTo>
                    <a:cubicBezTo>
                      <a:pt x="39" y="48"/>
                      <a:pt x="37" y="41"/>
                      <a:pt x="37" y="36"/>
                    </a:cubicBezTo>
                    <a:cubicBezTo>
                      <a:pt x="37" y="33"/>
                      <a:pt x="38" y="30"/>
                      <a:pt x="39" y="28"/>
                    </a:cubicBezTo>
                    <a:cubicBezTo>
                      <a:pt x="42" y="23"/>
                      <a:pt x="46" y="17"/>
                      <a:pt x="52" y="12"/>
                    </a:cubicBezTo>
                    <a:cubicBezTo>
                      <a:pt x="57" y="7"/>
                      <a:pt x="64" y="4"/>
                      <a:pt x="72" y="4"/>
                    </a:cubicBezTo>
                    <a:cubicBezTo>
                      <a:pt x="73" y="4"/>
                      <a:pt x="73" y="4"/>
                      <a:pt x="73" y="4"/>
                    </a:cubicBezTo>
                    <a:cubicBezTo>
                      <a:pt x="81" y="4"/>
                      <a:pt x="88" y="7"/>
                      <a:pt x="93" y="12"/>
                    </a:cubicBezTo>
                    <a:cubicBezTo>
                      <a:pt x="98" y="18"/>
                      <a:pt x="102" y="27"/>
                      <a:pt x="104" y="41"/>
                    </a:cubicBezTo>
                    <a:cubicBezTo>
                      <a:pt x="104" y="42"/>
                      <a:pt x="104" y="44"/>
                      <a:pt x="104" y="45"/>
                    </a:cubicBezTo>
                    <a:cubicBezTo>
                      <a:pt x="104" y="57"/>
                      <a:pt x="98" y="68"/>
                      <a:pt x="90" y="76"/>
                    </a:cubicBezTo>
                    <a:cubicBezTo>
                      <a:pt x="83" y="84"/>
                      <a:pt x="73" y="89"/>
                      <a:pt x="65" y="89"/>
                    </a:cubicBezTo>
                    <a:cubicBezTo>
                      <a:pt x="63" y="89"/>
                      <a:pt x="63" y="89"/>
                      <a:pt x="63" y="89"/>
                    </a:cubicBezTo>
                    <a:cubicBezTo>
                      <a:pt x="63" y="90"/>
                      <a:pt x="63" y="90"/>
                      <a:pt x="63" y="90"/>
                    </a:cubicBezTo>
                    <a:cubicBezTo>
                      <a:pt x="63" y="90"/>
                      <a:pt x="63" y="90"/>
                      <a:pt x="63" y="90"/>
                    </a:cubicBezTo>
                    <a:cubicBezTo>
                      <a:pt x="63" y="90"/>
                      <a:pt x="61" y="93"/>
                      <a:pt x="58" y="97"/>
                    </a:cubicBezTo>
                    <a:cubicBezTo>
                      <a:pt x="54" y="100"/>
                      <a:pt x="49" y="103"/>
                      <a:pt x="40" y="103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30" y="103"/>
                      <a:pt x="23" y="99"/>
                      <a:pt x="18" y="94"/>
                    </a:cubicBezTo>
                    <a:cubicBezTo>
                      <a:pt x="13" y="90"/>
                      <a:pt x="9" y="84"/>
                      <a:pt x="9" y="81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6" y="83"/>
                      <a:pt x="6" y="83"/>
                      <a:pt x="6" y="83"/>
                    </a:cubicBezTo>
                    <a:cubicBezTo>
                      <a:pt x="7" y="81"/>
                      <a:pt x="7" y="81"/>
                      <a:pt x="7" y="81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6" y="86"/>
                      <a:pt x="9" y="92"/>
                      <a:pt x="15" y="97"/>
                    </a:cubicBezTo>
                    <a:cubicBezTo>
                      <a:pt x="21" y="103"/>
                      <a:pt x="29" y="107"/>
                      <a:pt x="39" y="107"/>
                    </a:cubicBezTo>
                    <a:cubicBezTo>
                      <a:pt x="39" y="107"/>
                      <a:pt x="39" y="107"/>
                      <a:pt x="40" y="107"/>
                    </a:cubicBezTo>
                    <a:cubicBezTo>
                      <a:pt x="50" y="107"/>
                      <a:pt x="57" y="103"/>
                      <a:pt x="61" y="99"/>
                    </a:cubicBezTo>
                    <a:cubicBezTo>
                      <a:pt x="65" y="95"/>
                      <a:pt x="67" y="92"/>
                      <a:pt x="67" y="92"/>
                    </a:cubicBezTo>
                    <a:cubicBezTo>
                      <a:pt x="65" y="91"/>
                      <a:pt x="65" y="91"/>
                      <a:pt x="65" y="91"/>
                    </a:cubicBezTo>
                    <a:cubicBezTo>
                      <a:pt x="65" y="93"/>
                      <a:pt x="65" y="93"/>
                      <a:pt x="65" y="93"/>
                    </a:cubicBezTo>
                    <a:cubicBezTo>
                      <a:pt x="74" y="93"/>
                      <a:pt x="85" y="87"/>
                      <a:pt x="93" y="79"/>
                    </a:cubicBezTo>
                    <a:cubicBezTo>
                      <a:pt x="102" y="71"/>
                      <a:pt x="108" y="59"/>
                      <a:pt x="108" y="45"/>
                    </a:cubicBezTo>
                    <a:cubicBezTo>
                      <a:pt x="108" y="44"/>
                      <a:pt x="108" y="42"/>
                      <a:pt x="108" y="40"/>
                    </a:cubicBezTo>
                    <a:cubicBezTo>
                      <a:pt x="106" y="26"/>
                      <a:pt x="102" y="16"/>
                      <a:pt x="96" y="10"/>
                    </a:cubicBezTo>
                    <a:cubicBezTo>
                      <a:pt x="90" y="3"/>
                      <a:pt x="82" y="0"/>
                      <a:pt x="73" y="0"/>
                    </a:cubicBezTo>
                    <a:cubicBezTo>
                      <a:pt x="73" y="0"/>
                      <a:pt x="72" y="0"/>
                      <a:pt x="72" y="0"/>
                    </a:cubicBezTo>
                    <a:cubicBezTo>
                      <a:pt x="63" y="0"/>
                      <a:pt x="55" y="4"/>
                      <a:pt x="49" y="9"/>
                    </a:cubicBezTo>
                    <a:cubicBezTo>
                      <a:pt x="43" y="14"/>
                      <a:pt x="38" y="20"/>
                      <a:pt x="35" y="26"/>
                    </a:cubicBezTo>
                    <a:cubicBezTo>
                      <a:pt x="34" y="29"/>
                      <a:pt x="33" y="32"/>
                      <a:pt x="33" y="36"/>
                    </a:cubicBezTo>
                    <a:cubicBezTo>
                      <a:pt x="33" y="42"/>
                      <a:pt x="35" y="49"/>
                      <a:pt x="39" y="55"/>
                    </a:cubicBezTo>
                    <a:cubicBezTo>
                      <a:pt x="42" y="60"/>
                      <a:pt x="48" y="65"/>
                      <a:pt x="55" y="66"/>
                    </a:cubicBezTo>
                    <a:cubicBezTo>
                      <a:pt x="56" y="66"/>
                      <a:pt x="58" y="66"/>
                      <a:pt x="59" y="66"/>
                    </a:cubicBezTo>
                    <a:cubicBezTo>
                      <a:pt x="67" y="66"/>
                      <a:pt x="73" y="63"/>
                      <a:pt x="77" y="58"/>
                    </a:cubicBezTo>
                    <a:cubicBezTo>
                      <a:pt x="81" y="54"/>
                      <a:pt x="82" y="48"/>
                      <a:pt x="83" y="42"/>
                    </a:cubicBezTo>
                    <a:cubicBezTo>
                      <a:pt x="83" y="42"/>
                      <a:pt x="83" y="42"/>
                      <a:pt x="83" y="42"/>
                    </a:cubicBezTo>
                    <a:cubicBezTo>
                      <a:pt x="83" y="42"/>
                      <a:pt x="83" y="42"/>
                      <a:pt x="83" y="42"/>
                    </a:cubicBezTo>
                    <a:cubicBezTo>
                      <a:pt x="83" y="36"/>
                      <a:pt x="81" y="31"/>
                      <a:pt x="77" y="27"/>
                    </a:cubicBezTo>
                    <a:cubicBezTo>
                      <a:pt x="73" y="23"/>
                      <a:pt x="67" y="21"/>
                      <a:pt x="59" y="20"/>
                    </a:cubicBezTo>
                    <a:cubicBezTo>
                      <a:pt x="58" y="20"/>
                      <a:pt x="57" y="20"/>
                      <a:pt x="57" y="20"/>
                    </a:cubicBezTo>
                    <a:cubicBezTo>
                      <a:pt x="51" y="20"/>
                      <a:pt x="46" y="22"/>
                      <a:pt x="43" y="26"/>
                    </a:cubicBezTo>
                    <a:cubicBezTo>
                      <a:pt x="40" y="30"/>
                      <a:pt x="38" y="35"/>
                      <a:pt x="38" y="39"/>
                    </a:cubicBezTo>
                    <a:cubicBezTo>
                      <a:pt x="38" y="41"/>
                      <a:pt x="39" y="44"/>
                      <a:pt x="41" y="46"/>
                    </a:cubicBezTo>
                    <a:cubicBezTo>
                      <a:pt x="42" y="48"/>
                      <a:pt x="45" y="49"/>
                      <a:pt x="48" y="50"/>
                    </a:cubicBezTo>
                    <a:cubicBezTo>
                      <a:pt x="49" y="50"/>
                      <a:pt x="50" y="50"/>
                      <a:pt x="50" y="50"/>
                    </a:cubicBezTo>
                    <a:cubicBezTo>
                      <a:pt x="54" y="50"/>
                      <a:pt x="57" y="49"/>
                      <a:pt x="58" y="47"/>
                    </a:cubicBezTo>
                    <a:cubicBezTo>
                      <a:pt x="60" y="45"/>
                      <a:pt x="60" y="43"/>
                      <a:pt x="60" y="41"/>
                    </a:cubicBezTo>
                    <a:cubicBezTo>
                      <a:pt x="60" y="38"/>
                      <a:pt x="60" y="36"/>
                      <a:pt x="59" y="36"/>
                    </a:cubicBezTo>
                    <a:lnTo>
                      <a:pt x="56" y="3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65" name="组合 64"/>
            <p:cNvGrpSpPr/>
            <p:nvPr/>
          </p:nvGrpSpPr>
          <p:grpSpPr>
            <a:xfrm>
              <a:off x="8578216" y="2490005"/>
              <a:ext cx="974168" cy="764412"/>
              <a:chOff x="8304347" y="1378194"/>
              <a:chExt cx="974168" cy="764412"/>
            </a:xfrm>
          </p:grpSpPr>
          <p:sp>
            <p:nvSpPr>
              <p:cNvPr id="66" name="Freeform 17"/>
              <p:cNvSpPr>
                <a:spLocks/>
              </p:cNvSpPr>
              <p:nvPr/>
            </p:nvSpPr>
            <p:spPr bwMode="auto">
              <a:xfrm>
                <a:off x="8304347" y="1378194"/>
                <a:ext cx="974168" cy="764412"/>
              </a:xfrm>
              <a:custGeom>
                <a:avLst/>
                <a:gdLst>
                  <a:gd name="T0" fmla="*/ 72 w 292"/>
                  <a:gd name="T1" fmla="*/ 211 h 229"/>
                  <a:gd name="T2" fmla="*/ 130 w 292"/>
                  <a:gd name="T3" fmla="*/ 166 h 229"/>
                  <a:gd name="T4" fmla="*/ 149 w 292"/>
                  <a:gd name="T5" fmla="*/ 173 h 229"/>
                  <a:gd name="T6" fmla="*/ 182 w 292"/>
                  <a:gd name="T7" fmla="*/ 164 h 229"/>
                  <a:gd name="T8" fmla="*/ 267 w 292"/>
                  <a:gd name="T9" fmla="*/ 137 h 229"/>
                  <a:gd name="T10" fmla="*/ 280 w 292"/>
                  <a:gd name="T11" fmla="*/ 111 h 229"/>
                  <a:gd name="T12" fmla="*/ 239 w 292"/>
                  <a:gd name="T13" fmla="*/ 16 h 229"/>
                  <a:gd name="T14" fmla="*/ 191 w 292"/>
                  <a:gd name="T15" fmla="*/ 0 h 229"/>
                  <a:gd name="T16" fmla="*/ 141 w 292"/>
                  <a:gd name="T17" fmla="*/ 43 h 229"/>
                  <a:gd name="T18" fmla="*/ 109 w 292"/>
                  <a:gd name="T19" fmla="*/ 86 h 229"/>
                  <a:gd name="T20" fmla="*/ 134 w 292"/>
                  <a:gd name="T21" fmla="*/ 121 h 229"/>
                  <a:gd name="T22" fmla="*/ 182 w 292"/>
                  <a:gd name="T23" fmla="*/ 143 h 229"/>
                  <a:gd name="T24" fmla="*/ 210 w 292"/>
                  <a:gd name="T25" fmla="*/ 127 h 229"/>
                  <a:gd name="T26" fmla="*/ 201 w 292"/>
                  <a:gd name="T27" fmla="*/ 39 h 229"/>
                  <a:gd name="T28" fmla="*/ 188 w 292"/>
                  <a:gd name="T29" fmla="*/ 103 h 229"/>
                  <a:gd name="T30" fmla="*/ 206 w 292"/>
                  <a:gd name="T31" fmla="*/ 67 h 229"/>
                  <a:gd name="T32" fmla="*/ 170 w 292"/>
                  <a:gd name="T33" fmla="*/ 81 h 229"/>
                  <a:gd name="T34" fmla="*/ 147 w 292"/>
                  <a:gd name="T35" fmla="*/ 99 h 229"/>
                  <a:gd name="T36" fmla="*/ 102 w 292"/>
                  <a:gd name="T37" fmla="*/ 161 h 229"/>
                  <a:gd name="T38" fmla="*/ 13 w 292"/>
                  <a:gd name="T39" fmla="*/ 201 h 229"/>
                  <a:gd name="T40" fmla="*/ 5 w 292"/>
                  <a:gd name="T41" fmla="*/ 219 h 229"/>
                  <a:gd name="T42" fmla="*/ 6 w 292"/>
                  <a:gd name="T43" fmla="*/ 219 h 229"/>
                  <a:gd name="T44" fmla="*/ 23 w 292"/>
                  <a:gd name="T45" fmla="*/ 209 h 229"/>
                  <a:gd name="T46" fmla="*/ 6 w 292"/>
                  <a:gd name="T47" fmla="*/ 219 h 229"/>
                  <a:gd name="T48" fmla="*/ 88 w 292"/>
                  <a:gd name="T49" fmla="*/ 184 h 229"/>
                  <a:gd name="T50" fmla="*/ 132 w 292"/>
                  <a:gd name="T51" fmla="*/ 118 h 229"/>
                  <a:gd name="T52" fmla="*/ 174 w 292"/>
                  <a:gd name="T53" fmla="*/ 83 h 229"/>
                  <a:gd name="T54" fmla="*/ 190 w 292"/>
                  <a:gd name="T55" fmla="*/ 62 h 229"/>
                  <a:gd name="T56" fmla="*/ 206 w 292"/>
                  <a:gd name="T57" fmla="*/ 89 h 229"/>
                  <a:gd name="T58" fmla="*/ 167 w 292"/>
                  <a:gd name="T59" fmla="*/ 77 h 229"/>
                  <a:gd name="T60" fmla="*/ 233 w 292"/>
                  <a:gd name="T61" fmla="*/ 82 h 229"/>
                  <a:gd name="T62" fmla="*/ 195 w 292"/>
                  <a:gd name="T63" fmla="*/ 128 h 229"/>
                  <a:gd name="T64" fmla="*/ 192 w 292"/>
                  <a:gd name="T65" fmla="*/ 129 h 229"/>
                  <a:gd name="T66" fmla="*/ 143 w 292"/>
                  <a:gd name="T67" fmla="*/ 129 h 229"/>
                  <a:gd name="T68" fmla="*/ 137 w 292"/>
                  <a:gd name="T69" fmla="*/ 119 h 229"/>
                  <a:gd name="T70" fmla="*/ 124 w 292"/>
                  <a:gd name="T71" fmla="*/ 111 h 229"/>
                  <a:gd name="T72" fmla="*/ 137 w 292"/>
                  <a:gd name="T73" fmla="*/ 47 h 229"/>
                  <a:gd name="T74" fmla="*/ 142 w 292"/>
                  <a:gd name="T75" fmla="*/ 45 h 229"/>
                  <a:gd name="T76" fmla="*/ 191 w 292"/>
                  <a:gd name="T77" fmla="*/ 4 h 229"/>
                  <a:gd name="T78" fmla="*/ 229 w 292"/>
                  <a:gd name="T79" fmla="*/ 20 h 229"/>
                  <a:gd name="T80" fmla="*/ 239 w 292"/>
                  <a:gd name="T81" fmla="*/ 20 h 229"/>
                  <a:gd name="T82" fmla="*/ 277 w 292"/>
                  <a:gd name="T83" fmla="*/ 109 h 229"/>
                  <a:gd name="T84" fmla="*/ 268 w 292"/>
                  <a:gd name="T85" fmla="*/ 117 h 229"/>
                  <a:gd name="T86" fmla="*/ 263 w 292"/>
                  <a:gd name="T87" fmla="*/ 138 h 229"/>
                  <a:gd name="T88" fmla="*/ 185 w 292"/>
                  <a:gd name="T89" fmla="*/ 163 h 229"/>
                  <a:gd name="T90" fmla="*/ 181 w 292"/>
                  <a:gd name="T91" fmla="*/ 163 h 229"/>
                  <a:gd name="T92" fmla="*/ 141 w 292"/>
                  <a:gd name="T93" fmla="*/ 165 h 229"/>
                  <a:gd name="T94" fmla="*/ 117 w 292"/>
                  <a:gd name="T95" fmla="*/ 171 h 229"/>
                  <a:gd name="T96" fmla="*/ 32 w 292"/>
                  <a:gd name="T97" fmla="*/ 209 h 229"/>
                  <a:gd name="T98" fmla="*/ 23 w 292"/>
                  <a:gd name="T99" fmla="*/ 207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292" h="229">
                    <a:moveTo>
                      <a:pt x="23" y="209"/>
                    </a:moveTo>
                    <a:cubicBezTo>
                      <a:pt x="23" y="211"/>
                      <a:pt x="23" y="211"/>
                      <a:pt x="23" y="211"/>
                    </a:cubicBezTo>
                    <a:cubicBezTo>
                      <a:pt x="23" y="211"/>
                      <a:pt x="36" y="214"/>
                      <a:pt x="51" y="214"/>
                    </a:cubicBezTo>
                    <a:cubicBezTo>
                      <a:pt x="58" y="214"/>
                      <a:pt x="66" y="213"/>
                      <a:pt x="72" y="211"/>
                    </a:cubicBezTo>
                    <a:cubicBezTo>
                      <a:pt x="92" y="206"/>
                      <a:pt x="105" y="191"/>
                      <a:pt x="110" y="185"/>
                    </a:cubicBezTo>
                    <a:cubicBezTo>
                      <a:pt x="112" y="181"/>
                      <a:pt x="117" y="177"/>
                      <a:pt x="121" y="173"/>
                    </a:cubicBezTo>
                    <a:cubicBezTo>
                      <a:pt x="123" y="171"/>
                      <a:pt x="126" y="169"/>
                      <a:pt x="127" y="168"/>
                    </a:cubicBezTo>
                    <a:cubicBezTo>
                      <a:pt x="128" y="167"/>
                      <a:pt x="129" y="166"/>
                      <a:pt x="130" y="166"/>
                    </a:cubicBezTo>
                    <a:cubicBezTo>
                      <a:pt x="131" y="166"/>
                      <a:pt x="131" y="166"/>
                      <a:pt x="131" y="166"/>
                    </a:cubicBezTo>
                    <a:cubicBezTo>
                      <a:pt x="132" y="166"/>
                      <a:pt x="133" y="166"/>
                      <a:pt x="135" y="167"/>
                    </a:cubicBezTo>
                    <a:cubicBezTo>
                      <a:pt x="137" y="167"/>
                      <a:pt x="140" y="169"/>
                      <a:pt x="142" y="170"/>
                    </a:cubicBezTo>
                    <a:cubicBezTo>
                      <a:pt x="145" y="171"/>
                      <a:pt x="147" y="172"/>
                      <a:pt x="149" y="173"/>
                    </a:cubicBezTo>
                    <a:cubicBezTo>
                      <a:pt x="151" y="173"/>
                      <a:pt x="155" y="174"/>
                      <a:pt x="159" y="174"/>
                    </a:cubicBezTo>
                    <a:cubicBezTo>
                      <a:pt x="163" y="174"/>
                      <a:pt x="168" y="173"/>
                      <a:pt x="173" y="172"/>
                    </a:cubicBezTo>
                    <a:cubicBezTo>
                      <a:pt x="177" y="171"/>
                      <a:pt x="182" y="169"/>
                      <a:pt x="184" y="165"/>
                    </a:cubicBezTo>
                    <a:cubicBezTo>
                      <a:pt x="182" y="164"/>
                      <a:pt x="182" y="164"/>
                      <a:pt x="182" y="164"/>
                    </a:cubicBezTo>
                    <a:cubicBezTo>
                      <a:pt x="181" y="166"/>
                      <a:pt x="181" y="166"/>
                      <a:pt x="181" y="166"/>
                    </a:cubicBezTo>
                    <a:cubicBezTo>
                      <a:pt x="182" y="166"/>
                      <a:pt x="196" y="171"/>
                      <a:pt x="214" y="171"/>
                    </a:cubicBezTo>
                    <a:cubicBezTo>
                      <a:pt x="223" y="171"/>
                      <a:pt x="232" y="170"/>
                      <a:pt x="242" y="166"/>
                    </a:cubicBezTo>
                    <a:cubicBezTo>
                      <a:pt x="256" y="159"/>
                      <a:pt x="263" y="147"/>
                      <a:pt x="267" y="137"/>
                    </a:cubicBezTo>
                    <a:cubicBezTo>
                      <a:pt x="271" y="127"/>
                      <a:pt x="271" y="119"/>
                      <a:pt x="271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70" y="120"/>
                      <a:pt x="275" y="117"/>
                      <a:pt x="280" y="111"/>
                    </a:cubicBezTo>
                    <a:cubicBezTo>
                      <a:pt x="284" y="105"/>
                      <a:pt x="290" y="97"/>
                      <a:pt x="291" y="86"/>
                    </a:cubicBezTo>
                    <a:cubicBezTo>
                      <a:pt x="292" y="82"/>
                      <a:pt x="292" y="78"/>
                      <a:pt x="292" y="75"/>
                    </a:cubicBezTo>
                    <a:cubicBezTo>
                      <a:pt x="292" y="59"/>
                      <a:pt x="287" y="45"/>
                      <a:pt x="279" y="35"/>
                    </a:cubicBezTo>
                    <a:cubicBezTo>
                      <a:pt x="271" y="24"/>
                      <a:pt x="255" y="16"/>
                      <a:pt x="239" y="16"/>
                    </a:cubicBezTo>
                    <a:cubicBezTo>
                      <a:pt x="236" y="16"/>
                      <a:pt x="233" y="16"/>
                      <a:pt x="230" y="17"/>
                    </a:cubicBezTo>
                    <a:cubicBezTo>
                      <a:pt x="231" y="19"/>
                      <a:pt x="231" y="19"/>
                      <a:pt x="231" y="19"/>
                    </a:cubicBezTo>
                    <a:cubicBezTo>
                      <a:pt x="232" y="17"/>
                      <a:pt x="232" y="17"/>
                      <a:pt x="232" y="17"/>
                    </a:cubicBezTo>
                    <a:cubicBezTo>
                      <a:pt x="232" y="17"/>
                      <a:pt x="214" y="0"/>
                      <a:pt x="191" y="0"/>
                    </a:cubicBezTo>
                    <a:cubicBezTo>
                      <a:pt x="190" y="0"/>
                      <a:pt x="190" y="0"/>
                      <a:pt x="190" y="0"/>
                    </a:cubicBezTo>
                    <a:cubicBezTo>
                      <a:pt x="178" y="0"/>
                      <a:pt x="167" y="4"/>
                      <a:pt x="157" y="11"/>
                    </a:cubicBezTo>
                    <a:cubicBezTo>
                      <a:pt x="148" y="19"/>
                      <a:pt x="141" y="29"/>
                      <a:pt x="139" y="43"/>
                    </a:cubicBezTo>
                    <a:cubicBezTo>
                      <a:pt x="141" y="43"/>
                      <a:pt x="141" y="43"/>
                      <a:pt x="141" y="43"/>
                    </a:cubicBezTo>
                    <a:cubicBezTo>
                      <a:pt x="140" y="41"/>
                      <a:pt x="140" y="41"/>
                      <a:pt x="140" y="41"/>
                    </a:cubicBezTo>
                    <a:cubicBezTo>
                      <a:pt x="140" y="41"/>
                      <a:pt x="132" y="44"/>
                      <a:pt x="125" y="51"/>
                    </a:cubicBezTo>
                    <a:cubicBezTo>
                      <a:pt x="117" y="58"/>
                      <a:pt x="110" y="68"/>
                      <a:pt x="109" y="83"/>
                    </a:cubicBezTo>
                    <a:cubicBezTo>
                      <a:pt x="109" y="84"/>
                      <a:pt x="109" y="85"/>
                      <a:pt x="109" y="86"/>
                    </a:cubicBezTo>
                    <a:cubicBezTo>
                      <a:pt x="109" y="100"/>
                      <a:pt x="116" y="109"/>
                      <a:pt x="122" y="115"/>
                    </a:cubicBezTo>
                    <a:cubicBezTo>
                      <a:pt x="128" y="120"/>
                      <a:pt x="135" y="122"/>
                      <a:pt x="135" y="122"/>
                    </a:cubicBezTo>
                    <a:cubicBezTo>
                      <a:pt x="136" y="120"/>
                      <a:pt x="136" y="120"/>
                      <a:pt x="136" y="120"/>
                    </a:cubicBezTo>
                    <a:cubicBezTo>
                      <a:pt x="134" y="121"/>
                      <a:pt x="134" y="121"/>
                      <a:pt x="134" y="121"/>
                    </a:cubicBezTo>
                    <a:cubicBezTo>
                      <a:pt x="134" y="121"/>
                      <a:pt x="136" y="126"/>
                      <a:pt x="139" y="131"/>
                    </a:cubicBezTo>
                    <a:cubicBezTo>
                      <a:pt x="143" y="137"/>
                      <a:pt x="148" y="143"/>
                      <a:pt x="155" y="145"/>
                    </a:cubicBezTo>
                    <a:cubicBezTo>
                      <a:pt x="158" y="146"/>
                      <a:pt x="161" y="147"/>
                      <a:pt x="164" y="147"/>
                    </a:cubicBezTo>
                    <a:cubicBezTo>
                      <a:pt x="170" y="147"/>
                      <a:pt x="176" y="145"/>
                      <a:pt x="182" y="143"/>
                    </a:cubicBezTo>
                    <a:cubicBezTo>
                      <a:pt x="187" y="140"/>
                      <a:pt x="192" y="136"/>
                      <a:pt x="195" y="131"/>
                    </a:cubicBezTo>
                    <a:cubicBezTo>
                      <a:pt x="194" y="130"/>
                      <a:pt x="194" y="130"/>
                      <a:pt x="194" y="130"/>
                    </a:cubicBezTo>
                    <a:cubicBezTo>
                      <a:pt x="194" y="132"/>
                      <a:pt x="194" y="132"/>
                      <a:pt x="194" y="132"/>
                    </a:cubicBezTo>
                    <a:cubicBezTo>
                      <a:pt x="194" y="132"/>
                      <a:pt x="201" y="130"/>
                      <a:pt x="210" y="127"/>
                    </a:cubicBezTo>
                    <a:cubicBezTo>
                      <a:pt x="218" y="124"/>
                      <a:pt x="227" y="118"/>
                      <a:pt x="231" y="109"/>
                    </a:cubicBezTo>
                    <a:cubicBezTo>
                      <a:pt x="234" y="102"/>
                      <a:pt x="237" y="92"/>
                      <a:pt x="237" y="82"/>
                    </a:cubicBezTo>
                    <a:cubicBezTo>
                      <a:pt x="237" y="69"/>
                      <a:pt x="233" y="55"/>
                      <a:pt x="222" y="47"/>
                    </a:cubicBezTo>
                    <a:cubicBezTo>
                      <a:pt x="215" y="41"/>
                      <a:pt x="208" y="39"/>
                      <a:pt x="201" y="39"/>
                    </a:cubicBezTo>
                    <a:cubicBezTo>
                      <a:pt x="188" y="39"/>
                      <a:pt x="177" y="46"/>
                      <a:pt x="170" y="54"/>
                    </a:cubicBezTo>
                    <a:cubicBezTo>
                      <a:pt x="165" y="60"/>
                      <a:pt x="163" y="69"/>
                      <a:pt x="163" y="77"/>
                    </a:cubicBezTo>
                    <a:cubicBezTo>
                      <a:pt x="163" y="84"/>
                      <a:pt x="164" y="91"/>
                      <a:pt x="169" y="96"/>
                    </a:cubicBezTo>
                    <a:cubicBezTo>
                      <a:pt x="174" y="100"/>
                      <a:pt x="181" y="103"/>
                      <a:pt x="188" y="103"/>
                    </a:cubicBezTo>
                    <a:cubicBezTo>
                      <a:pt x="192" y="103"/>
                      <a:pt x="197" y="102"/>
                      <a:pt x="200" y="100"/>
                    </a:cubicBezTo>
                    <a:cubicBezTo>
                      <a:pt x="204" y="98"/>
                      <a:pt x="207" y="95"/>
                      <a:pt x="209" y="91"/>
                    </a:cubicBezTo>
                    <a:cubicBezTo>
                      <a:pt x="211" y="88"/>
                      <a:pt x="212" y="84"/>
                      <a:pt x="212" y="81"/>
                    </a:cubicBezTo>
                    <a:cubicBezTo>
                      <a:pt x="212" y="76"/>
                      <a:pt x="209" y="70"/>
                      <a:pt x="206" y="67"/>
                    </a:cubicBezTo>
                    <a:cubicBezTo>
                      <a:pt x="203" y="63"/>
                      <a:pt x="199" y="60"/>
                      <a:pt x="195" y="59"/>
                    </a:cubicBezTo>
                    <a:cubicBezTo>
                      <a:pt x="194" y="59"/>
                      <a:pt x="192" y="58"/>
                      <a:pt x="190" y="58"/>
                    </a:cubicBezTo>
                    <a:cubicBezTo>
                      <a:pt x="186" y="58"/>
                      <a:pt x="181" y="60"/>
                      <a:pt x="177" y="64"/>
                    </a:cubicBezTo>
                    <a:cubicBezTo>
                      <a:pt x="173" y="67"/>
                      <a:pt x="170" y="73"/>
                      <a:pt x="170" y="81"/>
                    </a:cubicBezTo>
                    <a:cubicBezTo>
                      <a:pt x="170" y="81"/>
                      <a:pt x="170" y="81"/>
                      <a:pt x="170" y="82"/>
                    </a:cubicBezTo>
                    <a:cubicBezTo>
                      <a:pt x="172" y="82"/>
                      <a:pt x="172" y="82"/>
                      <a:pt x="172" y="82"/>
                    </a:cubicBezTo>
                    <a:cubicBezTo>
                      <a:pt x="171" y="80"/>
                      <a:pt x="171" y="80"/>
                      <a:pt x="171" y="80"/>
                    </a:cubicBezTo>
                    <a:cubicBezTo>
                      <a:pt x="171" y="80"/>
                      <a:pt x="159" y="88"/>
                      <a:pt x="147" y="99"/>
                    </a:cubicBezTo>
                    <a:cubicBezTo>
                      <a:pt x="141" y="104"/>
                      <a:pt x="134" y="109"/>
                      <a:pt x="129" y="115"/>
                    </a:cubicBezTo>
                    <a:cubicBezTo>
                      <a:pt x="124" y="120"/>
                      <a:pt x="120" y="125"/>
                      <a:pt x="118" y="130"/>
                    </a:cubicBezTo>
                    <a:cubicBezTo>
                      <a:pt x="114" y="138"/>
                      <a:pt x="113" y="142"/>
                      <a:pt x="112" y="145"/>
                    </a:cubicBezTo>
                    <a:cubicBezTo>
                      <a:pt x="111" y="149"/>
                      <a:pt x="109" y="153"/>
                      <a:pt x="102" y="161"/>
                    </a:cubicBezTo>
                    <a:cubicBezTo>
                      <a:pt x="95" y="170"/>
                      <a:pt x="91" y="176"/>
                      <a:pt x="85" y="181"/>
                    </a:cubicBezTo>
                    <a:cubicBezTo>
                      <a:pt x="80" y="185"/>
                      <a:pt x="74" y="188"/>
                      <a:pt x="65" y="189"/>
                    </a:cubicBezTo>
                    <a:cubicBezTo>
                      <a:pt x="56" y="190"/>
                      <a:pt x="42" y="190"/>
                      <a:pt x="30" y="193"/>
                    </a:cubicBezTo>
                    <a:cubicBezTo>
                      <a:pt x="23" y="195"/>
                      <a:pt x="17" y="197"/>
                      <a:pt x="13" y="201"/>
                    </a:cubicBezTo>
                    <a:cubicBezTo>
                      <a:pt x="8" y="205"/>
                      <a:pt x="4" y="211"/>
                      <a:pt x="2" y="218"/>
                    </a:cubicBezTo>
                    <a:cubicBezTo>
                      <a:pt x="0" y="229"/>
                      <a:pt x="0" y="229"/>
                      <a:pt x="0" y="22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5" y="219"/>
                      <a:pt x="5" y="219"/>
                      <a:pt x="5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5" y="219"/>
                      <a:pt x="5" y="219"/>
                      <a:pt x="5" y="219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6" y="219"/>
                      <a:pt x="10" y="213"/>
                      <a:pt x="24" y="211"/>
                    </a:cubicBezTo>
                    <a:cubicBezTo>
                      <a:pt x="23" y="209"/>
                      <a:pt x="23" y="209"/>
                      <a:pt x="23" y="209"/>
                    </a:cubicBezTo>
                    <a:cubicBezTo>
                      <a:pt x="23" y="211"/>
                      <a:pt x="23" y="211"/>
                      <a:pt x="23" y="211"/>
                    </a:cubicBezTo>
                    <a:cubicBezTo>
                      <a:pt x="23" y="209"/>
                      <a:pt x="23" y="209"/>
                      <a:pt x="23" y="209"/>
                    </a:cubicBezTo>
                    <a:cubicBezTo>
                      <a:pt x="23" y="207"/>
                      <a:pt x="23" y="207"/>
                      <a:pt x="23" y="207"/>
                    </a:cubicBezTo>
                    <a:cubicBezTo>
                      <a:pt x="8" y="209"/>
                      <a:pt x="3" y="217"/>
                      <a:pt x="3" y="217"/>
                    </a:cubicBezTo>
                    <a:cubicBezTo>
                      <a:pt x="4" y="218"/>
                      <a:pt x="4" y="218"/>
                      <a:pt x="4" y="218"/>
                    </a:cubicBezTo>
                    <a:cubicBezTo>
                      <a:pt x="6" y="219"/>
                      <a:pt x="6" y="219"/>
                      <a:pt x="6" y="219"/>
                    </a:cubicBezTo>
                    <a:cubicBezTo>
                      <a:pt x="8" y="212"/>
                      <a:pt x="11" y="208"/>
                      <a:pt x="15" y="204"/>
                    </a:cubicBezTo>
                    <a:cubicBezTo>
                      <a:pt x="21" y="199"/>
                      <a:pt x="31" y="197"/>
                      <a:pt x="40" y="195"/>
                    </a:cubicBezTo>
                    <a:cubicBezTo>
                      <a:pt x="49" y="194"/>
                      <a:pt x="59" y="194"/>
                      <a:pt x="66" y="193"/>
                    </a:cubicBezTo>
                    <a:cubicBezTo>
                      <a:pt x="75" y="192"/>
                      <a:pt x="82" y="189"/>
                      <a:pt x="88" y="184"/>
                    </a:cubicBezTo>
                    <a:cubicBezTo>
                      <a:pt x="94" y="179"/>
                      <a:pt x="99" y="172"/>
                      <a:pt x="105" y="164"/>
                    </a:cubicBezTo>
                    <a:cubicBezTo>
                      <a:pt x="112" y="155"/>
                      <a:pt x="114" y="151"/>
                      <a:pt x="116" y="147"/>
                    </a:cubicBezTo>
                    <a:cubicBezTo>
                      <a:pt x="117" y="143"/>
                      <a:pt x="118" y="139"/>
                      <a:pt x="121" y="131"/>
                    </a:cubicBezTo>
                    <a:cubicBezTo>
                      <a:pt x="123" y="128"/>
                      <a:pt x="127" y="123"/>
                      <a:pt x="132" y="118"/>
                    </a:cubicBezTo>
                    <a:cubicBezTo>
                      <a:pt x="140" y="110"/>
                      <a:pt x="150" y="101"/>
                      <a:pt x="158" y="95"/>
                    </a:cubicBezTo>
                    <a:cubicBezTo>
                      <a:pt x="163" y="91"/>
                      <a:pt x="166" y="88"/>
                      <a:pt x="169" y="86"/>
                    </a:cubicBezTo>
                    <a:cubicBezTo>
                      <a:pt x="172" y="84"/>
                      <a:pt x="173" y="83"/>
                      <a:pt x="173" y="83"/>
                    </a:cubicBezTo>
                    <a:cubicBezTo>
                      <a:pt x="174" y="83"/>
                      <a:pt x="174" y="83"/>
                      <a:pt x="174" y="83"/>
                    </a:cubicBezTo>
                    <a:cubicBezTo>
                      <a:pt x="174" y="82"/>
                      <a:pt x="174" y="82"/>
                      <a:pt x="174" y="82"/>
                    </a:cubicBezTo>
                    <a:cubicBezTo>
                      <a:pt x="174" y="81"/>
                      <a:pt x="174" y="81"/>
                      <a:pt x="174" y="81"/>
                    </a:cubicBezTo>
                    <a:cubicBezTo>
                      <a:pt x="174" y="74"/>
                      <a:pt x="176" y="69"/>
                      <a:pt x="179" y="66"/>
                    </a:cubicBezTo>
                    <a:cubicBezTo>
                      <a:pt x="182" y="64"/>
                      <a:pt x="187" y="62"/>
                      <a:pt x="190" y="62"/>
                    </a:cubicBezTo>
                    <a:cubicBezTo>
                      <a:pt x="192" y="62"/>
                      <a:pt x="193" y="63"/>
                      <a:pt x="194" y="63"/>
                    </a:cubicBezTo>
                    <a:cubicBezTo>
                      <a:pt x="197" y="64"/>
                      <a:pt x="201" y="66"/>
                      <a:pt x="203" y="69"/>
                    </a:cubicBezTo>
                    <a:cubicBezTo>
                      <a:pt x="206" y="72"/>
                      <a:pt x="208" y="77"/>
                      <a:pt x="208" y="81"/>
                    </a:cubicBezTo>
                    <a:cubicBezTo>
                      <a:pt x="208" y="84"/>
                      <a:pt x="207" y="86"/>
                      <a:pt x="206" y="89"/>
                    </a:cubicBezTo>
                    <a:cubicBezTo>
                      <a:pt x="204" y="92"/>
                      <a:pt x="202" y="95"/>
                      <a:pt x="198" y="96"/>
                    </a:cubicBezTo>
                    <a:cubicBezTo>
                      <a:pt x="195" y="98"/>
                      <a:pt x="192" y="99"/>
                      <a:pt x="188" y="99"/>
                    </a:cubicBezTo>
                    <a:cubicBezTo>
                      <a:pt x="182" y="99"/>
                      <a:pt x="175" y="96"/>
                      <a:pt x="172" y="93"/>
                    </a:cubicBezTo>
                    <a:cubicBezTo>
                      <a:pt x="168" y="89"/>
                      <a:pt x="167" y="83"/>
                      <a:pt x="167" y="77"/>
                    </a:cubicBezTo>
                    <a:cubicBezTo>
                      <a:pt x="167" y="70"/>
                      <a:pt x="169" y="62"/>
                      <a:pt x="174" y="56"/>
                    </a:cubicBezTo>
                    <a:cubicBezTo>
                      <a:pt x="179" y="50"/>
                      <a:pt x="190" y="43"/>
                      <a:pt x="201" y="43"/>
                    </a:cubicBezTo>
                    <a:cubicBezTo>
                      <a:pt x="207" y="43"/>
                      <a:pt x="213" y="45"/>
                      <a:pt x="220" y="50"/>
                    </a:cubicBezTo>
                    <a:cubicBezTo>
                      <a:pt x="229" y="57"/>
                      <a:pt x="233" y="69"/>
                      <a:pt x="233" y="82"/>
                    </a:cubicBezTo>
                    <a:cubicBezTo>
                      <a:pt x="233" y="91"/>
                      <a:pt x="230" y="101"/>
                      <a:pt x="227" y="108"/>
                    </a:cubicBezTo>
                    <a:cubicBezTo>
                      <a:pt x="224" y="115"/>
                      <a:pt x="216" y="120"/>
                      <a:pt x="208" y="123"/>
                    </a:cubicBezTo>
                    <a:cubicBezTo>
                      <a:pt x="204" y="125"/>
                      <a:pt x="200" y="126"/>
                      <a:pt x="198" y="127"/>
                    </a:cubicBezTo>
                    <a:cubicBezTo>
                      <a:pt x="196" y="127"/>
                      <a:pt x="195" y="128"/>
                      <a:pt x="195" y="128"/>
                    </a:cubicBezTo>
                    <a:cubicBezTo>
                      <a:pt x="194" y="128"/>
                      <a:pt x="194" y="128"/>
                      <a:pt x="194" y="128"/>
                    </a:cubicBezTo>
                    <a:cubicBezTo>
                      <a:pt x="193" y="128"/>
                      <a:pt x="193" y="128"/>
                      <a:pt x="193" y="128"/>
                    </a:cubicBezTo>
                    <a:cubicBezTo>
                      <a:pt x="192" y="128"/>
                      <a:pt x="192" y="128"/>
                      <a:pt x="192" y="128"/>
                    </a:cubicBezTo>
                    <a:cubicBezTo>
                      <a:pt x="192" y="129"/>
                      <a:pt x="192" y="129"/>
                      <a:pt x="192" y="129"/>
                    </a:cubicBezTo>
                    <a:cubicBezTo>
                      <a:pt x="189" y="133"/>
                      <a:pt x="185" y="137"/>
                      <a:pt x="180" y="139"/>
                    </a:cubicBezTo>
                    <a:cubicBezTo>
                      <a:pt x="175" y="141"/>
                      <a:pt x="169" y="143"/>
                      <a:pt x="164" y="143"/>
                    </a:cubicBezTo>
                    <a:cubicBezTo>
                      <a:pt x="161" y="143"/>
                      <a:pt x="158" y="142"/>
                      <a:pt x="156" y="141"/>
                    </a:cubicBezTo>
                    <a:cubicBezTo>
                      <a:pt x="151" y="140"/>
                      <a:pt x="146" y="134"/>
                      <a:pt x="143" y="129"/>
                    </a:cubicBezTo>
                    <a:cubicBezTo>
                      <a:pt x="141" y="127"/>
                      <a:pt x="140" y="124"/>
                      <a:pt x="139" y="122"/>
                    </a:cubicBezTo>
                    <a:cubicBezTo>
                      <a:pt x="138" y="122"/>
                      <a:pt x="138" y="121"/>
                      <a:pt x="138" y="120"/>
                    </a:cubicBezTo>
                    <a:cubicBezTo>
                      <a:pt x="138" y="120"/>
                      <a:pt x="138" y="120"/>
                      <a:pt x="138" y="120"/>
                    </a:cubicBezTo>
                    <a:cubicBezTo>
                      <a:pt x="137" y="119"/>
                      <a:pt x="137" y="119"/>
                      <a:pt x="137" y="119"/>
                    </a:cubicBezTo>
                    <a:cubicBezTo>
                      <a:pt x="137" y="119"/>
                      <a:pt x="137" y="119"/>
                      <a:pt x="137" y="119"/>
                    </a:cubicBezTo>
                    <a:cubicBezTo>
                      <a:pt x="136" y="118"/>
                      <a:pt x="136" y="118"/>
                      <a:pt x="136" y="118"/>
                    </a:cubicBezTo>
                    <a:cubicBezTo>
                      <a:pt x="136" y="118"/>
                      <a:pt x="136" y="118"/>
                      <a:pt x="136" y="118"/>
                    </a:cubicBezTo>
                    <a:cubicBezTo>
                      <a:pt x="136" y="118"/>
                      <a:pt x="130" y="116"/>
                      <a:pt x="124" y="111"/>
                    </a:cubicBezTo>
                    <a:cubicBezTo>
                      <a:pt x="118" y="106"/>
                      <a:pt x="113" y="98"/>
                      <a:pt x="113" y="86"/>
                    </a:cubicBezTo>
                    <a:cubicBezTo>
                      <a:pt x="113" y="85"/>
                      <a:pt x="113" y="84"/>
                      <a:pt x="113" y="84"/>
                    </a:cubicBezTo>
                    <a:cubicBezTo>
                      <a:pt x="114" y="70"/>
                      <a:pt x="121" y="60"/>
                      <a:pt x="128" y="54"/>
                    </a:cubicBezTo>
                    <a:cubicBezTo>
                      <a:pt x="131" y="51"/>
                      <a:pt x="135" y="49"/>
                      <a:pt x="137" y="47"/>
                    </a:cubicBezTo>
                    <a:cubicBezTo>
                      <a:pt x="138" y="46"/>
                      <a:pt x="140" y="46"/>
                      <a:pt x="140" y="46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1" y="45"/>
                      <a:pt x="141" y="45"/>
                      <a:pt x="141" y="45"/>
                    </a:cubicBezTo>
                    <a:cubicBezTo>
                      <a:pt x="142" y="45"/>
                      <a:pt x="142" y="45"/>
                      <a:pt x="142" y="45"/>
                    </a:cubicBezTo>
                    <a:cubicBezTo>
                      <a:pt x="143" y="44"/>
                      <a:pt x="143" y="44"/>
                      <a:pt x="143" y="44"/>
                    </a:cubicBezTo>
                    <a:cubicBezTo>
                      <a:pt x="145" y="31"/>
                      <a:pt x="151" y="21"/>
                      <a:pt x="160" y="15"/>
                    </a:cubicBezTo>
                    <a:cubicBezTo>
                      <a:pt x="168" y="8"/>
                      <a:pt x="179" y="4"/>
                      <a:pt x="190" y="4"/>
                    </a:cubicBezTo>
                    <a:cubicBezTo>
                      <a:pt x="191" y="4"/>
                      <a:pt x="191" y="4"/>
                      <a:pt x="191" y="4"/>
                    </a:cubicBezTo>
                    <a:cubicBezTo>
                      <a:pt x="201" y="4"/>
                      <a:pt x="211" y="8"/>
                      <a:pt x="218" y="12"/>
                    </a:cubicBezTo>
                    <a:cubicBezTo>
                      <a:pt x="222" y="14"/>
                      <a:pt x="224" y="16"/>
                      <a:pt x="226" y="18"/>
                    </a:cubicBezTo>
                    <a:cubicBezTo>
                      <a:pt x="227" y="19"/>
                      <a:pt x="228" y="19"/>
                      <a:pt x="229" y="20"/>
                    </a:cubicBezTo>
                    <a:cubicBezTo>
                      <a:pt x="229" y="20"/>
                      <a:pt x="229" y="20"/>
                      <a:pt x="229" y="20"/>
                    </a:cubicBezTo>
                    <a:cubicBezTo>
                      <a:pt x="229" y="20"/>
                      <a:pt x="229" y="20"/>
                      <a:pt x="229" y="20"/>
                    </a:cubicBezTo>
                    <a:cubicBezTo>
                      <a:pt x="230" y="21"/>
                      <a:pt x="230" y="21"/>
                      <a:pt x="230" y="21"/>
                    </a:cubicBezTo>
                    <a:cubicBezTo>
                      <a:pt x="231" y="21"/>
                      <a:pt x="231" y="21"/>
                      <a:pt x="231" y="21"/>
                    </a:cubicBezTo>
                    <a:cubicBezTo>
                      <a:pt x="234" y="20"/>
                      <a:pt x="236" y="20"/>
                      <a:pt x="239" y="20"/>
                    </a:cubicBezTo>
                    <a:cubicBezTo>
                      <a:pt x="254" y="20"/>
                      <a:pt x="268" y="27"/>
                      <a:pt x="276" y="37"/>
                    </a:cubicBezTo>
                    <a:cubicBezTo>
                      <a:pt x="283" y="47"/>
                      <a:pt x="288" y="60"/>
                      <a:pt x="288" y="75"/>
                    </a:cubicBezTo>
                    <a:cubicBezTo>
                      <a:pt x="288" y="78"/>
                      <a:pt x="288" y="82"/>
                      <a:pt x="287" y="85"/>
                    </a:cubicBezTo>
                    <a:cubicBezTo>
                      <a:pt x="286" y="95"/>
                      <a:pt x="281" y="103"/>
                      <a:pt x="277" y="109"/>
                    </a:cubicBezTo>
                    <a:cubicBezTo>
                      <a:pt x="274" y="111"/>
                      <a:pt x="272" y="114"/>
                      <a:pt x="270" y="115"/>
                    </a:cubicBezTo>
                    <a:cubicBezTo>
                      <a:pt x="270" y="116"/>
                      <a:pt x="269" y="116"/>
                      <a:pt x="268" y="117"/>
                    </a:cubicBezTo>
                    <a:cubicBezTo>
                      <a:pt x="268" y="117"/>
                      <a:pt x="268" y="117"/>
                      <a:pt x="268" y="117"/>
                    </a:cubicBezTo>
                    <a:cubicBezTo>
                      <a:pt x="268" y="117"/>
                      <a:pt x="268" y="117"/>
                      <a:pt x="268" y="117"/>
                    </a:cubicBezTo>
                    <a:cubicBezTo>
                      <a:pt x="267" y="118"/>
                      <a:pt x="267" y="118"/>
                      <a:pt x="267" y="118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21"/>
                      <a:pt x="266" y="129"/>
                      <a:pt x="263" y="138"/>
                    </a:cubicBezTo>
                    <a:cubicBezTo>
                      <a:pt x="259" y="146"/>
                      <a:pt x="252" y="156"/>
                      <a:pt x="240" y="162"/>
                    </a:cubicBezTo>
                    <a:cubicBezTo>
                      <a:pt x="231" y="166"/>
                      <a:pt x="222" y="167"/>
                      <a:pt x="214" y="167"/>
                    </a:cubicBezTo>
                    <a:cubicBezTo>
                      <a:pt x="205" y="167"/>
                      <a:pt x="198" y="166"/>
                      <a:pt x="192" y="165"/>
                    </a:cubicBezTo>
                    <a:cubicBezTo>
                      <a:pt x="189" y="164"/>
                      <a:pt x="187" y="163"/>
                      <a:pt x="185" y="163"/>
                    </a:cubicBezTo>
                    <a:cubicBezTo>
                      <a:pt x="185" y="162"/>
                      <a:pt x="184" y="162"/>
                      <a:pt x="184" y="162"/>
                    </a:cubicBezTo>
                    <a:cubicBezTo>
                      <a:pt x="183" y="162"/>
                      <a:pt x="183" y="162"/>
                      <a:pt x="183" y="162"/>
                    </a:cubicBezTo>
                    <a:cubicBezTo>
                      <a:pt x="181" y="161"/>
                      <a:pt x="181" y="161"/>
                      <a:pt x="181" y="161"/>
                    </a:cubicBezTo>
                    <a:cubicBezTo>
                      <a:pt x="181" y="163"/>
                      <a:pt x="181" y="163"/>
                      <a:pt x="181" y="163"/>
                    </a:cubicBezTo>
                    <a:cubicBezTo>
                      <a:pt x="179" y="165"/>
                      <a:pt x="176" y="167"/>
                      <a:pt x="172" y="168"/>
                    </a:cubicBezTo>
                    <a:cubicBezTo>
                      <a:pt x="168" y="169"/>
                      <a:pt x="163" y="170"/>
                      <a:pt x="159" y="170"/>
                    </a:cubicBezTo>
                    <a:cubicBezTo>
                      <a:pt x="155" y="170"/>
                      <a:pt x="151" y="169"/>
                      <a:pt x="150" y="169"/>
                    </a:cubicBezTo>
                    <a:cubicBezTo>
                      <a:pt x="148" y="169"/>
                      <a:pt x="145" y="167"/>
                      <a:pt x="141" y="165"/>
                    </a:cubicBezTo>
                    <a:cubicBezTo>
                      <a:pt x="140" y="164"/>
                      <a:pt x="138" y="164"/>
                      <a:pt x="136" y="163"/>
                    </a:cubicBezTo>
                    <a:cubicBezTo>
                      <a:pt x="135" y="162"/>
                      <a:pt x="133" y="162"/>
                      <a:pt x="131" y="162"/>
                    </a:cubicBezTo>
                    <a:cubicBezTo>
                      <a:pt x="130" y="162"/>
                      <a:pt x="129" y="162"/>
                      <a:pt x="128" y="163"/>
                    </a:cubicBezTo>
                    <a:cubicBezTo>
                      <a:pt x="125" y="164"/>
                      <a:pt x="121" y="167"/>
                      <a:pt x="117" y="171"/>
                    </a:cubicBezTo>
                    <a:cubicBezTo>
                      <a:pt x="113" y="175"/>
                      <a:pt x="109" y="179"/>
                      <a:pt x="107" y="182"/>
                    </a:cubicBezTo>
                    <a:cubicBezTo>
                      <a:pt x="102" y="188"/>
                      <a:pt x="89" y="203"/>
                      <a:pt x="71" y="208"/>
                    </a:cubicBezTo>
                    <a:cubicBezTo>
                      <a:pt x="65" y="209"/>
                      <a:pt x="58" y="210"/>
                      <a:pt x="51" y="210"/>
                    </a:cubicBezTo>
                    <a:cubicBezTo>
                      <a:pt x="44" y="210"/>
                      <a:pt x="37" y="209"/>
                      <a:pt x="32" y="209"/>
                    </a:cubicBezTo>
                    <a:cubicBezTo>
                      <a:pt x="30" y="208"/>
                      <a:pt x="27" y="208"/>
                      <a:pt x="26" y="208"/>
                    </a:cubicBezTo>
                    <a:cubicBezTo>
                      <a:pt x="25" y="208"/>
                      <a:pt x="24" y="207"/>
                      <a:pt x="24" y="207"/>
                    </a:cubicBezTo>
                    <a:cubicBezTo>
                      <a:pt x="23" y="207"/>
                      <a:pt x="23" y="207"/>
                      <a:pt x="23" y="207"/>
                    </a:cubicBezTo>
                    <a:cubicBezTo>
                      <a:pt x="23" y="207"/>
                      <a:pt x="23" y="207"/>
                      <a:pt x="23" y="207"/>
                    </a:cubicBezTo>
                    <a:lnTo>
                      <a:pt x="23" y="20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" name="Freeform 19"/>
              <p:cNvSpPr>
                <a:spLocks/>
              </p:cNvSpPr>
              <p:nvPr/>
            </p:nvSpPr>
            <p:spPr bwMode="auto">
              <a:xfrm>
                <a:off x="8735120" y="1507708"/>
                <a:ext cx="360386" cy="357570"/>
              </a:xfrm>
              <a:custGeom>
                <a:avLst/>
                <a:gdLst>
                  <a:gd name="T0" fmla="*/ 56 w 108"/>
                  <a:gd name="T1" fmla="*/ 37 h 107"/>
                  <a:gd name="T2" fmla="*/ 55 w 108"/>
                  <a:gd name="T3" fmla="*/ 44 h 107"/>
                  <a:gd name="T4" fmla="*/ 48 w 108"/>
                  <a:gd name="T5" fmla="*/ 46 h 107"/>
                  <a:gd name="T6" fmla="*/ 42 w 108"/>
                  <a:gd name="T7" fmla="*/ 39 h 107"/>
                  <a:gd name="T8" fmla="*/ 57 w 108"/>
                  <a:gd name="T9" fmla="*/ 24 h 107"/>
                  <a:gd name="T10" fmla="*/ 74 w 108"/>
                  <a:gd name="T11" fmla="*/ 30 h 107"/>
                  <a:gd name="T12" fmla="*/ 79 w 108"/>
                  <a:gd name="T13" fmla="*/ 42 h 107"/>
                  <a:gd name="T14" fmla="*/ 74 w 108"/>
                  <a:gd name="T15" fmla="*/ 56 h 107"/>
                  <a:gd name="T16" fmla="*/ 56 w 108"/>
                  <a:gd name="T17" fmla="*/ 62 h 107"/>
                  <a:gd name="T18" fmla="*/ 37 w 108"/>
                  <a:gd name="T19" fmla="*/ 36 h 107"/>
                  <a:gd name="T20" fmla="*/ 52 w 108"/>
                  <a:gd name="T21" fmla="*/ 12 h 107"/>
                  <a:gd name="T22" fmla="*/ 73 w 108"/>
                  <a:gd name="T23" fmla="*/ 4 h 107"/>
                  <a:gd name="T24" fmla="*/ 104 w 108"/>
                  <a:gd name="T25" fmla="*/ 41 h 107"/>
                  <a:gd name="T26" fmla="*/ 90 w 108"/>
                  <a:gd name="T27" fmla="*/ 76 h 107"/>
                  <a:gd name="T28" fmla="*/ 63 w 108"/>
                  <a:gd name="T29" fmla="*/ 89 h 107"/>
                  <a:gd name="T30" fmla="*/ 63 w 108"/>
                  <a:gd name="T31" fmla="*/ 90 h 107"/>
                  <a:gd name="T32" fmla="*/ 40 w 108"/>
                  <a:gd name="T33" fmla="*/ 103 h 107"/>
                  <a:gd name="T34" fmla="*/ 18 w 108"/>
                  <a:gd name="T35" fmla="*/ 94 h 107"/>
                  <a:gd name="T36" fmla="*/ 8 w 108"/>
                  <a:gd name="T37" fmla="*/ 80 h 107"/>
                  <a:gd name="T38" fmla="*/ 0 w 108"/>
                  <a:gd name="T39" fmla="*/ 80 h 107"/>
                  <a:gd name="T40" fmla="*/ 7 w 108"/>
                  <a:gd name="T41" fmla="*/ 81 h 107"/>
                  <a:gd name="T42" fmla="*/ 15 w 108"/>
                  <a:gd name="T43" fmla="*/ 97 h 107"/>
                  <a:gd name="T44" fmla="*/ 40 w 108"/>
                  <a:gd name="T45" fmla="*/ 107 h 107"/>
                  <a:gd name="T46" fmla="*/ 67 w 108"/>
                  <a:gd name="T47" fmla="*/ 92 h 107"/>
                  <a:gd name="T48" fmla="*/ 65 w 108"/>
                  <a:gd name="T49" fmla="*/ 93 h 107"/>
                  <a:gd name="T50" fmla="*/ 108 w 108"/>
                  <a:gd name="T51" fmla="*/ 45 h 107"/>
                  <a:gd name="T52" fmla="*/ 96 w 108"/>
                  <a:gd name="T53" fmla="*/ 10 h 107"/>
                  <a:gd name="T54" fmla="*/ 72 w 108"/>
                  <a:gd name="T55" fmla="*/ 0 h 107"/>
                  <a:gd name="T56" fmla="*/ 35 w 108"/>
                  <a:gd name="T57" fmla="*/ 26 h 107"/>
                  <a:gd name="T58" fmla="*/ 39 w 108"/>
                  <a:gd name="T59" fmla="*/ 55 h 107"/>
                  <a:gd name="T60" fmla="*/ 59 w 108"/>
                  <a:gd name="T61" fmla="*/ 66 h 107"/>
                  <a:gd name="T62" fmla="*/ 83 w 108"/>
                  <a:gd name="T63" fmla="*/ 42 h 107"/>
                  <a:gd name="T64" fmla="*/ 83 w 108"/>
                  <a:gd name="T65" fmla="*/ 42 h 107"/>
                  <a:gd name="T66" fmla="*/ 59 w 108"/>
                  <a:gd name="T67" fmla="*/ 20 h 107"/>
                  <a:gd name="T68" fmla="*/ 43 w 108"/>
                  <a:gd name="T69" fmla="*/ 26 h 107"/>
                  <a:gd name="T70" fmla="*/ 41 w 108"/>
                  <a:gd name="T71" fmla="*/ 46 h 107"/>
                  <a:gd name="T72" fmla="*/ 50 w 108"/>
                  <a:gd name="T73" fmla="*/ 50 h 107"/>
                  <a:gd name="T74" fmla="*/ 60 w 108"/>
                  <a:gd name="T75" fmla="*/ 41 h 107"/>
                  <a:gd name="T76" fmla="*/ 56 w 108"/>
                  <a:gd name="T77" fmla="*/ 37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8" h="107">
                    <a:moveTo>
                      <a:pt x="56" y="37"/>
                    </a:move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8"/>
                      <a:pt x="56" y="39"/>
                      <a:pt x="56" y="41"/>
                    </a:cubicBezTo>
                    <a:cubicBezTo>
                      <a:pt x="56" y="42"/>
                      <a:pt x="56" y="44"/>
                      <a:pt x="55" y="44"/>
                    </a:cubicBezTo>
                    <a:cubicBezTo>
                      <a:pt x="55" y="45"/>
                      <a:pt x="53" y="46"/>
                      <a:pt x="50" y="46"/>
                    </a:cubicBezTo>
                    <a:cubicBezTo>
                      <a:pt x="50" y="46"/>
                      <a:pt x="49" y="46"/>
                      <a:pt x="48" y="46"/>
                    </a:cubicBezTo>
                    <a:cubicBezTo>
                      <a:pt x="46" y="46"/>
                      <a:pt x="45" y="45"/>
                      <a:pt x="44" y="44"/>
                    </a:cubicBezTo>
                    <a:cubicBezTo>
                      <a:pt x="43" y="42"/>
                      <a:pt x="42" y="41"/>
                      <a:pt x="42" y="39"/>
                    </a:cubicBezTo>
                    <a:cubicBezTo>
                      <a:pt x="42" y="36"/>
                      <a:pt x="44" y="32"/>
                      <a:pt x="46" y="29"/>
                    </a:cubicBezTo>
                    <a:cubicBezTo>
                      <a:pt x="49" y="26"/>
                      <a:pt x="52" y="24"/>
                      <a:pt x="57" y="24"/>
                    </a:cubicBezTo>
                    <a:cubicBezTo>
                      <a:pt x="57" y="24"/>
                      <a:pt x="58" y="24"/>
                      <a:pt x="58" y="24"/>
                    </a:cubicBezTo>
                    <a:cubicBezTo>
                      <a:pt x="66" y="25"/>
                      <a:pt x="71" y="27"/>
                      <a:pt x="74" y="30"/>
                    </a:cubicBezTo>
                    <a:cubicBezTo>
                      <a:pt x="77" y="33"/>
                      <a:pt x="78" y="37"/>
                      <a:pt x="79" y="4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9" y="42"/>
                      <a:pt x="79" y="42"/>
                      <a:pt x="79" y="42"/>
                    </a:cubicBezTo>
                    <a:cubicBezTo>
                      <a:pt x="78" y="47"/>
                      <a:pt x="77" y="52"/>
                      <a:pt x="74" y="56"/>
                    </a:cubicBezTo>
                    <a:cubicBezTo>
                      <a:pt x="70" y="59"/>
                      <a:pt x="66" y="62"/>
                      <a:pt x="59" y="62"/>
                    </a:cubicBezTo>
                    <a:cubicBezTo>
                      <a:pt x="58" y="62"/>
                      <a:pt x="57" y="62"/>
                      <a:pt x="56" y="62"/>
                    </a:cubicBezTo>
                    <a:cubicBezTo>
                      <a:pt x="50" y="61"/>
                      <a:pt x="45" y="57"/>
                      <a:pt x="42" y="52"/>
                    </a:cubicBezTo>
                    <a:cubicBezTo>
                      <a:pt x="39" y="48"/>
                      <a:pt x="37" y="41"/>
                      <a:pt x="37" y="36"/>
                    </a:cubicBezTo>
                    <a:cubicBezTo>
                      <a:pt x="37" y="33"/>
                      <a:pt x="38" y="30"/>
                      <a:pt x="39" y="28"/>
                    </a:cubicBezTo>
                    <a:cubicBezTo>
                      <a:pt x="42" y="23"/>
                      <a:pt x="46" y="17"/>
                      <a:pt x="52" y="12"/>
                    </a:cubicBezTo>
                    <a:cubicBezTo>
                      <a:pt x="57" y="7"/>
                      <a:pt x="64" y="4"/>
                      <a:pt x="72" y="4"/>
                    </a:cubicBezTo>
                    <a:cubicBezTo>
                      <a:pt x="73" y="4"/>
                      <a:pt x="73" y="4"/>
                      <a:pt x="73" y="4"/>
                    </a:cubicBezTo>
                    <a:cubicBezTo>
                      <a:pt x="81" y="4"/>
                      <a:pt x="88" y="7"/>
                      <a:pt x="93" y="12"/>
                    </a:cubicBezTo>
                    <a:cubicBezTo>
                      <a:pt x="98" y="18"/>
                      <a:pt x="102" y="27"/>
                      <a:pt x="104" y="41"/>
                    </a:cubicBezTo>
                    <a:cubicBezTo>
                      <a:pt x="104" y="42"/>
                      <a:pt x="104" y="44"/>
                      <a:pt x="104" y="45"/>
                    </a:cubicBezTo>
                    <a:cubicBezTo>
                      <a:pt x="104" y="57"/>
                      <a:pt x="98" y="68"/>
                      <a:pt x="90" y="76"/>
                    </a:cubicBezTo>
                    <a:cubicBezTo>
                      <a:pt x="83" y="84"/>
                      <a:pt x="73" y="89"/>
                      <a:pt x="65" y="89"/>
                    </a:cubicBezTo>
                    <a:cubicBezTo>
                      <a:pt x="63" y="89"/>
                      <a:pt x="63" y="89"/>
                      <a:pt x="63" y="89"/>
                    </a:cubicBezTo>
                    <a:cubicBezTo>
                      <a:pt x="63" y="90"/>
                      <a:pt x="63" y="90"/>
                      <a:pt x="63" y="90"/>
                    </a:cubicBezTo>
                    <a:cubicBezTo>
                      <a:pt x="63" y="90"/>
                      <a:pt x="63" y="90"/>
                      <a:pt x="63" y="90"/>
                    </a:cubicBezTo>
                    <a:cubicBezTo>
                      <a:pt x="63" y="90"/>
                      <a:pt x="61" y="93"/>
                      <a:pt x="58" y="97"/>
                    </a:cubicBezTo>
                    <a:cubicBezTo>
                      <a:pt x="54" y="100"/>
                      <a:pt x="49" y="103"/>
                      <a:pt x="40" y="103"/>
                    </a:cubicBezTo>
                    <a:cubicBezTo>
                      <a:pt x="39" y="103"/>
                      <a:pt x="39" y="103"/>
                      <a:pt x="39" y="103"/>
                    </a:cubicBezTo>
                    <a:cubicBezTo>
                      <a:pt x="30" y="103"/>
                      <a:pt x="23" y="99"/>
                      <a:pt x="18" y="94"/>
                    </a:cubicBezTo>
                    <a:cubicBezTo>
                      <a:pt x="13" y="90"/>
                      <a:pt x="9" y="84"/>
                      <a:pt x="9" y="81"/>
                    </a:cubicBezTo>
                    <a:cubicBezTo>
                      <a:pt x="8" y="80"/>
                      <a:pt x="8" y="80"/>
                      <a:pt x="8" y="80"/>
                    </a:cubicBezTo>
                    <a:cubicBezTo>
                      <a:pt x="1" y="77"/>
                      <a:pt x="1" y="77"/>
                      <a:pt x="1" y="77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6" y="83"/>
                      <a:pt x="6" y="83"/>
                      <a:pt x="6" y="83"/>
                    </a:cubicBezTo>
                    <a:cubicBezTo>
                      <a:pt x="7" y="81"/>
                      <a:pt x="7" y="81"/>
                      <a:pt x="7" y="81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6" y="86"/>
                      <a:pt x="9" y="92"/>
                      <a:pt x="15" y="97"/>
                    </a:cubicBezTo>
                    <a:cubicBezTo>
                      <a:pt x="21" y="103"/>
                      <a:pt x="29" y="107"/>
                      <a:pt x="39" y="107"/>
                    </a:cubicBezTo>
                    <a:cubicBezTo>
                      <a:pt x="39" y="107"/>
                      <a:pt x="39" y="107"/>
                      <a:pt x="40" y="107"/>
                    </a:cubicBezTo>
                    <a:cubicBezTo>
                      <a:pt x="50" y="107"/>
                      <a:pt x="57" y="103"/>
                      <a:pt x="61" y="99"/>
                    </a:cubicBezTo>
                    <a:cubicBezTo>
                      <a:pt x="65" y="95"/>
                      <a:pt x="67" y="92"/>
                      <a:pt x="67" y="92"/>
                    </a:cubicBezTo>
                    <a:cubicBezTo>
                      <a:pt x="65" y="91"/>
                      <a:pt x="65" y="91"/>
                      <a:pt x="65" y="91"/>
                    </a:cubicBezTo>
                    <a:cubicBezTo>
                      <a:pt x="65" y="93"/>
                      <a:pt x="65" y="93"/>
                      <a:pt x="65" y="93"/>
                    </a:cubicBezTo>
                    <a:cubicBezTo>
                      <a:pt x="74" y="93"/>
                      <a:pt x="85" y="87"/>
                      <a:pt x="93" y="79"/>
                    </a:cubicBezTo>
                    <a:cubicBezTo>
                      <a:pt x="102" y="71"/>
                      <a:pt x="108" y="59"/>
                      <a:pt x="108" y="45"/>
                    </a:cubicBezTo>
                    <a:cubicBezTo>
                      <a:pt x="108" y="44"/>
                      <a:pt x="108" y="42"/>
                      <a:pt x="108" y="40"/>
                    </a:cubicBezTo>
                    <a:cubicBezTo>
                      <a:pt x="106" y="26"/>
                      <a:pt x="102" y="16"/>
                      <a:pt x="96" y="10"/>
                    </a:cubicBezTo>
                    <a:cubicBezTo>
                      <a:pt x="90" y="3"/>
                      <a:pt x="82" y="0"/>
                      <a:pt x="73" y="0"/>
                    </a:cubicBezTo>
                    <a:cubicBezTo>
                      <a:pt x="73" y="0"/>
                      <a:pt x="72" y="0"/>
                      <a:pt x="72" y="0"/>
                    </a:cubicBezTo>
                    <a:cubicBezTo>
                      <a:pt x="63" y="0"/>
                      <a:pt x="55" y="4"/>
                      <a:pt x="49" y="9"/>
                    </a:cubicBezTo>
                    <a:cubicBezTo>
                      <a:pt x="43" y="14"/>
                      <a:pt x="38" y="20"/>
                      <a:pt x="35" y="26"/>
                    </a:cubicBezTo>
                    <a:cubicBezTo>
                      <a:pt x="34" y="29"/>
                      <a:pt x="33" y="32"/>
                      <a:pt x="33" y="36"/>
                    </a:cubicBezTo>
                    <a:cubicBezTo>
                      <a:pt x="33" y="42"/>
                      <a:pt x="35" y="49"/>
                      <a:pt x="39" y="55"/>
                    </a:cubicBezTo>
                    <a:cubicBezTo>
                      <a:pt x="42" y="60"/>
                      <a:pt x="48" y="65"/>
                      <a:pt x="55" y="66"/>
                    </a:cubicBezTo>
                    <a:cubicBezTo>
                      <a:pt x="56" y="66"/>
                      <a:pt x="58" y="66"/>
                      <a:pt x="59" y="66"/>
                    </a:cubicBezTo>
                    <a:cubicBezTo>
                      <a:pt x="67" y="66"/>
                      <a:pt x="73" y="63"/>
                      <a:pt x="77" y="58"/>
                    </a:cubicBezTo>
                    <a:cubicBezTo>
                      <a:pt x="81" y="54"/>
                      <a:pt x="82" y="48"/>
                      <a:pt x="83" y="42"/>
                    </a:cubicBezTo>
                    <a:cubicBezTo>
                      <a:pt x="83" y="42"/>
                      <a:pt x="83" y="42"/>
                      <a:pt x="83" y="42"/>
                    </a:cubicBezTo>
                    <a:cubicBezTo>
                      <a:pt x="83" y="42"/>
                      <a:pt x="83" y="42"/>
                      <a:pt x="83" y="42"/>
                    </a:cubicBezTo>
                    <a:cubicBezTo>
                      <a:pt x="83" y="36"/>
                      <a:pt x="81" y="31"/>
                      <a:pt x="77" y="27"/>
                    </a:cubicBezTo>
                    <a:cubicBezTo>
                      <a:pt x="73" y="23"/>
                      <a:pt x="67" y="21"/>
                      <a:pt x="59" y="20"/>
                    </a:cubicBezTo>
                    <a:cubicBezTo>
                      <a:pt x="58" y="20"/>
                      <a:pt x="57" y="20"/>
                      <a:pt x="57" y="20"/>
                    </a:cubicBezTo>
                    <a:cubicBezTo>
                      <a:pt x="51" y="20"/>
                      <a:pt x="46" y="22"/>
                      <a:pt x="43" y="26"/>
                    </a:cubicBezTo>
                    <a:cubicBezTo>
                      <a:pt x="40" y="30"/>
                      <a:pt x="38" y="35"/>
                      <a:pt x="38" y="39"/>
                    </a:cubicBezTo>
                    <a:cubicBezTo>
                      <a:pt x="38" y="41"/>
                      <a:pt x="39" y="44"/>
                      <a:pt x="41" y="46"/>
                    </a:cubicBezTo>
                    <a:cubicBezTo>
                      <a:pt x="42" y="48"/>
                      <a:pt x="45" y="49"/>
                      <a:pt x="48" y="50"/>
                    </a:cubicBezTo>
                    <a:cubicBezTo>
                      <a:pt x="49" y="50"/>
                      <a:pt x="50" y="50"/>
                      <a:pt x="50" y="50"/>
                    </a:cubicBezTo>
                    <a:cubicBezTo>
                      <a:pt x="54" y="50"/>
                      <a:pt x="57" y="49"/>
                      <a:pt x="58" y="47"/>
                    </a:cubicBezTo>
                    <a:cubicBezTo>
                      <a:pt x="60" y="45"/>
                      <a:pt x="60" y="43"/>
                      <a:pt x="60" y="41"/>
                    </a:cubicBezTo>
                    <a:cubicBezTo>
                      <a:pt x="60" y="38"/>
                      <a:pt x="60" y="36"/>
                      <a:pt x="59" y="36"/>
                    </a:cubicBezTo>
                    <a:lnTo>
                      <a:pt x="56" y="3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grpSp>
        <p:nvGrpSpPr>
          <p:cNvPr id="9" name="组合 8"/>
          <p:cNvGrpSpPr/>
          <p:nvPr/>
        </p:nvGrpSpPr>
        <p:grpSpPr>
          <a:xfrm>
            <a:off x="345740" y="366779"/>
            <a:ext cx="3635876" cy="2680369"/>
            <a:chOff x="345740" y="366779"/>
            <a:chExt cx="3635876" cy="2680369"/>
          </a:xfrm>
        </p:grpSpPr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762436" y="366779"/>
              <a:ext cx="1190962" cy="1038924"/>
            </a:xfrm>
            <a:custGeom>
              <a:avLst/>
              <a:gdLst>
                <a:gd name="T0" fmla="*/ 302 w 357"/>
                <a:gd name="T1" fmla="*/ 41 h 311"/>
                <a:gd name="T2" fmla="*/ 292 w 357"/>
                <a:gd name="T3" fmla="*/ 26 h 311"/>
                <a:gd name="T4" fmla="*/ 181 w 357"/>
                <a:gd name="T5" fmla="*/ 34 h 311"/>
                <a:gd name="T6" fmla="*/ 161 w 357"/>
                <a:gd name="T7" fmla="*/ 38 h 311"/>
                <a:gd name="T8" fmla="*/ 125 w 357"/>
                <a:gd name="T9" fmla="*/ 98 h 311"/>
                <a:gd name="T10" fmla="*/ 103 w 357"/>
                <a:gd name="T11" fmla="*/ 91 h 311"/>
                <a:gd name="T12" fmla="*/ 37 w 357"/>
                <a:gd name="T13" fmla="*/ 145 h 311"/>
                <a:gd name="T14" fmla="*/ 19 w 357"/>
                <a:gd name="T15" fmla="*/ 160 h 311"/>
                <a:gd name="T16" fmla="*/ 9 w 357"/>
                <a:gd name="T17" fmla="*/ 228 h 311"/>
                <a:gd name="T18" fmla="*/ 24 w 357"/>
                <a:gd name="T19" fmla="*/ 239 h 311"/>
                <a:gd name="T20" fmla="*/ 15 w 357"/>
                <a:gd name="T21" fmla="*/ 291 h 311"/>
                <a:gd name="T22" fmla="*/ 28 w 357"/>
                <a:gd name="T23" fmla="*/ 301 h 311"/>
                <a:gd name="T24" fmla="*/ 51 w 357"/>
                <a:gd name="T25" fmla="*/ 310 h 311"/>
                <a:gd name="T26" fmla="*/ 94 w 357"/>
                <a:gd name="T27" fmla="*/ 300 h 311"/>
                <a:gd name="T28" fmla="*/ 133 w 357"/>
                <a:gd name="T29" fmla="*/ 308 h 311"/>
                <a:gd name="T30" fmla="*/ 205 w 357"/>
                <a:gd name="T31" fmla="*/ 242 h 311"/>
                <a:gd name="T32" fmla="*/ 225 w 357"/>
                <a:gd name="T33" fmla="*/ 220 h 311"/>
                <a:gd name="T34" fmla="*/ 246 w 357"/>
                <a:gd name="T35" fmla="*/ 224 h 311"/>
                <a:gd name="T36" fmla="*/ 308 w 357"/>
                <a:gd name="T37" fmla="*/ 179 h 311"/>
                <a:gd name="T38" fmla="*/ 322 w 357"/>
                <a:gd name="T39" fmla="*/ 174 h 311"/>
                <a:gd name="T40" fmla="*/ 353 w 357"/>
                <a:gd name="T41" fmla="*/ 82 h 311"/>
                <a:gd name="T42" fmla="*/ 353 w 357"/>
                <a:gd name="T43" fmla="*/ 108 h 311"/>
                <a:gd name="T44" fmla="*/ 310 w 357"/>
                <a:gd name="T45" fmla="*/ 175 h 311"/>
                <a:gd name="T46" fmla="*/ 306 w 357"/>
                <a:gd name="T47" fmla="*/ 177 h 311"/>
                <a:gd name="T48" fmla="*/ 304 w 357"/>
                <a:gd name="T49" fmla="*/ 178 h 311"/>
                <a:gd name="T50" fmla="*/ 246 w 357"/>
                <a:gd name="T51" fmla="*/ 220 h 311"/>
                <a:gd name="T52" fmla="*/ 221 w 357"/>
                <a:gd name="T53" fmla="*/ 218 h 311"/>
                <a:gd name="T54" fmla="*/ 203 w 357"/>
                <a:gd name="T55" fmla="*/ 240 h 311"/>
                <a:gd name="T56" fmla="*/ 201 w 357"/>
                <a:gd name="T57" fmla="*/ 241 h 311"/>
                <a:gd name="T58" fmla="*/ 196 w 357"/>
                <a:gd name="T59" fmla="*/ 266 h 311"/>
                <a:gd name="T60" fmla="*/ 105 w 357"/>
                <a:gd name="T61" fmla="*/ 301 h 311"/>
                <a:gd name="T62" fmla="*/ 93 w 357"/>
                <a:gd name="T63" fmla="*/ 297 h 311"/>
                <a:gd name="T64" fmla="*/ 80 w 357"/>
                <a:gd name="T65" fmla="*/ 305 h 311"/>
                <a:gd name="T66" fmla="*/ 40 w 357"/>
                <a:gd name="T67" fmla="*/ 302 h 311"/>
                <a:gd name="T68" fmla="*/ 26 w 357"/>
                <a:gd name="T69" fmla="*/ 297 h 311"/>
                <a:gd name="T70" fmla="*/ 14 w 357"/>
                <a:gd name="T71" fmla="*/ 258 h 311"/>
                <a:gd name="T72" fmla="*/ 26 w 357"/>
                <a:gd name="T73" fmla="*/ 238 h 311"/>
                <a:gd name="T74" fmla="*/ 4 w 357"/>
                <a:gd name="T75" fmla="*/ 198 h 311"/>
                <a:gd name="T76" fmla="*/ 39 w 357"/>
                <a:gd name="T77" fmla="*/ 148 h 311"/>
                <a:gd name="T78" fmla="*/ 41 w 357"/>
                <a:gd name="T79" fmla="*/ 147 h 311"/>
                <a:gd name="T80" fmla="*/ 103 w 357"/>
                <a:gd name="T81" fmla="*/ 95 h 311"/>
                <a:gd name="T82" fmla="*/ 130 w 357"/>
                <a:gd name="T83" fmla="*/ 101 h 311"/>
                <a:gd name="T84" fmla="*/ 132 w 357"/>
                <a:gd name="T85" fmla="*/ 72 h 311"/>
                <a:gd name="T86" fmla="*/ 181 w 357"/>
                <a:gd name="T87" fmla="*/ 37 h 311"/>
                <a:gd name="T88" fmla="*/ 184 w 357"/>
                <a:gd name="T89" fmla="*/ 37 h 311"/>
                <a:gd name="T90" fmla="*/ 259 w 357"/>
                <a:gd name="T91" fmla="*/ 7 h 311"/>
                <a:gd name="T92" fmla="*/ 299 w 357"/>
                <a:gd name="T93" fmla="*/ 42 h 311"/>
                <a:gd name="T94" fmla="*/ 300 w 357"/>
                <a:gd name="T95" fmla="*/ 44 h 311"/>
                <a:gd name="T96" fmla="*/ 351 w 357"/>
                <a:gd name="T97" fmla="*/ 8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7" h="311">
                  <a:moveTo>
                    <a:pt x="351" y="82"/>
                  </a:moveTo>
                  <a:cubicBezTo>
                    <a:pt x="353" y="82"/>
                    <a:pt x="353" y="82"/>
                    <a:pt x="353" y="82"/>
                  </a:cubicBezTo>
                  <a:cubicBezTo>
                    <a:pt x="346" y="62"/>
                    <a:pt x="327" y="45"/>
                    <a:pt x="302" y="41"/>
                  </a:cubicBezTo>
                  <a:cubicBezTo>
                    <a:pt x="301" y="43"/>
                    <a:pt x="301" y="43"/>
                    <a:pt x="301" y="43"/>
                  </a:cubicBezTo>
                  <a:cubicBezTo>
                    <a:pt x="303" y="42"/>
                    <a:pt x="303" y="42"/>
                    <a:pt x="303" y="42"/>
                  </a:cubicBezTo>
                  <a:cubicBezTo>
                    <a:pt x="303" y="41"/>
                    <a:pt x="300" y="34"/>
                    <a:pt x="292" y="26"/>
                  </a:cubicBezTo>
                  <a:cubicBezTo>
                    <a:pt x="285" y="18"/>
                    <a:pt x="274" y="8"/>
                    <a:pt x="260" y="4"/>
                  </a:cubicBezTo>
                  <a:cubicBezTo>
                    <a:pt x="253" y="1"/>
                    <a:pt x="245" y="0"/>
                    <a:pt x="238" y="0"/>
                  </a:cubicBezTo>
                  <a:cubicBezTo>
                    <a:pt x="216" y="0"/>
                    <a:pt x="194" y="11"/>
                    <a:pt x="181" y="34"/>
                  </a:cubicBezTo>
                  <a:cubicBezTo>
                    <a:pt x="183" y="35"/>
                    <a:pt x="183" y="35"/>
                    <a:pt x="183" y="35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2" y="33"/>
                    <a:pt x="172" y="33"/>
                    <a:pt x="161" y="38"/>
                  </a:cubicBezTo>
                  <a:cubicBezTo>
                    <a:pt x="149" y="43"/>
                    <a:pt x="135" y="53"/>
                    <a:pt x="128" y="71"/>
                  </a:cubicBezTo>
                  <a:cubicBezTo>
                    <a:pt x="126" y="77"/>
                    <a:pt x="125" y="84"/>
                    <a:pt x="125" y="90"/>
                  </a:cubicBezTo>
                  <a:cubicBezTo>
                    <a:pt x="125" y="93"/>
                    <a:pt x="125" y="95"/>
                    <a:pt x="125" y="98"/>
                  </a:cubicBezTo>
                  <a:cubicBezTo>
                    <a:pt x="127" y="98"/>
                    <a:pt x="127" y="98"/>
                    <a:pt x="127" y="98"/>
                  </a:cubicBezTo>
                  <a:cubicBezTo>
                    <a:pt x="128" y="96"/>
                    <a:pt x="128" y="96"/>
                    <a:pt x="128" y="96"/>
                  </a:cubicBezTo>
                  <a:cubicBezTo>
                    <a:pt x="121" y="93"/>
                    <a:pt x="112" y="91"/>
                    <a:pt x="103" y="91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87" y="91"/>
                    <a:pt x="73" y="96"/>
                    <a:pt x="61" y="105"/>
                  </a:cubicBezTo>
                  <a:cubicBezTo>
                    <a:pt x="49" y="114"/>
                    <a:pt x="41" y="128"/>
                    <a:pt x="37" y="145"/>
                  </a:cubicBezTo>
                  <a:cubicBezTo>
                    <a:pt x="39" y="145"/>
                    <a:pt x="39" y="145"/>
                    <a:pt x="39" y="145"/>
                  </a:cubicBezTo>
                  <a:cubicBezTo>
                    <a:pt x="38" y="144"/>
                    <a:pt x="38" y="144"/>
                    <a:pt x="38" y="144"/>
                  </a:cubicBezTo>
                  <a:cubicBezTo>
                    <a:pt x="38" y="144"/>
                    <a:pt x="29" y="150"/>
                    <a:pt x="19" y="160"/>
                  </a:cubicBezTo>
                  <a:cubicBezTo>
                    <a:pt x="10" y="169"/>
                    <a:pt x="0" y="183"/>
                    <a:pt x="0" y="198"/>
                  </a:cubicBezTo>
                  <a:cubicBezTo>
                    <a:pt x="0" y="199"/>
                    <a:pt x="0" y="199"/>
                    <a:pt x="0" y="200"/>
                  </a:cubicBezTo>
                  <a:cubicBezTo>
                    <a:pt x="0" y="212"/>
                    <a:pt x="4" y="221"/>
                    <a:pt x="9" y="228"/>
                  </a:cubicBezTo>
                  <a:cubicBezTo>
                    <a:pt x="13" y="235"/>
                    <a:pt x="19" y="239"/>
                    <a:pt x="24" y="242"/>
                  </a:cubicBezTo>
                  <a:cubicBezTo>
                    <a:pt x="25" y="240"/>
                    <a:pt x="25" y="240"/>
                    <a:pt x="25" y="240"/>
                  </a:cubicBezTo>
                  <a:cubicBezTo>
                    <a:pt x="24" y="239"/>
                    <a:pt x="24" y="239"/>
                    <a:pt x="24" y="239"/>
                  </a:cubicBezTo>
                  <a:cubicBezTo>
                    <a:pt x="18" y="245"/>
                    <a:pt x="13" y="251"/>
                    <a:pt x="11" y="256"/>
                  </a:cubicBezTo>
                  <a:cubicBezTo>
                    <a:pt x="9" y="260"/>
                    <a:pt x="8" y="264"/>
                    <a:pt x="8" y="269"/>
                  </a:cubicBezTo>
                  <a:cubicBezTo>
                    <a:pt x="8" y="277"/>
                    <a:pt x="11" y="285"/>
                    <a:pt x="15" y="291"/>
                  </a:cubicBezTo>
                  <a:cubicBezTo>
                    <a:pt x="17" y="294"/>
                    <a:pt x="19" y="296"/>
                    <a:pt x="21" y="298"/>
                  </a:cubicBezTo>
                  <a:cubicBezTo>
                    <a:pt x="22" y="299"/>
                    <a:pt x="23" y="300"/>
                    <a:pt x="24" y="300"/>
                  </a:cubicBezTo>
                  <a:cubicBezTo>
                    <a:pt x="25" y="301"/>
                    <a:pt x="26" y="301"/>
                    <a:pt x="28" y="301"/>
                  </a:cubicBezTo>
                  <a:cubicBezTo>
                    <a:pt x="29" y="301"/>
                    <a:pt x="30" y="302"/>
                    <a:pt x="32" y="302"/>
                  </a:cubicBezTo>
                  <a:cubicBezTo>
                    <a:pt x="35" y="303"/>
                    <a:pt x="38" y="305"/>
                    <a:pt x="42" y="307"/>
                  </a:cubicBezTo>
                  <a:cubicBezTo>
                    <a:pt x="45" y="308"/>
                    <a:pt x="48" y="310"/>
                    <a:pt x="51" y="310"/>
                  </a:cubicBezTo>
                  <a:cubicBezTo>
                    <a:pt x="53" y="311"/>
                    <a:pt x="57" y="311"/>
                    <a:pt x="63" y="311"/>
                  </a:cubicBezTo>
                  <a:cubicBezTo>
                    <a:pt x="69" y="311"/>
                    <a:pt x="75" y="311"/>
                    <a:pt x="81" y="309"/>
                  </a:cubicBezTo>
                  <a:cubicBezTo>
                    <a:pt x="86" y="308"/>
                    <a:pt x="91" y="305"/>
                    <a:pt x="94" y="300"/>
                  </a:cubicBezTo>
                  <a:cubicBezTo>
                    <a:pt x="93" y="299"/>
                    <a:pt x="93" y="299"/>
                    <a:pt x="93" y="299"/>
                  </a:cubicBezTo>
                  <a:cubicBezTo>
                    <a:pt x="92" y="301"/>
                    <a:pt x="92" y="301"/>
                    <a:pt x="92" y="301"/>
                  </a:cubicBezTo>
                  <a:cubicBezTo>
                    <a:pt x="92" y="301"/>
                    <a:pt x="110" y="308"/>
                    <a:pt x="133" y="308"/>
                  </a:cubicBezTo>
                  <a:cubicBezTo>
                    <a:pt x="144" y="308"/>
                    <a:pt x="157" y="307"/>
                    <a:pt x="168" y="301"/>
                  </a:cubicBezTo>
                  <a:cubicBezTo>
                    <a:pt x="186" y="293"/>
                    <a:pt x="195" y="278"/>
                    <a:pt x="200" y="265"/>
                  </a:cubicBezTo>
                  <a:cubicBezTo>
                    <a:pt x="205" y="252"/>
                    <a:pt x="205" y="242"/>
                    <a:pt x="205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4" y="243"/>
                    <a:pt x="204" y="243"/>
                    <a:pt x="204" y="243"/>
                  </a:cubicBezTo>
                  <a:cubicBezTo>
                    <a:pt x="205" y="243"/>
                    <a:pt x="217" y="235"/>
                    <a:pt x="225" y="220"/>
                  </a:cubicBezTo>
                  <a:cubicBezTo>
                    <a:pt x="223" y="219"/>
                    <a:pt x="223" y="219"/>
                    <a:pt x="223" y="219"/>
                  </a:cubicBezTo>
                  <a:cubicBezTo>
                    <a:pt x="222" y="220"/>
                    <a:pt x="222" y="220"/>
                    <a:pt x="222" y="220"/>
                  </a:cubicBezTo>
                  <a:cubicBezTo>
                    <a:pt x="230" y="223"/>
                    <a:pt x="238" y="224"/>
                    <a:pt x="246" y="224"/>
                  </a:cubicBezTo>
                  <a:cubicBezTo>
                    <a:pt x="249" y="224"/>
                    <a:pt x="252" y="224"/>
                    <a:pt x="254" y="224"/>
                  </a:cubicBezTo>
                  <a:cubicBezTo>
                    <a:pt x="274" y="221"/>
                    <a:pt x="288" y="210"/>
                    <a:pt x="296" y="200"/>
                  </a:cubicBezTo>
                  <a:cubicBezTo>
                    <a:pt x="305" y="189"/>
                    <a:pt x="308" y="180"/>
                    <a:pt x="308" y="179"/>
                  </a:cubicBezTo>
                  <a:cubicBezTo>
                    <a:pt x="307" y="179"/>
                    <a:pt x="307" y="179"/>
                    <a:pt x="307" y="179"/>
                  </a:cubicBezTo>
                  <a:cubicBezTo>
                    <a:pt x="307" y="181"/>
                    <a:pt x="307" y="181"/>
                    <a:pt x="307" y="181"/>
                  </a:cubicBezTo>
                  <a:cubicBezTo>
                    <a:pt x="307" y="181"/>
                    <a:pt x="314" y="179"/>
                    <a:pt x="322" y="174"/>
                  </a:cubicBezTo>
                  <a:cubicBezTo>
                    <a:pt x="330" y="169"/>
                    <a:pt x="340" y="161"/>
                    <a:pt x="347" y="148"/>
                  </a:cubicBezTo>
                  <a:cubicBezTo>
                    <a:pt x="354" y="134"/>
                    <a:pt x="357" y="121"/>
                    <a:pt x="357" y="108"/>
                  </a:cubicBezTo>
                  <a:cubicBezTo>
                    <a:pt x="357" y="98"/>
                    <a:pt x="355" y="90"/>
                    <a:pt x="353" y="82"/>
                  </a:cubicBezTo>
                  <a:cubicBezTo>
                    <a:pt x="351" y="82"/>
                    <a:pt x="351" y="82"/>
                    <a:pt x="351" y="82"/>
                  </a:cubicBezTo>
                  <a:cubicBezTo>
                    <a:pt x="349" y="83"/>
                    <a:pt x="349" y="83"/>
                    <a:pt x="349" y="83"/>
                  </a:cubicBezTo>
                  <a:cubicBezTo>
                    <a:pt x="351" y="91"/>
                    <a:pt x="353" y="99"/>
                    <a:pt x="353" y="108"/>
                  </a:cubicBezTo>
                  <a:cubicBezTo>
                    <a:pt x="353" y="120"/>
                    <a:pt x="350" y="133"/>
                    <a:pt x="343" y="147"/>
                  </a:cubicBezTo>
                  <a:cubicBezTo>
                    <a:pt x="337" y="158"/>
                    <a:pt x="328" y="165"/>
                    <a:pt x="320" y="170"/>
                  </a:cubicBezTo>
                  <a:cubicBezTo>
                    <a:pt x="316" y="173"/>
                    <a:pt x="313" y="174"/>
                    <a:pt x="310" y="175"/>
                  </a:cubicBezTo>
                  <a:cubicBezTo>
                    <a:pt x="309" y="176"/>
                    <a:pt x="308" y="176"/>
                    <a:pt x="307" y="177"/>
                  </a:cubicBezTo>
                  <a:cubicBezTo>
                    <a:pt x="306" y="177"/>
                    <a:pt x="306" y="177"/>
                    <a:pt x="306" y="177"/>
                  </a:cubicBezTo>
                  <a:cubicBezTo>
                    <a:pt x="306" y="177"/>
                    <a:pt x="306" y="177"/>
                    <a:pt x="306" y="177"/>
                  </a:cubicBezTo>
                  <a:cubicBezTo>
                    <a:pt x="305" y="177"/>
                    <a:pt x="305" y="177"/>
                    <a:pt x="305" y="177"/>
                  </a:cubicBezTo>
                  <a:cubicBezTo>
                    <a:pt x="305" y="178"/>
                    <a:pt x="305" y="178"/>
                    <a:pt x="305" y="178"/>
                  </a:cubicBezTo>
                  <a:cubicBezTo>
                    <a:pt x="304" y="178"/>
                    <a:pt x="304" y="178"/>
                    <a:pt x="304" y="178"/>
                  </a:cubicBezTo>
                  <a:cubicBezTo>
                    <a:pt x="304" y="180"/>
                    <a:pt x="300" y="190"/>
                    <a:pt x="291" y="199"/>
                  </a:cubicBezTo>
                  <a:cubicBezTo>
                    <a:pt x="283" y="209"/>
                    <a:pt x="271" y="218"/>
                    <a:pt x="254" y="220"/>
                  </a:cubicBezTo>
                  <a:cubicBezTo>
                    <a:pt x="251" y="220"/>
                    <a:pt x="249" y="220"/>
                    <a:pt x="246" y="220"/>
                  </a:cubicBezTo>
                  <a:cubicBezTo>
                    <a:pt x="238" y="220"/>
                    <a:pt x="231" y="219"/>
                    <a:pt x="224" y="217"/>
                  </a:cubicBezTo>
                  <a:cubicBezTo>
                    <a:pt x="222" y="216"/>
                    <a:pt x="222" y="216"/>
                    <a:pt x="222" y="216"/>
                  </a:cubicBezTo>
                  <a:cubicBezTo>
                    <a:pt x="221" y="218"/>
                    <a:pt x="221" y="218"/>
                    <a:pt x="221" y="218"/>
                  </a:cubicBezTo>
                  <a:cubicBezTo>
                    <a:pt x="217" y="225"/>
                    <a:pt x="213" y="230"/>
                    <a:pt x="209" y="234"/>
                  </a:cubicBezTo>
                  <a:cubicBezTo>
                    <a:pt x="207" y="236"/>
                    <a:pt x="205" y="238"/>
                    <a:pt x="204" y="239"/>
                  </a:cubicBezTo>
                  <a:cubicBezTo>
                    <a:pt x="203" y="239"/>
                    <a:pt x="203" y="239"/>
                    <a:pt x="203" y="240"/>
                  </a:cubicBezTo>
                  <a:cubicBezTo>
                    <a:pt x="202" y="240"/>
                    <a:pt x="202" y="240"/>
                    <a:pt x="202" y="240"/>
                  </a:cubicBezTo>
                  <a:cubicBezTo>
                    <a:pt x="202" y="240"/>
                    <a:pt x="202" y="240"/>
                    <a:pt x="202" y="240"/>
                  </a:cubicBezTo>
                  <a:cubicBezTo>
                    <a:pt x="201" y="241"/>
                    <a:pt x="201" y="241"/>
                    <a:pt x="201" y="241"/>
                  </a:cubicBezTo>
                  <a:cubicBezTo>
                    <a:pt x="201" y="242"/>
                    <a:pt x="201" y="242"/>
                    <a:pt x="201" y="242"/>
                  </a:cubicBezTo>
                  <a:cubicBezTo>
                    <a:pt x="201" y="242"/>
                    <a:pt x="201" y="242"/>
                    <a:pt x="201" y="242"/>
                  </a:cubicBezTo>
                  <a:cubicBezTo>
                    <a:pt x="201" y="244"/>
                    <a:pt x="200" y="254"/>
                    <a:pt x="196" y="266"/>
                  </a:cubicBezTo>
                  <a:cubicBezTo>
                    <a:pt x="191" y="277"/>
                    <a:pt x="182" y="290"/>
                    <a:pt x="167" y="297"/>
                  </a:cubicBezTo>
                  <a:cubicBezTo>
                    <a:pt x="156" y="303"/>
                    <a:pt x="144" y="304"/>
                    <a:pt x="133" y="304"/>
                  </a:cubicBezTo>
                  <a:cubicBezTo>
                    <a:pt x="122" y="304"/>
                    <a:pt x="112" y="303"/>
                    <a:pt x="105" y="301"/>
                  </a:cubicBezTo>
                  <a:cubicBezTo>
                    <a:pt x="101" y="300"/>
                    <a:pt x="98" y="299"/>
                    <a:pt x="96" y="298"/>
                  </a:cubicBezTo>
                  <a:cubicBezTo>
                    <a:pt x="95" y="298"/>
                    <a:pt x="95" y="298"/>
                    <a:pt x="94" y="298"/>
                  </a:cubicBezTo>
                  <a:cubicBezTo>
                    <a:pt x="94" y="297"/>
                    <a:pt x="93" y="297"/>
                    <a:pt x="93" y="297"/>
                  </a:cubicBezTo>
                  <a:cubicBezTo>
                    <a:pt x="92" y="297"/>
                    <a:pt x="92" y="297"/>
                    <a:pt x="92" y="297"/>
                  </a:cubicBezTo>
                  <a:cubicBezTo>
                    <a:pt x="91" y="298"/>
                    <a:pt x="91" y="298"/>
                    <a:pt x="91" y="298"/>
                  </a:cubicBezTo>
                  <a:cubicBezTo>
                    <a:pt x="89" y="302"/>
                    <a:pt x="85" y="304"/>
                    <a:pt x="80" y="305"/>
                  </a:cubicBezTo>
                  <a:cubicBezTo>
                    <a:pt x="74" y="307"/>
                    <a:pt x="68" y="307"/>
                    <a:pt x="63" y="307"/>
                  </a:cubicBezTo>
                  <a:cubicBezTo>
                    <a:pt x="58" y="307"/>
                    <a:pt x="53" y="307"/>
                    <a:pt x="51" y="306"/>
                  </a:cubicBezTo>
                  <a:cubicBezTo>
                    <a:pt x="49" y="306"/>
                    <a:pt x="45" y="304"/>
                    <a:pt x="40" y="302"/>
                  </a:cubicBezTo>
                  <a:cubicBezTo>
                    <a:pt x="38" y="300"/>
                    <a:pt x="36" y="299"/>
                    <a:pt x="34" y="299"/>
                  </a:cubicBezTo>
                  <a:cubicBezTo>
                    <a:pt x="32" y="298"/>
                    <a:pt x="30" y="297"/>
                    <a:pt x="28" y="297"/>
                  </a:cubicBezTo>
                  <a:cubicBezTo>
                    <a:pt x="27" y="297"/>
                    <a:pt x="27" y="297"/>
                    <a:pt x="26" y="297"/>
                  </a:cubicBezTo>
                  <a:cubicBezTo>
                    <a:pt x="24" y="296"/>
                    <a:pt x="20" y="292"/>
                    <a:pt x="17" y="287"/>
                  </a:cubicBezTo>
                  <a:cubicBezTo>
                    <a:pt x="14" y="282"/>
                    <a:pt x="12" y="275"/>
                    <a:pt x="12" y="269"/>
                  </a:cubicBezTo>
                  <a:cubicBezTo>
                    <a:pt x="12" y="265"/>
                    <a:pt x="13" y="261"/>
                    <a:pt x="14" y="258"/>
                  </a:cubicBezTo>
                  <a:cubicBezTo>
                    <a:pt x="16" y="253"/>
                    <a:pt x="21" y="248"/>
                    <a:pt x="27" y="241"/>
                  </a:cubicBezTo>
                  <a:cubicBezTo>
                    <a:pt x="28" y="240"/>
                    <a:pt x="28" y="240"/>
                    <a:pt x="28" y="240"/>
                  </a:cubicBezTo>
                  <a:cubicBezTo>
                    <a:pt x="26" y="238"/>
                    <a:pt x="26" y="238"/>
                    <a:pt x="26" y="238"/>
                  </a:cubicBezTo>
                  <a:cubicBezTo>
                    <a:pt x="22" y="236"/>
                    <a:pt x="16" y="232"/>
                    <a:pt x="12" y="225"/>
                  </a:cubicBezTo>
                  <a:cubicBezTo>
                    <a:pt x="8" y="219"/>
                    <a:pt x="4" y="211"/>
                    <a:pt x="4" y="200"/>
                  </a:cubicBezTo>
                  <a:cubicBezTo>
                    <a:pt x="4" y="199"/>
                    <a:pt x="4" y="199"/>
                    <a:pt x="4" y="198"/>
                  </a:cubicBezTo>
                  <a:cubicBezTo>
                    <a:pt x="4" y="185"/>
                    <a:pt x="13" y="172"/>
                    <a:pt x="22" y="162"/>
                  </a:cubicBezTo>
                  <a:cubicBezTo>
                    <a:pt x="27" y="158"/>
                    <a:pt x="31" y="154"/>
                    <a:pt x="35" y="151"/>
                  </a:cubicBezTo>
                  <a:cubicBezTo>
                    <a:pt x="36" y="150"/>
                    <a:pt x="38" y="149"/>
                    <a:pt x="39" y="148"/>
                  </a:cubicBezTo>
                  <a:cubicBezTo>
                    <a:pt x="39" y="148"/>
                    <a:pt x="40" y="147"/>
                    <a:pt x="40" y="147"/>
                  </a:cubicBezTo>
                  <a:cubicBezTo>
                    <a:pt x="40" y="147"/>
                    <a:pt x="40" y="147"/>
                    <a:pt x="40" y="147"/>
                  </a:cubicBezTo>
                  <a:cubicBezTo>
                    <a:pt x="41" y="147"/>
                    <a:pt x="41" y="147"/>
                    <a:pt x="41" y="147"/>
                  </a:cubicBezTo>
                  <a:cubicBezTo>
                    <a:pt x="41" y="146"/>
                    <a:pt x="41" y="146"/>
                    <a:pt x="41" y="146"/>
                  </a:cubicBezTo>
                  <a:cubicBezTo>
                    <a:pt x="44" y="129"/>
                    <a:pt x="53" y="117"/>
                    <a:pt x="64" y="108"/>
                  </a:cubicBezTo>
                  <a:cubicBezTo>
                    <a:pt x="74" y="100"/>
                    <a:pt x="88" y="95"/>
                    <a:pt x="103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12" y="95"/>
                    <a:pt x="120" y="97"/>
                    <a:pt x="127" y="100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5"/>
                    <a:pt x="129" y="92"/>
                    <a:pt x="129" y="90"/>
                  </a:cubicBezTo>
                  <a:cubicBezTo>
                    <a:pt x="129" y="84"/>
                    <a:pt x="130" y="78"/>
                    <a:pt x="132" y="72"/>
                  </a:cubicBezTo>
                  <a:cubicBezTo>
                    <a:pt x="139" y="55"/>
                    <a:pt x="151" y="47"/>
                    <a:pt x="162" y="42"/>
                  </a:cubicBezTo>
                  <a:cubicBezTo>
                    <a:pt x="168" y="40"/>
                    <a:pt x="173" y="38"/>
                    <a:pt x="177" y="37"/>
                  </a:cubicBezTo>
                  <a:cubicBezTo>
                    <a:pt x="179" y="37"/>
                    <a:pt x="180" y="37"/>
                    <a:pt x="181" y="37"/>
                  </a:cubicBezTo>
                  <a:cubicBezTo>
                    <a:pt x="182" y="37"/>
                    <a:pt x="182" y="37"/>
                    <a:pt x="182" y="37"/>
                  </a:cubicBezTo>
                  <a:cubicBezTo>
                    <a:pt x="183" y="37"/>
                    <a:pt x="183" y="37"/>
                    <a:pt x="183" y="37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184" y="36"/>
                    <a:pt x="184" y="36"/>
                    <a:pt x="184" y="36"/>
                  </a:cubicBezTo>
                  <a:cubicBezTo>
                    <a:pt x="197" y="14"/>
                    <a:pt x="217" y="4"/>
                    <a:pt x="238" y="4"/>
                  </a:cubicBezTo>
                  <a:cubicBezTo>
                    <a:pt x="245" y="4"/>
                    <a:pt x="252" y="5"/>
                    <a:pt x="259" y="7"/>
                  </a:cubicBezTo>
                  <a:cubicBezTo>
                    <a:pt x="272" y="12"/>
                    <a:pt x="282" y="21"/>
                    <a:pt x="289" y="29"/>
                  </a:cubicBezTo>
                  <a:cubicBezTo>
                    <a:pt x="293" y="33"/>
                    <a:pt x="295" y="36"/>
                    <a:pt x="297" y="39"/>
                  </a:cubicBezTo>
                  <a:cubicBezTo>
                    <a:pt x="298" y="40"/>
                    <a:pt x="299" y="42"/>
                    <a:pt x="299" y="42"/>
                  </a:cubicBezTo>
                  <a:cubicBezTo>
                    <a:pt x="299" y="43"/>
                    <a:pt x="299" y="43"/>
                    <a:pt x="300" y="43"/>
                  </a:cubicBezTo>
                  <a:cubicBezTo>
                    <a:pt x="300" y="43"/>
                    <a:pt x="300" y="43"/>
                    <a:pt x="300" y="43"/>
                  </a:cubicBezTo>
                  <a:cubicBezTo>
                    <a:pt x="300" y="44"/>
                    <a:pt x="300" y="44"/>
                    <a:pt x="300" y="44"/>
                  </a:cubicBezTo>
                  <a:cubicBezTo>
                    <a:pt x="301" y="44"/>
                    <a:pt x="301" y="44"/>
                    <a:pt x="301" y="44"/>
                  </a:cubicBezTo>
                  <a:cubicBezTo>
                    <a:pt x="325" y="48"/>
                    <a:pt x="343" y="65"/>
                    <a:pt x="349" y="83"/>
                  </a:cubicBezTo>
                  <a:lnTo>
                    <a:pt x="351" y="8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345740" y="1288860"/>
              <a:ext cx="974168" cy="764412"/>
            </a:xfrm>
            <a:custGeom>
              <a:avLst/>
              <a:gdLst>
                <a:gd name="T0" fmla="*/ 72 w 292"/>
                <a:gd name="T1" fmla="*/ 211 h 229"/>
                <a:gd name="T2" fmla="*/ 130 w 292"/>
                <a:gd name="T3" fmla="*/ 166 h 229"/>
                <a:gd name="T4" fmla="*/ 149 w 292"/>
                <a:gd name="T5" fmla="*/ 173 h 229"/>
                <a:gd name="T6" fmla="*/ 182 w 292"/>
                <a:gd name="T7" fmla="*/ 164 h 229"/>
                <a:gd name="T8" fmla="*/ 267 w 292"/>
                <a:gd name="T9" fmla="*/ 137 h 229"/>
                <a:gd name="T10" fmla="*/ 280 w 292"/>
                <a:gd name="T11" fmla="*/ 111 h 229"/>
                <a:gd name="T12" fmla="*/ 239 w 292"/>
                <a:gd name="T13" fmla="*/ 16 h 229"/>
                <a:gd name="T14" fmla="*/ 191 w 292"/>
                <a:gd name="T15" fmla="*/ 0 h 229"/>
                <a:gd name="T16" fmla="*/ 141 w 292"/>
                <a:gd name="T17" fmla="*/ 43 h 229"/>
                <a:gd name="T18" fmla="*/ 109 w 292"/>
                <a:gd name="T19" fmla="*/ 86 h 229"/>
                <a:gd name="T20" fmla="*/ 134 w 292"/>
                <a:gd name="T21" fmla="*/ 121 h 229"/>
                <a:gd name="T22" fmla="*/ 182 w 292"/>
                <a:gd name="T23" fmla="*/ 143 h 229"/>
                <a:gd name="T24" fmla="*/ 210 w 292"/>
                <a:gd name="T25" fmla="*/ 127 h 229"/>
                <a:gd name="T26" fmla="*/ 201 w 292"/>
                <a:gd name="T27" fmla="*/ 39 h 229"/>
                <a:gd name="T28" fmla="*/ 188 w 292"/>
                <a:gd name="T29" fmla="*/ 103 h 229"/>
                <a:gd name="T30" fmla="*/ 206 w 292"/>
                <a:gd name="T31" fmla="*/ 67 h 229"/>
                <a:gd name="T32" fmla="*/ 170 w 292"/>
                <a:gd name="T33" fmla="*/ 81 h 229"/>
                <a:gd name="T34" fmla="*/ 147 w 292"/>
                <a:gd name="T35" fmla="*/ 99 h 229"/>
                <a:gd name="T36" fmla="*/ 102 w 292"/>
                <a:gd name="T37" fmla="*/ 161 h 229"/>
                <a:gd name="T38" fmla="*/ 13 w 292"/>
                <a:gd name="T39" fmla="*/ 201 h 229"/>
                <a:gd name="T40" fmla="*/ 5 w 292"/>
                <a:gd name="T41" fmla="*/ 219 h 229"/>
                <a:gd name="T42" fmla="*/ 6 w 292"/>
                <a:gd name="T43" fmla="*/ 219 h 229"/>
                <a:gd name="T44" fmla="*/ 23 w 292"/>
                <a:gd name="T45" fmla="*/ 209 h 229"/>
                <a:gd name="T46" fmla="*/ 6 w 292"/>
                <a:gd name="T47" fmla="*/ 219 h 229"/>
                <a:gd name="T48" fmla="*/ 88 w 292"/>
                <a:gd name="T49" fmla="*/ 184 h 229"/>
                <a:gd name="T50" fmla="*/ 132 w 292"/>
                <a:gd name="T51" fmla="*/ 118 h 229"/>
                <a:gd name="T52" fmla="*/ 174 w 292"/>
                <a:gd name="T53" fmla="*/ 83 h 229"/>
                <a:gd name="T54" fmla="*/ 190 w 292"/>
                <a:gd name="T55" fmla="*/ 62 h 229"/>
                <a:gd name="T56" fmla="*/ 206 w 292"/>
                <a:gd name="T57" fmla="*/ 89 h 229"/>
                <a:gd name="T58" fmla="*/ 167 w 292"/>
                <a:gd name="T59" fmla="*/ 77 h 229"/>
                <a:gd name="T60" fmla="*/ 233 w 292"/>
                <a:gd name="T61" fmla="*/ 82 h 229"/>
                <a:gd name="T62" fmla="*/ 195 w 292"/>
                <a:gd name="T63" fmla="*/ 128 h 229"/>
                <a:gd name="T64" fmla="*/ 192 w 292"/>
                <a:gd name="T65" fmla="*/ 129 h 229"/>
                <a:gd name="T66" fmla="*/ 143 w 292"/>
                <a:gd name="T67" fmla="*/ 129 h 229"/>
                <a:gd name="T68" fmla="*/ 137 w 292"/>
                <a:gd name="T69" fmla="*/ 119 h 229"/>
                <a:gd name="T70" fmla="*/ 124 w 292"/>
                <a:gd name="T71" fmla="*/ 111 h 229"/>
                <a:gd name="T72" fmla="*/ 137 w 292"/>
                <a:gd name="T73" fmla="*/ 47 h 229"/>
                <a:gd name="T74" fmla="*/ 142 w 292"/>
                <a:gd name="T75" fmla="*/ 45 h 229"/>
                <a:gd name="T76" fmla="*/ 191 w 292"/>
                <a:gd name="T77" fmla="*/ 4 h 229"/>
                <a:gd name="T78" fmla="*/ 229 w 292"/>
                <a:gd name="T79" fmla="*/ 20 h 229"/>
                <a:gd name="T80" fmla="*/ 239 w 292"/>
                <a:gd name="T81" fmla="*/ 20 h 229"/>
                <a:gd name="T82" fmla="*/ 277 w 292"/>
                <a:gd name="T83" fmla="*/ 109 h 229"/>
                <a:gd name="T84" fmla="*/ 268 w 292"/>
                <a:gd name="T85" fmla="*/ 117 h 229"/>
                <a:gd name="T86" fmla="*/ 263 w 292"/>
                <a:gd name="T87" fmla="*/ 138 h 229"/>
                <a:gd name="T88" fmla="*/ 185 w 292"/>
                <a:gd name="T89" fmla="*/ 163 h 229"/>
                <a:gd name="T90" fmla="*/ 181 w 292"/>
                <a:gd name="T91" fmla="*/ 163 h 229"/>
                <a:gd name="T92" fmla="*/ 141 w 292"/>
                <a:gd name="T93" fmla="*/ 165 h 229"/>
                <a:gd name="T94" fmla="*/ 117 w 292"/>
                <a:gd name="T95" fmla="*/ 171 h 229"/>
                <a:gd name="T96" fmla="*/ 32 w 292"/>
                <a:gd name="T97" fmla="*/ 209 h 229"/>
                <a:gd name="T98" fmla="*/ 23 w 292"/>
                <a:gd name="T99" fmla="*/ 2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229">
                  <a:moveTo>
                    <a:pt x="23" y="209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3" y="211"/>
                    <a:pt x="36" y="214"/>
                    <a:pt x="51" y="214"/>
                  </a:cubicBezTo>
                  <a:cubicBezTo>
                    <a:pt x="58" y="214"/>
                    <a:pt x="66" y="213"/>
                    <a:pt x="72" y="211"/>
                  </a:cubicBezTo>
                  <a:cubicBezTo>
                    <a:pt x="92" y="206"/>
                    <a:pt x="105" y="191"/>
                    <a:pt x="110" y="185"/>
                  </a:cubicBezTo>
                  <a:cubicBezTo>
                    <a:pt x="112" y="181"/>
                    <a:pt x="117" y="177"/>
                    <a:pt x="121" y="173"/>
                  </a:cubicBezTo>
                  <a:cubicBezTo>
                    <a:pt x="123" y="171"/>
                    <a:pt x="126" y="169"/>
                    <a:pt x="127" y="168"/>
                  </a:cubicBezTo>
                  <a:cubicBezTo>
                    <a:pt x="128" y="167"/>
                    <a:pt x="129" y="166"/>
                    <a:pt x="130" y="166"/>
                  </a:cubicBezTo>
                  <a:cubicBezTo>
                    <a:pt x="131" y="166"/>
                    <a:pt x="131" y="166"/>
                    <a:pt x="131" y="166"/>
                  </a:cubicBezTo>
                  <a:cubicBezTo>
                    <a:pt x="132" y="166"/>
                    <a:pt x="133" y="166"/>
                    <a:pt x="135" y="167"/>
                  </a:cubicBezTo>
                  <a:cubicBezTo>
                    <a:pt x="137" y="167"/>
                    <a:pt x="140" y="169"/>
                    <a:pt x="142" y="170"/>
                  </a:cubicBezTo>
                  <a:cubicBezTo>
                    <a:pt x="145" y="171"/>
                    <a:pt x="147" y="172"/>
                    <a:pt x="149" y="173"/>
                  </a:cubicBezTo>
                  <a:cubicBezTo>
                    <a:pt x="151" y="173"/>
                    <a:pt x="155" y="174"/>
                    <a:pt x="159" y="174"/>
                  </a:cubicBezTo>
                  <a:cubicBezTo>
                    <a:pt x="163" y="174"/>
                    <a:pt x="168" y="173"/>
                    <a:pt x="173" y="172"/>
                  </a:cubicBezTo>
                  <a:cubicBezTo>
                    <a:pt x="177" y="171"/>
                    <a:pt x="182" y="169"/>
                    <a:pt x="184" y="165"/>
                  </a:cubicBezTo>
                  <a:cubicBezTo>
                    <a:pt x="182" y="164"/>
                    <a:pt x="182" y="164"/>
                    <a:pt x="182" y="164"/>
                  </a:cubicBezTo>
                  <a:cubicBezTo>
                    <a:pt x="181" y="166"/>
                    <a:pt x="181" y="166"/>
                    <a:pt x="181" y="166"/>
                  </a:cubicBezTo>
                  <a:cubicBezTo>
                    <a:pt x="182" y="166"/>
                    <a:pt x="196" y="171"/>
                    <a:pt x="214" y="171"/>
                  </a:cubicBezTo>
                  <a:cubicBezTo>
                    <a:pt x="223" y="171"/>
                    <a:pt x="232" y="170"/>
                    <a:pt x="242" y="166"/>
                  </a:cubicBezTo>
                  <a:cubicBezTo>
                    <a:pt x="256" y="159"/>
                    <a:pt x="263" y="147"/>
                    <a:pt x="267" y="137"/>
                  </a:cubicBezTo>
                  <a:cubicBezTo>
                    <a:pt x="271" y="127"/>
                    <a:pt x="271" y="119"/>
                    <a:pt x="271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70" y="120"/>
                    <a:pt x="275" y="117"/>
                    <a:pt x="280" y="111"/>
                  </a:cubicBezTo>
                  <a:cubicBezTo>
                    <a:pt x="284" y="105"/>
                    <a:pt x="290" y="97"/>
                    <a:pt x="291" y="86"/>
                  </a:cubicBezTo>
                  <a:cubicBezTo>
                    <a:pt x="292" y="82"/>
                    <a:pt x="292" y="78"/>
                    <a:pt x="292" y="75"/>
                  </a:cubicBezTo>
                  <a:cubicBezTo>
                    <a:pt x="292" y="59"/>
                    <a:pt x="287" y="45"/>
                    <a:pt x="279" y="35"/>
                  </a:cubicBezTo>
                  <a:cubicBezTo>
                    <a:pt x="271" y="24"/>
                    <a:pt x="255" y="16"/>
                    <a:pt x="239" y="16"/>
                  </a:cubicBezTo>
                  <a:cubicBezTo>
                    <a:pt x="236" y="16"/>
                    <a:pt x="233" y="16"/>
                    <a:pt x="230" y="17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2" y="17"/>
                    <a:pt x="232" y="17"/>
                    <a:pt x="232" y="17"/>
                  </a:cubicBezTo>
                  <a:cubicBezTo>
                    <a:pt x="232" y="17"/>
                    <a:pt x="214" y="0"/>
                    <a:pt x="191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78" y="0"/>
                    <a:pt x="167" y="4"/>
                    <a:pt x="157" y="11"/>
                  </a:cubicBezTo>
                  <a:cubicBezTo>
                    <a:pt x="148" y="19"/>
                    <a:pt x="141" y="29"/>
                    <a:pt x="139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0" y="41"/>
                    <a:pt x="140" y="41"/>
                    <a:pt x="140" y="41"/>
                  </a:cubicBezTo>
                  <a:cubicBezTo>
                    <a:pt x="140" y="41"/>
                    <a:pt x="132" y="44"/>
                    <a:pt x="125" y="51"/>
                  </a:cubicBezTo>
                  <a:cubicBezTo>
                    <a:pt x="117" y="58"/>
                    <a:pt x="110" y="68"/>
                    <a:pt x="109" y="83"/>
                  </a:cubicBezTo>
                  <a:cubicBezTo>
                    <a:pt x="109" y="84"/>
                    <a:pt x="109" y="85"/>
                    <a:pt x="109" y="86"/>
                  </a:cubicBezTo>
                  <a:cubicBezTo>
                    <a:pt x="109" y="100"/>
                    <a:pt x="116" y="109"/>
                    <a:pt x="122" y="115"/>
                  </a:cubicBezTo>
                  <a:cubicBezTo>
                    <a:pt x="128" y="120"/>
                    <a:pt x="135" y="122"/>
                    <a:pt x="135" y="122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4" y="121"/>
                    <a:pt x="134" y="121"/>
                    <a:pt x="134" y="121"/>
                  </a:cubicBezTo>
                  <a:cubicBezTo>
                    <a:pt x="134" y="121"/>
                    <a:pt x="136" y="126"/>
                    <a:pt x="139" y="131"/>
                  </a:cubicBezTo>
                  <a:cubicBezTo>
                    <a:pt x="143" y="137"/>
                    <a:pt x="148" y="143"/>
                    <a:pt x="155" y="145"/>
                  </a:cubicBezTo>
                  <a:cubicBezTo>
                    <a:pt x="158" y="146"/>
                    <a:pt x="161" y="147"/>
                    <a:pt x="164" y="147"/>
                  </a:cubicBezTo>
                  <a:cubicBezTo>
                    <a:pt x="170" y="147"/>
                    <a:pt x="176" y="145"/>
                    <a:pt x="182" y="143"/>
                  </a:cubicBezTo>
                  <a:cubicBezTo>
                    <a:pt x="187" y="140"/>
                    <a:pt x="192" y="136"/>
                    <a:pt x="195" y="131"/>
                  </a:cubicBezTo>
                  <a:cubicBezTo>
                    <a:pt x="194" y="130"/>
                    <a:pt x="194" y="130"/>
                    <a:pt x="194" y="130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4" y="132"/>
                    <a:pt x="201" y="130"/>
                    <a:pt x="210" y="127"/>
                  </a:cubicBezTo>
                  <a:cubicBezTo>
                    <a:pt x="218" y="124"/>
                    <a:pt x="227" y="118"/>
                    <a:pt x="231" y="109"/>
                  </a:cubicBezTo>
                  <a:cubicBezTo>
                    <a:pt x="234" y="102"/>
                    <a:pt x="237" y="92"/>
                    <a:pt x="237" y="82"/>
                  </a:cubicBezTo>
                  <a:cubicBezTo>
                    <a:pt x="237" y="69"/>
                    <a:pt x="233" y="55"/>
                    <a:pt x="222" y="47"/>
                  </a:cubicBezTo>
                  <a:cubicBezTo>
                    <a:pt x="215" y="41"/>
                    <a:pt x="208" y="39"/>
                    <a:pt x="201" y="39"/>
                  </a:cubicBezTo>
                  <a:cubicBezTo>
                    <a:pt x="188" y="39"/>
                    <a:pt x="177" y="46"/>
                    <a:pt x="170" y="54"/>
                  </a:cubicBezTo>
                  <a:cubicBezTo>
                    <a:pt x="165" y="60"/>
                    <a:pt x="163" y="69"/>
                    <a:pt x="163" y="77"/>
                  </a:cubicBezTo>
                  <a:cubicBezTo>
                    <a:pt x="163" y="84"/>
                    <a:pt x="164" y="91"/>
                    <a:pt x="169" y="96"/>
                  </a:cubicBezTo>
                  <a:cubicBezTo>
                    <a:pt x="174" y="100"/>
                    <a:pt x="181" y="103"/>
                    <a:pt x="188" y="103"/>
                  </a:cubicBezTo>
                  <a:cubicBezTo>
                    <a:pt x="192" y="103"/>
                    <a:pt x="197" y="102"/>
                    <a:pt x="200" y="100"/>
                  </a:cubicBezTo>
                  <a:cubicBezTo>
                    <a:pt x="204" y="98"/>
                    <a:pt x="207" y="95"/>
                    <a:pt x="209" y="91"/>
                  </a:cubicBezTo>
                  <a:cubicBezTo>
                    <a:pt x="211" y="88"/>
                    <a:pt x="212" y="84"/>
                    <a:pt x="212" y="81"/>
                  </a:cubicBezTo>
                  <a:cubicBezTo>
                    <a:pt x="212" y="76"/>
                    <a:pt x="209" y="70"/>
                    <a:pt x="206" y="67"/>
                  </a:cubicBezTo>
                  <a:cubicBezTo>
                    <a:pt x="203" y="63"/>
                    <a:pt x="199" y="60"/>
                    <a:pt x="195" y="59"/>
                  </a:cubicBezTo>
                  <a:cubicBezTo>
                    <a:pt x="194" y="59"/>
                    <a:pt x="192" y="58"/>
                    <a:pt x="190" y="58"/>
                  </a:cubicBezTo>
                  <a:cubicBezTo>
                    <a:pt x="186" y="58"/>
                    <a:pt x="181" y="60"/>
                    <a:pt x="177" y="64"/>
                  </a:cubicBezTo>
                  <a:cubicBezTo>
                    <a:pt x="173" y="67"/>
                    <a:pt x="170" y="73"/>
                    <a:pt x="170" y="81"/>
                  </a:cubicBezTo>
                  <a:cubicBezTo>
                    <a:pt x="170" y="81"/>
                    <a:pt x="170" y="81"/>
                    <a:pt x="170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71" y="80"/>
                    <a:pt x="159" y="88"/>
                    <a:pt x="147" y="99"/>
                  </a:cubicBezTo>
                  <a:cubicBezTo>
                    <a:pt x="141" y="104"/>
                    <a:pt x="134" y="109"/>
                    <a:pt x="129" y="115"/>
                  </a:cubicBezTo>
                  <a:cubicBezTo>
                    <a:pt x="124" y="120"/>
                    <a:pt x="120" y="125"/>
                    <a:pt x="118" y="130"/>
                  </a:cubicBezTo>
                  <a:cubicBezTo>
                    <a:pt x="114" y="138"/>
                    <a:pt x="113" y="142"/>
                    <a:pt x="112" y="145"/>
                  </a:cubicBezTo>
                  <a:cubicBezTo>
                    <a:pt x="111" y="149"/>
                    <a:pt x="109" y="153"/>
                    <a:pt x="102" y="161"/>
                  </a:cubicBezTo>
                  <a:cubicBezTo>
                    <a:pt x="95" y="170"/>
                    <a:pt x="91" y="176"/>
                    <a:pt x="85" y="181"/>
                  </a:cubicBezTo>
                  <a:cubicBezTo>
                    <a:pt x="80" y="185"/>
                    <a:pt x="74" y="188"/>
                    <a:pt x="65" y="189"/>
                  </a:cubicBezTo>
                  <a:cubicBezTo>
                    <a:pt x="56" y="190"/>
                    <a:pt x="42" y="190"/>
                    <a:pt x="30" y="193"/>
                  </a:cubicBezTo>
                  <a:cubicBezTo>
                    <a:pt x="23" y="195"/>
                    <a:pt x="17" y="197"/>
                    <a:pt x="13" y="201"/>
                  </a:cubicBezTo>
                  <a:cubicBezTo>
                    <a:pt x="8" y="205"/>
                    <a:pt x="4" y="211"/>
                    <a:pt x="2" y="218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10" y="213"/>
                    <a:pt x="24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8" y="209"/>
                    <a:pt x="3" y="217"/>
                    <a:pt x="3" y="217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8" y="212"/>
                    <a:pt x="11" y="208"/>
                    <a:pt x="15" y="204"/>
                  </a:cubicBezTo>
                  <a:cubicBezTo>
                    <a:pt x="21" y="199"/>
                    <a:pt x="31" y="197"/>
                    <a:pt x="40" y="195"/>
                  </a:cubicBezTo>
                  <a:cubicBezTo>
                    <a:pt x="49" y="194"/>
                    <a:pt x="59" y="194"/>
                    <a:pt x="66" y="193"/>
                  </a:cubicBezTo>
                  <a:cubicBezTo>
                    <a:pt x="75" y="192"/>
                    <a:pt x="82" y="189"/>
                    <a:pt x="88" y="184"/>
                  </a:cubicBezTo>
                  <a:cubicBezTo>
                    <a:pt x="94" y="179"/>
                    <a:pt x="99" y="172"/>
                    <a:pt x="105" y="164"/>
                  </a:cubicBezTo>
                  <a:cubicBezTo>
                    <a:pt x="112" y="155"/>
                    <a:pt x="114" y="151"/>
                    <a:pt x="116" y="147"/>
                  </a:cubicBezTo>
                  <a:cubicBezTo>
                    <a:pt x="117" y="143"/>
                    <a:pt x="118" y="139"/>
                    <a:pt x="121" y="131"/>
                  </a:cubicBezTo>
                  <a:cubicBezTo>
                    <a:pt x="123" y="128"/>
                    <a:pt x="127" y="123"/>
                    <a:pt x="132" y="118"/>
                  </a:cubicBezTo>
                  <a:cubicBezTo>
                    <a:pt x="140" y="110"/>
                    <a:pt x="150" y="101"/>
                    <a:pt x="158" y="95"/>
                  </a:cubicBezTo>
                  <a:cubicBezTo>
                    <a:pt x="163" y="91"/>
                    <a:pt x="166" y="88"/>
                    <a:pt x="169" y="86"/>
                  </a:cubicBezTo>
                  <a:cubicBezTo>
                    <a:pt x="172" y="84"/>
                    <a:pt x="173" y="83"/>
                    <a:pt x="173" y="83"/>
                  </a:cubicBezTo>
                  <a:cubicBezTo>
                    <a:pt x="174" y="83"/>
                    <a:pt x="174" y="83"/>
                    <a:pt x="174" y="83"/>
                  </a:cubicBezTo>
                  <a:cubicBezTo>
                    <a:pt x="174" y="82"/>
                    <a:pt x="174" y="82"/>
                    <a:pt x="174" y="82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74"/>
                    <a:pt x="176" y="69"/>
                    <a:pt x="179" y="66"/>
                  </a:cubicBezTo>
                  <a:cubicBezTo>
                    <a:pt x="182" y="64"/>
                    <a:pt x="187" y="62"/>
                    <a:pt x="190" y="62"/>
                  </a:cubicBezTo>
                  <a:cubicBezTo>
                    <a:pt x="192" y="62"/>
                    <a:pt x="193" y="63"/>
                    <a:pt x="194" y="63"/>
                  </a:cubicBezTo>
                  <a:cubicBezTo>
                    <a:pt x="197" y="64"/>
                    <a:pt x="201" y="66"/>
                    <a:pt x="203" y="69"/>
                  </a:cubicBezTo>
                  <a:cubicBezTo>
                    <a:pt x="206" y="72"/>
                    <a:pt x="208" y="77"/>
                    <a:pt x="208" y="81"/>
                  </a:cubicBezTo>
                  <a:cubicBezTo>
                    <a:pt x="208" y="84"/>
                    <a:pt x="207" y="86"/>
                    <a:pt x="206" y="89"/>
                  </a:cubicBezTo>
                  <a:cubicBezTo>
                    <a:pt x="204" y="92"/>
                    <a:pt x="202" y="95"/>
                    <a:pt x="198" y="96"/>
                  </a:cubicBezTo>
                  <a:cubicBezTo>
                    <a:pt x="195" y="98"/>
                    <a:pt x="192" y="99"/>
                    <a:pt x="188" y="99"/>
                  </a:cubicBezTo>
                  <a:cubicBezTo>
                    <a:pt x="182" y="99"/>
                    <a:pt x="175" y="96"/>
                    <a:pt x="172" y="93"/>
                  </a:cubicBezTo>
                  <a:cubicBezTo>
                    <a:pt x="168" y="89"/>
                    <a:pt x="167" y="83"/>
                    <a:pt x="167" y="77"/>
                  </a:cubicBezTo>
                  <a:cubicBezTo>
                    <a:pt x="167" y="70"/>
                    <a:pt x="169" y="62"/>
                    <a:pt x="174" y="56"/>
                  </a:cubicBezTo>
                  <a:cubicBezTo>
                    <a:pt x="179" y="50"/>
                    <a:pt x="190" y="43"/>
                    <a:pt x="201" y="43"/>
                  </a:cubicBezTo>
                  <a:cubicBezTo>
                    <a:pt x="207" y="43"/>
                    <a:pt x="213" y="45"/>
                    <a:pt x="220" y="50"/>
                  </a:cubicBezTo>
                  <a:cubicBezTo>
                    <a:pt x="229" y="57"/>
                    <a:pt x="233" y="69"/>
                    <a:pt x="233" y="82"/>
                  </a:cubicBezTo>
                  <a:cubicBezTo>
                    <a:pt x="233" y="91"/>
                    <a:pt x="230" y="101"/>
                    <a:pt x="227" y="108"/>
                  </a:cubicBezTo>
                  <a:cubicBezTo>
                    <a:pt x="224" y="115"/>
                    <a:pt x="216" y="120"/>
                    <a:pt x="208" y="123"/>
                  </a:cubicBezTo>
                  <a:cubicBezTo>
                    <a:pt x="204" y="125"/>
                    <a:pt x="200" y="126"/>
                    <a:pt x="198" y="127"/>
                  </a:cubicBezTo>
                  <a:cubicBezTo>
                    <a:pt x="196" y="127"/>
                    <a:pt x="195" y="128"/>
                    <a:pt x="195" y="128"/>
                  </a:cubicBezTo>
                  <a:cubicBezTo>
                    <a:pt x="194" y="128"/>
                    <a:pt x="194" y="128"/>
                    <a:pt x="194" y="128"/>
                  </a:cubicBezTo>
                  <a:cubicBezTo>
                    <a:pt x="193" y="128"/>
                    <a:pt x="193" y="128"/>
                    <a:pt x="193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92" y="129"/>
                    <a:pt x="192" y="129"/>
                    <a:pt x="192" y="129"/>
                  </a:cubicBezTo>
                  <a:cubicBezTo>
                    <a:pt x="189" y="133"/>
                    <a:pt x="185" y="137"/>
                    <a:pt x="180" y="139"/>
                  </a:cubicBezTo>
                  <a:cubicBezTo>
                    <a:pt x="175" y="141"/>
                    <a:pt x="169" y="143"/>
                    <a:pt x="164" y="143"/>
                  </a:cubicBezTo>
                  <a:cubicBezTo>
                    <a:pt x="161" y="143"/>
                    <a:pt x="158" y="142"/>
                    <a:pt x="156" y="141"/>
                  </a:cubicBezTo>
                  <a:cubicBezTo>
                    <a:pt x="151" y="140"/>
                    <a:pt x="146" y="134"/>
                    <a:pt x="143" y="129"/>
                  </a:cubicBezTo>
                  <a:cubicBezTo>
                    <a:pt x="141" y="127"/>
                    <a:pt x="140" y="124"/>
                    <a:pt x="139" y="122"/>
                  </a:cubicBezTo>
                  <a:cubicBezTo>
                    <a:pt x="138" y="122"/>
                    <a:pt x="138" y="121"/>
                    <a:pt x="138" y="120"/>
                  </a:cubicBezTo>
                  <a:cubicBezTo>
                    <a:pt x="138" y="120"/>
                    <a:pt x="138" y="120"/>
                    <a:pt x="138" y="120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0" y="116"/>
                    <a:pt x="124" y="111"/>
                  </a:cubicBezTo>
                  <a:cubicBezTo>
                    <a:pt x="118" y="106"/>
                    <a:pt x="113" y="98"/>
                    <a:pt x="113" y="86"/>
                  </a:cubicBezTo>
                  <a:cubicBezTo>
                    <a:pt x="113" y="85"/>
                    <a:pt x="113" y="84"/>
                    <a:pt x="113" y="84"/>
                  </a:cubicBezTo>
                  <a:cubicBezTo>
                    <a:pt x="114" y="70"/>
                    <a:pt x="121" y="60"/>
                    <a:pt x="128" y="54"/>
                  </a:cubicBezTo>
                  <a:cubicBezTo>
                    <a:pt x="131" y="51"/>
                    <a:pt x="135" y="49"/>
                    <a:pt x="137" y="47"/>
                  </a:cubicBezTo>
                  <a:cubicBezTo>
                    <a:pt x="138" y="46"/>
                    <a:pt x="140" y="46"/>
                    <a:pt x="140" y="46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43" y="44"/>
                    <a:pt x="143" y="44"/>
                    <a:pt x="143" y="44"/>
                  </a:cubicBezTo>
                  <a:cubicBezTo>
                    <a:pt x="145" y="31"/>
                    <a:pt x="151" y="21"/>
                    <a:pt x="160" y="15"/>
                  </a:cubicBezTo>
                  <a:cubicBezTo>
                    <a:pt x="168" y="8"/>
                    <a:pt x="179" y="4"/>
                    <a:pt x="190" y="4"/>
                  </a:cubicBezTo>
                  <a:cubicBezTo>
                    <a:pt x="191" y="4"/>
                    <a:pt x="191" y="4"/>
                    <a:pt x="191" y="4"/>
                  </a:cubicBezTo>
                  <a:cubicBezTo>
                    <a:pt x="201" y="4"/>
                    <a:pt x="211" y="8"/>
                    <a:pt x="218" y="12"/>
                  </a:cubicBezTo>
                  <a:cubicBezTo>
                    <a:pt x="222" y="14"/>
                    <a:pt x="224" y="16"/>
                    <a:pt x="226" y="18"/>
                  </a:cubicBezTo>
                  <a:cubicBezTo>
                    <a:pt x="227" y="19"/>
                    <a:pt x="228" y="19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30" y="21"/>
                    <a:pt x="230" y="21"/>
                    <a:pt x="230" y="21"/>
                  </a:cubicBezTo>
                  <a:cubicBezTo>
                    <a:pt x="231" y="21"/>
                    <a:pt x="231" y="21"/>
                    <a:pt x="231" y="21"/>
                  </a:cubicBezTo>
                  <a:cubicBezTo>
                    <a:pt x="234" y="20"/>
                    <a:pt x="236" y="20"/>
                    <a:pt x="239" y="20"/>
                  </a:cubicBezTo>
                  <a:cubicBezTo>
                    <a:pt x="254" y="20"/>
                    <a:pt x="268" y="27"/>
                    <a:pt x="276" y="37"/>
                  </a:cubicBezTo>
                  <a:cubicBezTo>
                    <a:pt x="283" y="47"/>
                    <a:pt x="288" y="60"/>
                    <a:pt x="288" y="75"/>
                  </a:cubicBezTo>
                  <a:cubicBezTo>
                    <a:pt x="288" y="78"/>
                    <a:pt x="288" y="82"/>
                    <a:pt x="287" y="85"/>
                  </a:cubicBezTo>
                  <a:cubicBezTo>
                    <a:pt x="286" y="95"/>
                    <a:pt x="281" y="103"/>
                    <a:pt x="277" y="109"/>
                  </a:cubicBezTo>
                  <a:cubicBezTo>
                    <a:pt x="274" y="111"/>
                    <a:pt x="272" y="114"/>
                    <a:pt x="270" y="115"/>
                  </a:cubicBezTo>
                  <a:cubicBezTo>
                    <a:pt x="270" y="116"/>
                    <a:pt x="269" y="116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7" y="118"/>
                    <a:pt x="267" y="118"/>
                    <a:pt x="267" y="118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21"/>
                    <a:pt x="266" y="129"/>
                    <a:pt x="263" y="138"/>
                  </a:cubicBezTo>
                  <a:cubicBezTo>
                    <a:pt x="259" y="146"/>
                    <a:pt x="252" y="156"/>
                    <a:pt x="240" y="162"/>
                  </a:cubicBezTo>
                  <a:cubicBezTo>
                    <a:pt x="231" y="166"/>
                    <a:pt x="222" y="167"/>
                    <a:pt x="214" y="167"/>
                  </a:cubicBezTo>
                  <a:cubicBezTo>
                    <a:pt x="205" y="167"/>
                    <a:pt x="198" y="166"/>
                    <a:pt x="192" y="165"/>
                  </a:cubicBezTo>
                  <a:cubicBezTo>
                    <a:pt x="189" y="164"/>
                    <a:pt x="187" y="163"/>
                    <a:pt x="185" y="163"/>
                  </a:cubicBezTo>
                  <a:cubicBezTo>
                    <a:pt x="185" y="162"/>
                    <a:pt x="184" y="162"/>
                    <a:pt x="184" y="162"/>
                  </a:cubicBezTo>
                  <a:cubicBezTo>
                    <a:pt x="183" y="162"/>
                    <a:pt x="183" y="162"/>
                    <a:pt x="183" y="162"/>
                  </a:cubicBezTo>
                  <a:cubicBezTo>
                    <a:pt x="181" y="161"/>
                    <a:pt x="181" y="161"/>
                    <a:pt x="181" y="161"/>
                  </a:cubicBezTo>
                  <a:cubicBezTo>
                    <a:pt x="181" y="163"/>
                    <a:pt x="181" y="163"/>
                    <a:pt x="181" y="163"/>
                  </a:cubicBezTo>
                  <a:cubicBezTo>
                    <a:pt x="179" y="165"/>
                    <a:pt x="176" y="167"/>
                    <a:pt x="172" y="168"/>
                  </a:cubicBezTo>
                  <a:cubicBezTo>
                    <a:pt x="168" y="169"/>
                    <a:pt x="163" y="170"/>
                    <a:pt x="159" y="170"/>
                  </a:cubicBezTo>
                  <a:cubicBezTo>
                    <a:pt x="155" y="170"/>
                    <a:pt x="151" y="169"/>
                    <a:pt x="150" y="169"/>
                  </a:cubicBezTo>
                  <a:cubicBezTo>
                    <a:pt x="148" y="169"/>
                    <a:pt x="145" y="167"/>
                    <a:pt x="141" y="165"/>
                  </a:cubicBezTo>
                  <a:cubicBezTo>
                    <a:pt x="140" y="164"/>
                    <a:pt x="138" y="164"/>
                    <a:pt x="136" y="163"/>
                  </a:cubicBezTo>
                  <a:cubicBezTo>
                    <a:pt x="135" y="162"/>
                    <a:pt x="133" y="162"/>
                    <a:pt x="131" y="162"/>
                  </a:cubicBezTo>
                  <a:cubicBezTo>
                    <a:pt x="130" y="162"/>
                    <a:pt x="129" y="162"/>
                    <a:pt x="128" y="163"/>
                  </a:cubicBezTo>
                  <a:cubicBezTo>
                    <a:pt x="125" y="164"/>
                    <a:pt x="121" y="167"/>
                    <a:pt x="117" y="171"/>
                  </a:cubicBezTo>
                  <a:cubicBezTo>
                    <a:pt x="113" y="175"/>
                    <a:pt x="109" y="179"/>
                    <a:pt x="107" y="182"/>
                  </a:cubicBezTo>
                  <a:cubicBezTo>
                    <a:pt x="102" y="188"/>
                    <a:pt x="89" y="203"/>
                    <a:pt x="71" y="208"/>
                  </a:cubicBezTo>
                  <a:cubicBezTo>
                    <a:pt x="65" y="209"/>
                    <a:pt x="58" y="210"/>
                    <a:pt x="51" y="210"/>
                  </a:cubicBezTo>
                  <a:cubicBezTo>
                    <a:pt x="44" y="210"/>
                    <a:pt x="37" y="209"/>
                    <a:pt x="32" y="209"/>
                  </a:cubicBezTo>
                  <a:cubicBezTo>
                    <a:pt x="30" y="208"/>
                    <a:pt x="27" y="208"/>
                    <a:pt x="26" y="208"/>
                  </a:cubicBezTo>
                  <a:cubicBezTo>
                    <a:pt x="25" y="208"/>
                    <a:pt x="24" y="207"/>
                    <a:pt x="24" y="207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23" y="207"/>
                    <a:pt x="23" y="207"/>
                    <a:pt x="23" y="207"/>
                  </a:cubicBezTo>
                  <a:lnTo>
                    <a:pt x="23" y="2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776513" y="1418374"/>
              <a:ext cx="360386" cy="357570"/>
            </a:xfrm>
            <a:custGeom>
              <a:avLst/>
              <a:gdLst>
                <a:gd name="T0" fmla="*/ 56 w 108"/>
                <a:gd name="T1" fmla="*/ 37 h 107"/>
                <a:gd name="T2" fmla="*/ 55 w 108"/>
                <a:gd name="T3" fmla="*/ 44 h 107"/>
                <a:gd name="T4" fmla="*/ 48 w 108"/>
                <a:gd name="T5" fmla="*/ 46 h 107"/>
                <a:gd name="T6" fmla="*/ 42 w 108"/>
                <a:gd name="T7" fmla="*/ 39 h 107"/>
                <a:gd name="T8" fmla="*/ 57 w 108"/>
                <a:gd name="T9" fmla="*/ 24 h 107"/>
                <a:gd name="T10" fmla="*/ 74 w 108"/>
                <a:gd name="T11" fmla="*/ 30 h 107"/>
                <a:gd name="T12" fmla="*/ 79 w 108"/>
                <a:gd name="T13" fmla="*/ 42 h 107"/>
                <a:gd name="T14" fmla="*/ 74 w 108"/>
                <a:gd name="T15" fmla="*/ 56 h 107"/>
                <a:gd name="T16" fmla="*/ 56 w 108"/>
                <a:gd name="T17" fmla="*/ 62 h 107"/>
                <a:gd name="T18" fmla="*/ 37 w 108"/>
                <a:gd name="T19" fmla="*/ 36 h 107"/>
                <a:gd name="T20" fmla="*/ 52 w 108"/>
                <a:gd name="T21" fmla="*/ 12 h 107"/>
                <a:gd name="T22" fmla="*/ 73 w 108"/>
                <a:gd name="T23" fmla="*/ 4 h 107"/>
                <a:gd name="T24" fmla="*/ 104 w 108"/>
                <a:gd name="T25" fmla="*/ 41 h 107"/>
                <a:gd name="T26" fmla="*/ 90 w 108"/>
                <a:gd name="T27" fmla="*/ 76 h 107"/>
                <a:gd name="T28" fmla="*/ 63 w 108"/>
                <a:gd name="T29" fmla="*/ 89 h 107"/>
                <a:gd name="T30" fmla="*/ 63 w 108"/>
                <a:gd name="T31" fmla="*/ 90 h 107"/>
                <a:gd name="T32" fmla="*/ 40 w 108"/>
                <a:gd name="T33" fmla="*/ 103 h 107"/>
                <a:gd name="T34" fmla="*/ 18 w 108"/>
                <a:gd name="T35" fmla="*/ 94 h 107"/>
                <a:gd name="T36" fmla="*/ 8 w 108"/>
                <a:gd name="T37" fmla="*/ 80 h 107"/>
                <a:gd name="T38" fmla="*/ 0 w 108"/>
                <a:gd name="T39" fmla="*/ 80 h 107"/>
                <a:gd name="T40" fmla="*/ 7 w 108"/>
                <a:gd name="T41" fmla="*/ 81 h 107"/>
                <a:gd name="T42" fmla="*/ 15 w 108"/>
                <a:gd name="T43" fmla="*/ 97 h 107"/>
                <a:gd name="T44" fmla="*/ 40 w 108"/>
                <a:gd name="T45" fmla="*/ 107 h 107"/>
                <a:gd name="T46" fmla="*/ 67 w 108"/>
                <a:gd name="T47" fmla="*/ 92 h 107"/>
                <a:gd name="T48" fmla="*/ 65 w 108"/>
                <a:gd name="T49" fmla="*/ 93 h 107"/>
                <a:gd name="T50" fmla="*/ 108 w 108"/>
                <a:gd name="T51" fmla="*/ 45 h 107"/>
                <a:gd name="T52" fmla="*/ 96 w 108"/>
                <a:gd name="T53" fmla="*/ 10 h 107"/>
                <a:gd name="T54" fmla="*/ 72 w 108"/>
                <a:gd name="T55" fmla="*/ 0 h 107"/>
                <a:gd name="T56" fmla="*/ 35 w 108"/>
                <a:gd name="T57" fmla="*/ 26 h 107"/>
                <a:gd name="T58" fmla="*/ 39 w 108"/>
                <a:gd name="T59" fmla="*/ 55 h 107"/>
                <a:gd name="T60" fmla="*/ 59 w 108"/>
                <a:gd name="T61" fmla="*/ 66 h 107"/>
                <a:gd name="T62" fmla="*/ 83 w 108"/>
                <a:gd name="T63" fmla="*/ 42 h 107"/>
                <a:gd name="T64" fmla="*/ 83 w 108"/>
                <a:gd name="T65" fmla="*/ 42 h 107"/>
                <a:gd name="T66" fmla="*/ 59 w 108"/>
                <a:gd name="T67" fmla="*/ 20 h 107"/>
                <a:gd name="T68" fmla="*/ 43 w 108"/>
                <a:gd name="T69" fmla="*/ 26 h 107"/>
                <a:gd name="T70" fmla="*/ 41 w 108"/>
                <a:gd name="T71" fmla="*/ 46 h 107"/>
                <a:gd name="T72" fmla="*/ 50 w 108"/>
                <a:gd name="T73" fmla="*/ 50 h 107"/>
                <a:gd name="T74" fmla="*/ 60 w 108"/>
                <a:gd name="T75" fmla="*/ 41 h 107"/>
                <a:gd name="T76" fmla="*/ 56 w 108"/>
                <a:gd name="T77" fmla="*/ 3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" h="107"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8"/>
                    <a:pt x="56" y="39"/>
                    <a:pt x="56" y="41"/>
                  </a:cubicBezTo>
                  <a:cubicBezTo>
                    <a:pt x="56" y="42"/>
                    <a:pt x="56" y="44"/>
                    <a:pt x="55" y="44"/>
                  </a:cubicBezTo>
                  <a:cubicBezTo>
                    <a:pt x="55" y="45"/>
                    <a:pt x="53" y="46"/>
                    <a:pt x="50" y="46"/>
                  </a:cubicBezTo>
                  <a:cubicBezTo>
                    <a:pt x="50" y="46"/>
                    <a:pt x="49" y="46"/>
                    <a:pt x="48" y="46"/>
                  </a:cubicBezTo>
                  <a:cubicBezTo>
                    <a:pt x="46" y="46"/>
                    <a:pt x="45" y="45"/>
                    <a:pt x="44" y="44"/>
                  </a:cubicBezTo>
                  <a:cubicBezTo>
                    <a:pt x="43" y="42"/>
                    <a:pt x="42" y="41"/>
                    <a:pt x="42" y="39"/>
                  </a:cubicBezTo>
                  <a:cubicBezTo>
                    <a:pt x="42" y="36"/>
                    <a:pt x="44" y="32"/>
                    <a:pt x="46" y="29"/>
                  </a:cubicBezTo>
                  <a:cubicBezTo>
                    <a:pt x="49" y="26"/>
                    <a:pt x="52" y="24"/>
                    <a:pt x="57" y="24"/>
                  </a:cubicBezTo>
                  <a:cubicBezTo>
                    <a:pt x="57" y="24"/>
                    <a:pt x="58" y="24"/>
                    <a:pt x="58" y="24"/>
                  </a:cubicBezTo>
                  <a:cubicBezTo>
                    <a:pt x="66" y="25"/>
                    <a:pt x="71" y="27"/>
                    <a:pt x="74" y="30"/>
                  </a:cubicBezTo>
                  <a:cubicBezTo>
                    <a:pt x="77" y="33"/>
                    <a:pt x="78" y="37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8" y="47"/>
                    <a:pt x="77" y="52"/>
                    <a:pt x="74" y="56"/>
                  </a:cubicBezTo>
                  <a:cubicBezTo>
                    <a:pt x="70" y="59"/>
                    <a:pt x="66" y="62"/>
                    <a:pt x="59" y="62"/>
                  </a:cubicBezTo>
                  <a:cubicBezTo>
                    <a:pt x="58" y="62"/>
                    <a:pt x="57" y="62"/>
                    <a:pt x="56" y="62"/>
                  </a:cubicBezTo>
                  <a:cubicBezTo>
                    <a:pt x="50" y="61"/>
                    <a:pt x="45" y="57"/>
                    <a:pt x="42" y="52"/>
                  </a:cubicBezTo>
                  <a:cubicBezTo>
                    <a:pt x="39" y="48"/>
                    <a:pt x="37" y="41"/>
                    <a:pt x="37" y="36"/>
                  </a:cubicBezTo>
                  <a:cubicBezTo>
                    <a:pt x="37" y="33"/>
                    <a:pt x="38" y="30"/>
                    <a:pt x="39" y="28"/>
                  </a:cubicBezTo>
                  <a:cubicBezTo>
                    <a:pt x="42" y="23"/>
                    <a:pt x="46" y="17"/>
                    <a:pt x="52" y="12"/>
                  </a:cubicBezTo>
                  <a:cubicBezTo>
                    <a:pt x="57" y="7"/>
                    <a:pt x="64" y="4"/>
                    <a:pt x="72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81" y="4"/>
                    <a:pt x="88" y="7"/>
                    <a:pt x="93" y="12"/>
                  </a:cubicBezTo>
                  <a:cubicBezTo>
                    <a:pt x="98" y="18"/>
                    <a:pt x="102" y="27"/>
                    <a:pt x="104" y="41"/>
                  </a:cubicBezTo>
                  <a:cubicBezTo>
                    <a:pt x="104" y="42"/>
                    <a:pt x="104" y="44"/>
                    <a:pt x="104" y="45"/>
                  </a:cubicBezTo>
                  <a:cubicBezTo>
                    <a:pt x="104" y="57"/>
                    <a:pt x="98" y="68"/>
                    <a:pt x="90" y="76"/>
                  </a:cubicBezTo>
                  <a:cubicBezTo>
                    <a:pt x="83" y="84"/>
                    <a:pt x="73" y="89"/>
                    <a:pt x="65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1" y="93"/>
                    <a:pt x="58" y="97"/>
                  </a:cubicBezTo>
                  <a:cubicBezTo>
                    <a:pt x="54" y="100"/>
                    <a:pt x="49" y="103"/>
                    <a:pt x="40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0" y="103"/>
                    <a:pt x="23" y="99"/>
                    <a:pt x="18" y="94"/>
                  </a:cubicBezTo>
                  <a:cubicBezTo>
                    <a:pt x="13" y="90"/>
                    <a:pt x="9" y="84"/>
                    <a:pt x="9" y="81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6" y="86"/>
                    <a:pt x="9" y="92"/>
                    <a:pt x="15" y="97"/>
                  </a:cubicBezTo>
                  <a:cubicBezTo>
                    <a:pt x="21" y="103"/>
                    <a:pt x="29" y="107"/>
                    <a:pt x="39" y="107"/>
                  </a:cubicBezTo>
                  <a:cubicBezTo>
                    <a:pt x="39" y="107"/>
                    <a:pt x="39" y="107"/>
                    <a:pt x="40" y="107"/>
                  </a:cubicBezTo>
                  <a:cubicBezTo>
                    <a:pt x="50" y="107"/>
                    <a:pt x="57" y="103"/>
                    <a:pt x="61" y="99"/>
                  </a:cubicBezTo>
                  <a:cubicBezTo>
                    <a:pt x="65" y="95"/>
                    <a:pt x="67" y="92"/>
                    <a:pt x="67" y="92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74" y="93"/>
                    <a:pt x="85" y="87"/>
                    <a:pt x="93" y="79"/>
                  </a:cubicBezTo>
                  <a:cubicBezTo>
                    <a:pt x="102" y="71"/>
                    <a:pt x="108" y="59"/>
                    <a:pt x="108" y="45"/>
                  </a:cubicBezTo>
                  <a:cubicBezTo>
                    <a:pt x="108" y="44"/>
                    <a:pt x="108" y="42"/>
                    <a:pt x="108" y="40"/>
                  </a:cubicBezTo>
                  <a:cubicBezTo>
                    <a:pt x="106" y="26"/>
                    <a:pt x="102" y="16"/>
                    <a:pt x="96" y="10"/>
                  </a:cubicBezTo>
                  <a:cubicBezTo>
                    <a:pt x="90" y="3"/>
                    <a:pt x="82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63" y="0"/>
                    <a:pt x="55" y="4"/>
                    <a:pt x="49" y="9"/>
                  </a:cubicBezTo>
                  <a:cubicBezTo>
                    <a:pt x="43" y="14"/>
                    <a:pt x="38" y="20"/>
                    <a:pt x="35" y="26"/>
                  </a:cubicBezTo>
                  <a:cubicBezTo>
                    <a:pt x="34" y="29"/>
                    <a:pt x="33" y="32"/>
                    <a:pt x="33" y="36"/>
                  </a:cubicBezTo>
                  <a:cubicBezTo>
                    <a:pt x="33" y="42"/>
                    <a:pt x="35" y="49"/>
                    <a:pt x="39" y="55"/>
                  </a:cubicBezTo>
                  <a:cubicBezTo>
                    <a:pt x="42" y="60"/>
                    <a:pt x="48" y="65"/>
                    <a:pt x="55" y="66"/>
                  </a:cubicBezTo>
                  <a:cubicBezTo>
                    <a:pt x="56" y="66"/>
                    <a:pt x="58" y="66"/>
                    <a:pt x="59" y="66"/>
                  </a:cubicBezTo>
                  <a:cubicBezTo>
                    <a:pt x="67" y="66"/>
                    <a:pt x="73" y="63"/>
                    <a:pt x="77" y="58"/>
                  </a:cubicBezTo>
                  <a:cubicBezTo>
                    <a:pt x="81" y="54"/>
                    <a:pt x="82" y="48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36"/>
                    <a:pt x="81" y="31"/>
                    <a:pt x="77" y="27"/>
                  </a:cubicBezTo>
                  <a:cubicBezTo>
                    <a:pt x="73" y="23"/>
                    <a:pt x="67" y="21"/>
                    <a:pt x="59" y="20"/>
                  </a:cubicBezTo>
                  <a:cubicBezTo>
                    <a:pt x="58" y="20"/>
                    <a:pt x="57" y="20"/>
                    <a:pt x="57" y="20"/>
                  </a:cubicBezTo>
                  <a:cubicBezTo>
                    <a:pt x="51" y="20"/>
                    <a:pt x="46" y="22"/>
                    <a:pt x="43" y="26"/>
                  </a:cubicBezTo>
                  <a:cubicBezTo>
                    <a:pt x="40" y="30"/>
                    <a:pt x="38" y="35"/>
                    <a:pt x="38" y="39"/>
                  </a:cubicBezTo>
                  <a:cubicBezTo>
                    <a:pt x="38" y="41"/>
                    <a:pt x="39" y="44"/>
                    <a:pt x="41" y="46"/>
                  </a:cubicBezTo>
                  <a:cubicBezTo>
                    <a:pt x="42" y="48"/>
                    <a:pt x="45" y="49"/>
                    <a:pt x="48" y="50"/>
                  </a:cubicBezTo>
                  <a:cubicBezTo>
                    <a:pt x="49" y="50"/>
                    <a:pt x="50" y="50"/>
                    <a:pt x="50" y="50"/>
                  </a:cubicBezTo>
                  <a:cubicBezTo>
                    <a:pt x="54" y="50"/>
                    <a:pt x="57" y="49"/>
                    <a:pt x="58" y="47"/>
                  </a:cubicBezTo>
                  <a:cubicBezTo>
                    <a:pt x="60" y="45"/>
                    <a:pt x="60" y="43"/>
                    <a:pt x="60" y="41"/>
                  </a:cubicBezTo>
                  <a:cubicBezTo>
                    <a:pt x="60" y="38"/>
                    <a:pt x="60" y="36"/>
                    <a:pt x="59" y="36"/>
                  </a:cubicBezTo>
                  <a:lnTo>
                    <a:pt x="56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842678" y="838378"/>
              <a:ext cx="460337" cy="450482"/>
            </a:xfrm>
            <a:custGeom>
              <a:avLst/>
              <a:gdLst>
                <a:gd name="T0" fmla="*/ 72 w 138"/>
                <a:gd name="T1" fmla="*/ 46 h 135"/>
                <a:gd name="T2" fmla="*/ 72 w 138"/>
                <a:gd name="T3" fmla="*/ 56 h 135"/>
                <a:gd name="T4" fmla="*/ 62 w 138"/>
                <a:gd name="T5" fmla="*/ 58 h 135"/>
                <a:gd name="T6" fmla="*/ 54 w 138"/>
                <a:gd name="T7" fmla="*/ 49 h 135"/>
                <a:gd name="T8" fmla="*/ 73 w 138"/>
                <a:gd name="T9" fmla="*/ 28 h 135"/>
                <a:gd name="T10" fmla="*/ 96 w 138"/>
                <a:gd name="T11" fmla="*/ 36 h 135"/>
                <a:gd name="T12" fmla="*/ 101 w 138"/>
                <a:gd name="T13" fmla="*/ 53 h 135"/>
                <a:gd name="T14" fmla="*/ 95 w 138"/>
                <a:gd name="T15" fmla="*/ 71 h 135"/>
                <a:gd name="T16" fmla="*/ 71 w 138"/>
                <a:gd name="T17" fmla="*/ 78 h 135"/>
                <a:gd name="T18" fmla="*/ 48 w 138"/>
                <a:gd name="T19" fmla="*/ 45 h 135"/>
                <a:gd name="T20" fmla="*/ 66 w 138"/>
                <a:gd name="T21" fmla="*/ 14 h 135"/>
                <a:gd name="T22" fmla="*/ 94 w 138"/>
                <a:gd name="T23" fmla="*/ 4 h 135"/>
                <a:gd name="T24" fmla="*/ 133 w 138"/>
                <a:gd name="T25" fmla="*/ 51 h 135"/>
                <a:gd name="T26" fmla="*/ 116 w 138"/>
                <a:gd name="T27" fmla="*/ 97 h 135"/>
                <a:gd name="T28" fmla="*/ 82 w 138"/>
                <a:gd name="T29" fmla="*/ 113 h 135"/>
                <a:gd name="T30" fmla="*/ 81 w 138"/>
                <a:gd name="T31" fmla="*/ 114 h 135"/>
                <a:gd name="T32" fmla="*/ 51 w 138"/>
                <a:gd name="T33" fmla="*/ 131 h 135"/>
                <a:gd name="T34" fmla="*/ 23 w 138"/>
                <a:gd name="T35" fmla="*/ 120 h 135"/>
                <a:gd name="T36" fmla="*/ 11 w 138"/>
                <a:gd name="T37" fmla="*/ 101 h 135"/>
                <a:gd name="T38" fmla="*/ 0 w 138"/>
                <a:gd name="T39" fmla="*/ 101 h 135"/>
                <a:gd name="T40" fmla="*/ 9 w 138"/>
                <a:gd name="T41" fmla="*/ 103 h 135"/>
                <a:gd name="T42" fmla="*/ 20 w 138"/>
                <a:gd name="T43" fmla="*/ 123 h 135"/>
                <a:gd name="T44" fmla="*/ 52 w 138"/>
                <a:gd name="T45" fmla="*/ 135 h 135"/>
                <a:gd name="T46" fmla="*/ 85 w 138"/>
                <a:gd name="T47" fmla="*/ 116 h 135"/>
                <a:gd name="T48" fmla="*/ 83 w 138"/>
                <a:gd name="T49" fmla="*/ 117 h 135"/>
                <a:gd name="T50" fmla="*/ 138 w 138"/>
                <a:gd name="T51" fmla="*/ 57 h 135"/>
                <a:gd name="T52" fmla="*/ 123 w 138"/>
                <a:gd name="T53" fmla="*/ 12 h 135"/>
                <a:gd name="T54" fmla="*/ 92 w 138"/>
                <a:gd name="T55" fmla="*/ 0 h 135"/>
                <a:gd name="T56" fmla="*/ 46 w 138"/>
                <a:gd name="T57" fmla="*/ 32 h 135"/>
                <a:gd name="T58" fmla="*/ 51 w 138"/>
                <a:gd name="T59" fmla="*/ 68 h 135"/>
                <a:gd name="T60" fmla="*/ 76 w 138"/>
                <a:gd name="T61" fmla="*/ 83 h 135"/>
                <a:gd name="T62" fmla="*/ 105 w 138"/>
                <a:gd name="T63" fmla="*/ 53 h 135"/>
                <a:gd name="T64" fmla="*/ 105 w 138"/>
                <a:gd name="T65" fmla="*/ 53 h 135"/>
                <a:gd name="T66" fmla="*/ 75 w 138"/>
                <a:gd name="T67" fmla="*/ 25 h 135"/>
                <a:gd name="T68" fmla="*/ 56 w 138"/>
                <a:gd name="T69" fmla="*/ 33 h 135"/>
                <a:gd name="T70" fmla="*/ 53 w 138"/>
                <a:gd name="T71" fmla="*/ 57 h 135"/>
                <a:gd name="T72" fmla="*/ 65 w 138"/>
                <a:gd name="T73" fmla="*/ 62 h 135"/>
                <a:gd name="T74" fmla="*/ 77 w 138"/>
                <a:gd name="T75" fmla="*/ 51 h 135"/>
                <a:gd name="T76" fmla="*/ 72 w 138"/>
                <a:gd name="T77" fmla="*/ 46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8" h="135">
                  <a:moveTo>
                    <a:pt x="72" y="46"/>
                  </a:moveTo>
                  <a:cubicBezTo>
                    <a:pt x="72" y="46"/>
                    <a:pt x="72" y="46"/>
                    <a:pt x="72" y="46"/>
                  </a:cubicBezTo>
                  <a:cubicBezTo>
                    <a:pt x="72" y="47"/>
                    <a:pt x="73" y="49"/>
                    <a:pt x="73" y="51"/>
                  </a:cubicBezTo>
                  <a:cubicBezTo>
                    <a:pt x="73" y="53"/>
                    <a:pt x="73" y="55"/>
                    <a:pt x="72" y="56"/>
                  </a:cubicBezTo>
                  <a:cubicBezTo>
                    <a:pt x="71" y="57"/>
                    <a:pt x="69" y="58"/>
                    <a:pt x="65" y="58"/>
                  </a:cubicBezTo>
                  <a:cubicBezTo>
                    <a:pt x="64" y="58"/>
                    <a:pt x="63" y="58"/>
                    <a:pt x="62" y="58"/>
                  </a:cubicBezTo>
                  <a:cubicBezTo>
                    <a:pt x="59" y="58"/>
                    <a:pt x="57" y="57"/>
                    <a:pt x="56" y="55"/>
                  </a:cubicBezTo>
                  <a:cubicBezTo>
                    <a:pt x="55" y="53"/>
                    <a:pt x="54" y="51"/>
                    <a:pt x="54" y="49"/>
                  </a:cubicBezTo>
                  <a:cubicBezTo>
                    <a:pt x="54" y="44"/>
                    <a:pt x="56" y="39"/>
                    <a:pt x="59" y="35"/>
                  </a:cubicBezTo>
                  <a:cubicBezTo>
                    <a:pt x="63" y="31"/>
                    <a:pt x="67" y="28"/>
                    <a:pt x="73" y="28"/>
                  </a:cubicBezTo>
                  <a:cubicBezTo>
                    <a:pt x="73" y="28"/>
                    <a:pt x="74" y="29"/>
                    <a:pt x="75" y="29"/>
                  </a:cubicBezTo>
                  <a:cubicBezTo>
                    <a:pt x="85" y="30"/>
                    <a:pt x="92" y="33"/>
                    <a:pt x="96" y="36"/>
                  </a:cubicBezTo>
                  <a:cubicBezTo>
                    <a:pt x="100" y="40"/>
                    <a:pt x="101" y="45"/>
                    <a:pt x="101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9"/>
                    <a:pt x="99" y="66"/>
                    <a:pt x="95" y="71"/>
                  </a:cubicBezTo>
                  <a:cubicBezTo>
                    <a:pt x="91" y="75"/>
                    <a:pt x="85" y="79"/>
                    <a:pt x="76" y="79"/>
                  </a:cubicBezTo>
                  <a:cubicBezTo>
                    <a:pt x="75" y="79"/>
                    <a:pt x="73" y="79"/>
                    <a:pt x="71" y="78"/>
                  </a:cubicBezTo>
                  <a:cubicBezTo>
                    <a:pt x="64" y="77"/>
                    <a:pt x="58" y="73"/>
                    <a:pt x="54" y="66"/>
                  </a:cubicBezTo>
                  <a:cubicBezTo>
                    <a:pt x="50" y="60"/>
                    <a:pt x="48" y="52"/>
                    <a:pt x="48" y="45"/>
                  </a:cubicBezTo>
                  <a:cubicBezTo>
                    <a:pt x="48" y="41"/>
                    <a:pt x="48" y="37"/>
                    <a:pt x="50" y="34"/>
                  </a:cubicBezTo>
                  <a:cubicBezTo>
                    <a:pt x="53" y="28"/>
                    <a:pt x="59" y="20"/>
                    <a:pt x="66" y="14"/>
                  </a:cubicBezTo>
                  <a:cubicBezTo>
                    <a:pt x="73" y="8"/>
                    <a:pt x="82" y="4"/>
                    <a:pt x="92" y="4"/>
                  </a:cubicBezTo>
                  <a:cubicBezTo>
                    <a:pt x="93" y="4"/>
                    <a:pt x="93" y="4"/>
                    <a:pt x="94" y="4"/>
                  </a:cubicBezTo>
                  <a:cubicBezTo>
                    <a:pt x="105" y="4"/>
                    <a:pt x="113" y="7"/>
                    <a:pt x="120" y="14"/>
                  </a:cubicBezTo>
                  <a:cubicBezTo>
                    <a:pt x="127" y="22"/>
                    <a:pt x="131" y="33"/>
                    <a:pt x="133" y="51"/>
                  </a:cubicBezTo>
                  <a:cubicBezTo>
                    <a:pt x="134" y="53"/>
                    <a:pt x="134" y="55"/>
                    <a:pt x="134" y="57"/>
                  </a:cubicBezTo>
                  <a:cubicBezTo>
                    <a:pt x="134" y="72"/>
                    <a:pt x="126" y="86"/>
                    <a:pt x="116" y="97"/>
                  </a:cubicBezTo>
                  <a:cubicBezTo>
                    <a:pt x="106" y="107"/>
                    <a:pt x="93" y="113"/>
                    <a:pt x="83" y="113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5"/>
                    <a:pt x="79" y="119"/>
                    <a:pt x="75" y="123"/>
                  </a:cubicBezTo>
                  <a:cubicBezTo>
                    <a:pt x="70" y="127"/>
                    <a:pt x="63" y="131"/>
                    <a:pt x="51" y="131"/>
                  </a:cubicBezTo>
                  <a:cubicBezTo>
                    <a:pt x="51" y="131"/>
                    <a:pt x="50" y="131"/>
                    <a:pt x="50" y="131"/>
                  </a:cubicBezTo>
                  <a:cubicBezTo>
                    <a:pt x="39" y="131"/>
                    <a:pt x="30" y="126"/>
                    <a:pt x="23" y="120"/>
                  </a:cubicBezTo>
                  <a:cubicBezTo>
                    <a:pt x="16" y="114"/>
                    <a:pt x="12" y="106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8" y="108"/>
                    <a:pt x="13" y="116"/>
                    <a:pt x="20" y="123"/>
                  </a:cubicBezTo>
                  <a:cubicBezTo>
                    <a:pt x="27" y="130"/>
                    <a:pt x="37" y="135"/>
                    <a:pt x="50" y="135"/>
                  </a:cubicBezTo>
                  <a:cubicBezTo>
                    <a:pt x="50" y="135"/>
                    <a:pt x="51" y="135"/>
                    <a:pt x="52" y="135"/>
                  </a:cubicBezTo>
                  <a:cubicBezTo>
                    <a:pt x="64" y="135"/>
                    <a:pt x="73" y="130"/>
                    <a:pt x="78" y="125"/>
                  </a:cubicBezTo>
                  <a:cubicBezTo>
                    <a:pt x="83" y="120"/>
                    <a:pt x="85" y="116"/>
                    <a:pt x="85" y="116"/>
                  </a:cubicBezTo>
                  <a:cubicBezTo>
                    <a:pt x="83" y="115"/>
                    <a:pt x="83" y="115"/>
                    <a:pt x="83" y="115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95" y="117"/>
                    <a:pt x="108" y="110"/>
                    <a:pt x="119" y="99"/>
                  </a:cubicBezTo>
                  <a:cubicBezTo>
                    <a:pt x="130" y="89"/>
                    <a:pt x="138" y="74"/>
                    <a:pt x="138" y="57"/>
                  </a:cubicBezTo>
                  <a:cubicBezTo>
                    <a:pt x="138" y="55"/>
                    <a:pt x="138" y="52"/>
                    <a:pt x="137" y="50"/>
                  </a:cubicBezTo>
                  <a:cubicBezTo>
                    <a:pt x="135" y="32"/>
                    <a:pt x="130" y="20"/>
                    <a:pt x="123" y="12"/>
                  </a:cubicBezTo>
                  <a:cubicBezTo>
                    <a:pt x="116" y="3"/>
                    <a:pt x="105" y="0"/>
                    <a:pt x="94" y="0"/>
                  </a:cubicBezTo>
                  <a:cubicBezTo>
                    <a:pt x="93" y="0"/>
                    <a:pt x="93" y="0"/>
                    <a:pt x="92" y="0"/>
                  </a:cubicBezTo>
                  <a:cubicBezTo>
                    <a:pt x="81" y="0"/>
                    <a:pt x="71" y="4"/>
                    <a:pt x="64" y="11"/>
                  </a:cubicBezTo>
                  <a:cubicBezTo>
                    <a:pt x="56" y="17"/>
                    <a:pt x="50" y="25"/>
                    <a:pt x="46" y="32"/>
                  </a:cubicBezTo>
                  <a:cubicBezTo>
                    <a:pt x="44" y="36"/>
                    <a:pt x="44" y="40"/>
                    <a:pt x="44" y="45"/>
                  </a:cubicBezTo>
                  <a:cubicBezTo>
                    <a:pt x="44" y="53"/>
                    <a:pt x="46" y="61"/>
                    <a:pt x="51" y="68"/>
                  </a:cubicBezTo>
                  <a:cubicBezTo>
                    <a:pt x="55" y="75"/>
                    <a:pt x="62" y="81"/>
                    <a:pt x="71" y="82"/>
                  </a:cubicBezTo>
                  <a:cubicBezTo>
                    <a:pt x="73" y="83"/>
                    <a:pt x="75" y="83"/>
                    <a:pt x="76" y="83"/>
                  </a:cubicBezTo>
                  <a:cubicBezTo>
                    <a:pt x="86" y="83"/>
                    <a:pt x="93" y="79"/>
                    <a:pt x="98" y="73"/>
                  </a:cubicBezTo>
                  <a:cubicBezTo>
                    <a:pt x="103" y="68"/>
                    <a:pt x="105" y="60"/>
                    <a:pt x="105" y="53"/>
                  </a:cubicBezTo>
                  <a:cubicBezTo>
                    <a:pt x="105" y="53"/>
                    <a:pt x="105" y="53"/>
                    <a:pt x="105" y="53"/>
                  </a:cubicBezTo>
                  <a:cubicBezTo>
                    <a:pt x="105" y="53"/>
                    <a:pt x="105" y="53"/>
                    <a:pt x="105" y="53"/>
                  </a:cubicBezTo>
                  <a:cubicBezTo>
                    <a:pt x="105" y="45"/>
                    <a:pt x="103" y="38"/>
                    <a:pt x="98" y="34"/>
                  </a:cubicBezTo>
                  <a:cubicBezTo>
                    <a:pt x="94" y="29"/>
                    <a:pt x="86" y="26"/>
                    <a:pt x="75" y="25"/>
                  </a:cubicBezTo>
                  <a:cubicBezTo>
                    <a:pt x="74" y="25"/>
                    <a:pt x="74" y="24"/>
                    <a:pt x="73" y="24"/>
                  </a:cubicBezTo>
                  <a:cubicBezTo>
                    <a:pt x="66" y="24"/>
                    <a:pt x="60" y="28"/>
                    <a:pt x="56" y="33"/>
                  </a:cubicBezTo>
                  <a:cubicBezTo>
                    <a:pt x="52" y="37"/>
                    <a:pt x="50" y="43"/>
                    <a:pt x="50" y="49"/>
                  </a:cubicBezTo>
                  <a:cubicBezTo>
                    <a:pt x="50" y="52"/>
                    <a:pt x="51" y="55"/>
                    <a:pt x="53" y="57"/>
                  </a:cubicBezTo>
                  <a:cubicBezTo>
                    <a:pt x="55" y="60"/>
                    <a:pt x="58" y="62"/>
                    <a:pt x="61" y="62"/>
                  </a:cubicBezTo>
                  <a:cubicBezTo>
                    <a:pt x="63" y="62"/>
                    <a:pt x="64" y="62"/>
                    <a:pt x="65" y="62"/>
                  </a:cubicBezTo>
                  <a:cubicBezTo>
                    <a:pt x="70" y="62"/>
                    <a:pt x="73" y="61"/>
                    <a:pt x="75" y="59"/>
                  </a:cubicBezTo>
                  <a:cubicBezTo>
                    <a:pt x="77" y="56"/>
                    <a:pt x="77" y="54"/>
                    <a:pt x="77" y="51"/>
                  </a:cubicBezTo>
                  <a:cubicBezTo>
                    <a:pt x="77" y="48"/>
                    <a:pt x="76" y="45"/>
                    <a:pt x="76" y="45"/>
                  </a:cubicBezTo>
                  <a:lnTo>
                    <a:pt x="7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80540" y="544156"/>
              <a:ext cx="536355" cy="396987"/>
            </a:xfrm>
            <a:custGeom>
              <a:avLst/>
              <a:gdLst>
                <a:gd name="T0" fmla="*/ 98 w 161"/>
                <a:gd name="T1" fmla="*/ 40 h 119"/>
                <a:gd name="T2" fmla="*/ 95 w 161"/>
                <a:gd name="T3" fmla="*/ 48 h 119"/>
                <a:gd name="T4" fmla="*/ 84 w 161"/>
                <a:gd name="T5" fmla="*/ 47 h 119"/>
                <a:gd name="T6" fmla="*/ 79 w 161"/>
                <a:gd name="T7" fmla="*/ 40 h 119"/>
                <a:gd name="T8" fmla="*/ 99 w 161"/>
                <a:gd name="T9" fmla="*/ 22 h 119"/>
                <a:gd name="T10" fmla="*/ 121 w 161"/>
                <a:gd name="T11" fmla="*/ 34 h 119"/>
                <a:gd name="T12" fmla="*/ 123 w 161"/>
                <a:gd name="T13" fmla="*/ 55 h 119"/>
                <a:gd name="T14" fmla="*/ 100 w 161"/>
                <a:gd name="T15" fmla="*/ 73 h 119"/>
                <a:gd name="T16" fmla="*/ 76 w 161"/>
                <a:gd name="T17" fmla="*/ 59 h 119"/>
                <a:gd name="T18" fmla="*/ 81 w 161"/>
                <a:gd name="T19" fmla="*/ 21 h 119"/>
                <a:gd name="T20" fmla="*/ 132 w 161"/>
                <a:gd name="T21" fmla="*/ 6 h 119"/>
                <a:gd name="T22" fmla="*/ 157 w 161"/>
                <a:gd name="T23" fmla="*/ 43 h 119"/>
                <a:gd name="T24" fmla="*/ 132 w 161"/>
                <a:gd name="T25" fmla="*/ 97 h 119"/>
                <a:gd name="T26" fmla="*/ 87 w 161"/>
                <a:gd name="T27" fmla="*/ 106 h 119"/>
                <a:gd name="T28" fmla="*/ 85 w 161"/>
                <a:gd name="T29" fmla="*/ 107 h 119"/>
                <a:gd name="T30" fmla="*/ 63 w 161"/>
                <a:gd name="T31" fmla="*/ 115 h 119"/>
                <a:gd name="T32" fmla="*/ 28 w 161"/>
                <a:gd name="T33" fmla="*/ 95 h 119"/>
                <a:gd name="T34" fmla="*/ 22 w 161"/>
                <a:gd name="T35" fmla="*/ 73 h 119"/>
                <a:gd name="T36" fmla="*/ 21 w 161"/>
                <a:gd name="T37" fmla="*/ 71 h 119"/>
                <a:gd name="T38" fmla="*/ 12 w 161"/>
                <a:gd name="T39" fmla="*/ 63 h 119"/>
                <a:gd name="T40" fmla="*/ 0 w 161"/>
                <a:gd name="T41" fmla="*/ 45 h 119"/>
                <a:gd name="T42" fmla="*/ 19 w 161"/>
                <a:gd name="T43" fmla="*/ 74 h 119"/>
                <a:gd name="T44" fmla="*/ 18 w 161"/>
                <a:gd name="T45" fmla="*/ 72 h 119"/>
                <a:gd name="T46" fmla="*/ 25 w 161"/>
                <a:gd name="T47" fmla="*/ 97 h 119"/>
                <a:gd name="T48" fmla="*/ 63 w 161"/>
                <a:gd name="T49" fmla="*/ 119 h 119"/>
                <a:gd name="T50" fmla="*/ 86 w 161"/>
                <a:gd name="T51" fmla="*/ 108 h 119"/>
                <a:gd name="T52" fmla="*/ 98 w 161"/>
                <a:gd name="T53" fmla="*/ 112 h 119"/>
                <a:gd name="T54" fmla="*/ 158 w 161"/>
                <a:gd name="T55" fmla="*/ 65 h 119"/>
                <a:gd name="T56" fmla="*/ 153 w 161"/>
                <a:gd name="T57" fmla="*/ 17 h 119"/>
                <a:gd name="T58" fmla="*/ 119 w 161"/>
                <a:gd name="T59" fmla="*/ 0 h 119"/>
                <a:gd name="T60" fmla="*/ 69 w 161"/>
                <a:gd name="T61" fmla="*/ 43 h 119"/>
                <a:gd name="T62" fmla="*/ 85 w 161"/>
                <a:gd name="T63" fmla="*/ 73 h 119"/>
                <a:gd name="T64" fmla="*/ 117 w 161"/>
                <a:gd name="T65" fmla="*/ 71 h 119"/>
                <a:gd name="T66" fmla="*/ 129 w 161"/>
                <a:gd name="T67" fmla="*/ 46 h 119"/>
                <a:gd name="T68" fmla="*/ 108 w 161"/>
                <a:gd name="T69" fmla="*/ 20 h 119"/>
                <a:gd name="T70" fmla="*/ 82 w 161"/>
                <a:gd name="T71" fmla="*/ 25 h 119"/>
                <a:gd name="T72" fmla="*/ 77 w 161"/>
                <a:gd name="T73" fmla="*/ 46 h 119"/>
                <a:gd name="T74" fmla="*/ 91 w 161"/>
                <a:gd name="T75" fmla="*/ 53 h 119"/>
                <a:gd name="T76" fmla="*/ 101 w 161"/>
                <a:gd name="T77" fmla="*/ 44 h 119"/>
                <a:gd name="T78" fmla="*/ 102 w 161"/>
                <a:gd name="T79" fmla="*/ 4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1" h="119">
                  <a:moveTo>
                    <a:pt x="98" y="40"/>
                  </a:move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3"/>
                    <a:pt x="97" y="45"/>
                  </a:cubicBezTo>
                  <a:cubicBezTo>
                    <a:pt x="96" y="46"/>
                    <a:pt x="96" y="47"/>
                    <a:pt x="95" y="48"/>
                  </a:cubicBezTo>
                  <a:cubicBezTo>
                    <a:pt x="94" y="49"/>
                    <a:pt x="93" y="49"/>
                    <a:pt x="91" y="49"/>
                  </a:cubicBezTo>
                  <a:cubicBezTo>
                    <a:pt x="89" y="49"/>
                    <a:pt x="87" y="49"/>
                    <a:pt x="84" y="47"/>
                  </a:cubicBezTo>
                  <a:cubicBezTo>
                    <a:pt x="82" y="47"/>
                    <a:pt x="81" y="45"/>
                    <a:pt x="80" y="44"/>
                  </a:cubicBezTo>
                  <a:cubicBezTo>
                    <a:pt x="80" y="43"/>
                    <a:pt x="79" y="42"/>
                    <a:pt x="79" y="40"/>
                  </a:cubicBezTo>
                  <a:cubicBezTo>
                    <a:pt x="79" y="36"/>
                    <a:pt x="81" y="32"/>
                    <a:pt x="85" y="28"/>
                  </a:cubicBezTo>
                  <a:cubicBezTo>
                    <a:pt x="89" y="25"/>
                    <a:pt x="94" y="22"/>
                    <a:pt x="99" y="22"/>
                  </a:cubicBezTo>
                  <a:cubicBezTo>
                    <a:pt x="101" y="22"/>
                    <a:pt x="104" y="23"/>
                    <a:pt x="106" y="24"/>
                  </a:cubicBezTo>
                  <a:cubicBezTo>
                    <a:pt x="113" y="27"/>
                    <a:pt x="118" y="31"/>
                    <a:pt x="121" y="34"/>
                  </a:cubicBezTo>
                  <a:cubicBezTo>
                    <a:pt x="124" y="38"/>
                    <a:pt x="125" y="42"/>
                    <a:pt x="125" y="46"/>
                  </a:cubicBezTo>
                  <a:cubicBezTo>
                    <a:pt x="125" y="49"/>
                    <a:pt x="124" y="52"/>
                    <a:pt x="123" y="55"/>
                  </a:cubicBezTo>
                  <a:cubicBezTo>
                    <a:pt x="122" y="60"/>
                    <a:pt x="119" y="65"/>
                    <a:pt x="115" y="68"/>
                  </a:cubicBezTo>
                  <a:cubicBezTo>
                    <a:pt x="111" y="71"/>
                    <a:pt x="106" y="73"/>
                    <a:pt x="100" y="73"/>
                  </a:cubicBezTo>
                  <a:cubicBezTo>
                    <a:pt x="96" y="73"/>
                    <a:pt x="92" y="72"/>
                    <a:pt x="87" y="70"/>
                  </a:cubicBezTo>
                  <a:cubicBezTo>
                    <a:pt x="82" y="67"/>
                    <a:pt x="78" y="63"/>
                    <a:pt x="76" y="59"/>
                  </a:cubicBezTo>
                  <a:cubicBezTo>
                    <a:pt x="74" y="54"/>
                    <a:pt x="73" y="49"/>
                    <a:pt x="73" y="43"/>
                  </a:cubicBezTo>
                  <a:cubicBezTo>
                    <a:pt x="73" y="34"/>
                    <a:pt x="76" y="25"/>
                    <a:pt x="81" y="21"/>
                  </a:cubicBezTo>
                  <a:cubicBezTo>
                    <a:pt x="89" y="13"/>
                    <a:pt x="104" y="4"/>
                    <a:pt x="119" y="4"/>
                  </a:cubicBezTo>
                  <a:cubicBezTo>
                    <a:pt x="123" y="4"/>
                    <a:pt x="127" y="5"/>
                    <a:pt x="132" y="6"/>
                  </a:cubicBezTo>
                  <a:cubicBezTo>
                    <a:pt x="140" y="9"/>
                    <a:pt x="146" y="13"/>
                    <a:pt x="150" y="19"/>
                  </a:cubicBezTo>
                  <a:cubicBezTo>
                    <a:pt x="154" y="25"/>
                    <a:pt x="157" y="33"/>
                    <a:pt x="157" y="43"/>
                  </a:cubicBezTo>
                  <a:cubicBezTo>
                    <a:pt x="157" y="49"/>
                    <a:pt x="156" y="56"/>
                    <a:pt x="154" y="64"/>
                  </a:cubicBezTo>
                  <a:cubicBezTo>
                    <a:pt x="151" y="78"/>
                    <a:pt x="143" y="89"/>
                    <a:pt x="132" y="97"/>
                  </a:cubicBezTo>
                  <a:cubicBezTo>
                    <a:pt x="121" y="104"/>
                    <a:pt x="108" y="108"/>
                    <a:pt x="98" y="108"/>
                  </a:cubicBezTo>
                  <a:cubicBezTo>
                    <a:pt x="94" y="108"/>
                    <a:pt x="90" y="107"/>
                    <a:pt x="87" y="106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4" y="107"/>
                    <a:pt x="77" y="115"/>
                    <a:pt x="63" y="115"/>
                  </a:cubicBezTo>
                  <a:cubicBezTo>
                    <a:pt x="59" y="115"/>
                    <a:pt x="55" y="115"/>
                    <a:pt x="51" y="113"/>
                  </a:cubicBezTo>
                  <a:cubicBezTo>
                    <a:pt x="40" y="110"/>
                    <a:pt x="33" y="103"/>
                    <a:pt x="28" y="95"/>
                  </a:cubicBezTo>
                  <a:cubicBezTo>
                    <a:pt x="24" y="87"/>
                    <a:pt x="22" y="79"/>
                    <a:pt x="22" y="74"/>
                  </a:cubicBezTo>
                  <a:cubicBezTo>
                    <a:pt x="22" y="74"/>
                    <a:pt x="22" y="73"/>
                    <a:pt x="22" y="73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0" y="70"/>
                    <a:pt x="16" y="68"/>
                    <a:pt x="12" y="63"/>
                  </a:cubicBezTo>
                  <a:cubicBezTo>
                    <a:pt x="8" y="59"/>
                    <a:pt x="4" y="53"/>
                    <a:pt x="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55"/>
                    <a:pt x="5" y="62"/>
                    <a:pt x="10" y="67"/>
                  </a:cubicBezTo>
                  <a:cubicBezTo>
                    <a:pt x="14" y="72"/>
                    <a:pt x="19" y="74"/>
                    <a:pt x="19" y="74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8" y="73"/>
                    <a:pt x="18" y="74"/>
                    <a:pt x="18" y="74"/>
                  </a:cubicBezTo>
                  <a:cubicBezTo>
                    <a:pt x="18" y="80"/>
                    <a:pt x="20" y="89"/>
                    <a:pt x="25" y="97"/>
                  </a:cubicBezTo>
                  <a:cubicBezTo>
                    <a:pt x="30" y="106"/>
                    <a:pt x="38" y="114"/>
                    <a:pt x="50" y="117"/>
                  </a:cubicBezTo>
                  <a:cubicBezTo>
                    <a:pt x="54" y="119"/>
                    <a:pt x="59" y="119"/>
                    <a:pt x="63" y="119"/>
                  </a:cubicBezTo>
                  <a:cubicBezTo>
                    <a:pt x="79" y="119"/>
                    <a:pt x="87" y="110"/>
                    <a:pt x="88" y="110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5" y="110"/>
                    <a:pt x="85" y="110"/>
                    <a:pt x="85" y="110"/>
                  </a:cubicBezTo>
                  <a:cubicBezTo>
                    <a:pt x="89" y="111"/>
                    <a:pt x="93" y="112"/>
                    <a:pt x="98" y="112"/>
                  </a:cubicBezTo>
                  <a:cubicBezTo>
                    <a:pt x="109" y="112"/>
                    <a:pt x="123" y="108"/>
                    <a:pt x="134" y="100"/>
                  </a:cubicBezTo>
                  <a:cubicBezTo>
                    <a:pt x="145" y="92"/>
                    <a:pt x="155" y="80"/>
                    <a:pt x="158" y="65"/>
                  </a:cubicBezTo>
                  <a:cubicBezTo>
                    <a:pt x="160" y="57"/>
                    <a:pt x="161" y="49"/>
                    <a:pt x="161" y="43"/>
                  </a:cubicBezTo>
                  <a:cubicBezTo>
                    <a:pt x="161" y="32"/>
                    <a:pt x="158" y="24"/>
                    <a:pt x="153" y="17"/>
                  </a:cubicBezTo>
                  <a:cubicBezTo>
                    <a:pt x="149" y="10"/>
                    <a:pt x="142" y="6"/>
                    <a:pt x="133" y="2"/>
                  </a:cubicBezTo>
                  <a:cubicBezTo>
                    <a:pt x="128" y="1"/>
                    <a:pt x="124" y="0"/>
                    <a:pt x="119" y="0"/>
                  </a:cubicBezTo>
                  <a:cubicBezTo>
                    <a:pt x="102" y="0"/>
                    <a:pt x="87" y="10"/>
                    <a:pt x="78" y="18"/>
                  </a:cubicBezTo>
                  <a:cubicBezTo>
                    <a:pt x="72" y="24"/>
                    <a:pt x="69" y="33"/>
                    <a:pt x="69" y="43"/>
                  </a:cubicBezTo>
                  <a:cubicBezTo>
                    <a:pt x="69" y="49"/>
                    <a:pt x="70" y="55"/>
                    <a:pt x="73" y="61"/>
                  </a:cubicBezTo>
                  <a:cubicBezTo>
                    <a:pt x="75" y="66"/>
                    <a:pt x="79" y="70"/>
                    <a:pt x="85" y="73"/>
                  </a:cubicBezTo>
                  <a:cubicBezTo>
                    <a:pt x="90" y="76"/>
                    <a:pt x="95" y="77"/>
                    <a:pt x="100" y="77"/>
                  </a:cubicBezTo>
                  <a:cubicBezTo>
                    <a:pt x="107" y="77"/>
                    <a:pt x="113" y="75"/>
                    <a:pt x="117" y="71"/>
                  </a:cubicBezTo>
                  <a:cubicBezTo>
                    <a:pt x="122" y="67"/>
                    <a:pt x="125" y="62"/>
                    <a:pt x="127" y="57"/>
                  </a:cubicBezTo>
                  <a:cubicBezTo>
                    <a:pt x="128" y="53"/>
                    <a:pt x="129" y="49"/>
                    <a:pt x="129" y="46"/>
                  </a:cubicBezTo>
                  <a:cubicBezTo>
                    <a:pt x="129" y="41"/>
                    <a:pt x="127" y="36"/>
                    <a:pt x="124" y="32"/>
                  </a:cubicBezTo>
                  <a:cubicBezTo>
                    <a:pt x="120" y="27"/>
                    <a:pt x="115" y="24"/>
                    <a:pt x="108" y="20"/>
                  </a:cubicBezTo>
                  <a:cubicBezTo>
                    <a:pt x="105" y="19"/>
                    <a:pt x="102" y="18"/>
                    <a:pt x="99" y="18"/>
                  </a:cubicBezTo>
                  <a:cubicBezTo>
                    <a:pt x="93" y="18"/>
                    <a:pt x="87" y="21"/>
                    <a:pt x="82" y="25"/>
                  </a:cubicBezTo>
                  <a:cubicBezTo>
                    <a:pt x="78" y="29"/>
                    <a:pt x="75" y="35"/>
                    <a:pt x="75" y="40"/>
                  </a:cubicBezTo>
                  <a:cubicBezTo>
                    <a:pt x="75" y="42"/>
                    <a:pt x="76" y="44"/>
                    <a:pt x="77" y="46"/>
                  </a:cubicBezTo>
                  <a:cubicBezTo>
                    <a:pt x="78" y="48"/>
                    <a:pt x="80" y="50"/>
                    <a:pt x="82" y="51"/>
                  </a:cubicBezTo>
                  <a:cubicBezTo>
                    <a:pt x="86" y="53"/>
                    <a:pt x="89" y="53"/>
                    <a:pt x="91" y="53"/>
                  </a:cubicBezTo>
                  <a:cubicBezTo>
                    <a:pt x="94" y="53"/>
                    <a:pt x="96" y="53"/>
                    <a:pt x="97" y="51"/>
                  </a:cubicBezTo>
                  <a:cubicBezTo>
                    <a:pt x="100" y="49"/>
                    <a:pt x="101" y="47"/>
                    <a:pt x="101" y="44"/>
                  </a:cubicBezTo>
                  <a:cubicBezTo>
                    <a:pt x="102" y="42"/>
                    <a:pt x="102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lnTo>
                    <a:pt x="98" y="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1063696" y="1892787"/>
              <a:ext cx="1958189" cy="1154361"/>
            </a:xfrm>
            <a:custGeom>
              <a:avLst/>
              <a:gdLst>
                <a:gd name="T0" fmla="*/ 8 w 587"/>
                <a:gd name="T1" fmla="*/ 0 h 346"/>
                <a:gd name="T2" fmla="*/ 0 w 587"/>
                <a:gd name="T3" fmla="*/ 0 h 346"/>
                <a:gd name="T4" fmla="*/ 99 w 587"/>
                <a:gd name="T5" fmla="*/ 261 h 346"/>
                <a:gd name="T6" fmla="*/ 318 w 587"/>
                <a:gd name="T7" fmla="*/ 346 h 346"/>
                <a:gd name="T8" fmla="*/ 318 w 587"/>
                <a:gd name="T9" fmla="*/ 346 h 346"/>
                <a:gd name="T10" fmla="*/ 587 w 587"/>
                <a:gd name="T11" fmla="*/ 215 h 346"/>
                <a:gd name="T12" fmla="*/ 580 w 587"/>
                <a:gd name="T13" fmla="*/ 210 h 346"/>
                <a:gd name="T14" fmla="*/ 318 w 587"/>
                <a:gd name="T15" fmla="*/ 338 h 346"/>
                <a:gd name="T16" fmla="*/ 104 w 587"/>
                <a:gd name="T17" fmla="*/ 255 h 346"/>
                <a:gd name="T18" fmla="*/ 8 w 587"/>
                <a:gd name="T19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7" h="346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7"/>
                    <a:pt x="39" y="204"/>
                    <a:pt x="99" y="261"/>
                  </a:cubicBezTo>
                  <a:cubicBezTo>
                    <a:pt x="158" y="318"/>
                    <a:pt x="238" y="346"/>
                    <a:pt x="318" y="346"/>
                  </a:cubicBezTo>
                  <a:cubicBezTo>
                    <a:pt x="318" y="346"/>
                    <a:pt x="318" y="346"/>
                    <a:pt x="318" y="346"/>
                  </a:cubicBezTo>
                  <a:cubicBezTo>
                    <a:pt x="420" y="346"/>
                    <a:pt x="523" y="301"/>
                    <a:pt x="587" y="215"/>
                  </a:cubicBezTo>
                  <a:cubicBezTo>
                    <a:pt x="580" y="210"/>
                    <a:pt x="580" y="210"/>
                    <a:pt x="580" y="210"/>
                  </a:cubicBezTo>
                  <a:cubicBezTo>
                    <a:pt x="518" y="294"/>
                    <a:pt x="418" y="338"/>
                    <a:pt x="318" y="338"/>
                  </a:cubicBezTo>
                  <a:cubicBezTo>
                    <a:pt x="240" y="338"/>
                    <a:pt x="162" y="311"/>
                    <a:pt x="104" y="255"/>
                  </a:cubicBezTo>
                  <a:cubicBezTo>
                    <a:pt x="46" y="200"/>
                    <a:pt x="8" y="116"/>
                    <a:pt x="8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1960437" y="897504"/>
              <a:ext cx="1254311" cy="1029070"/>
            </a:xfrm>
            <a:custGeom>
              <a:avLst/>
              <a:gdLst>
                <a:gd name="T0" fmla="*/ 47 w 376"/>
                <a:gd name="T1" fmla="*/ 0 h 308"/>
                <a:gd name="T2" fmla="*/ 0 w 376"/>
                <a:gd name="T3" fmla="*/ 3 h 308"/>
                <a:gd name="T4" fmla="*/ 2 w 376"/>
                <a:gd name="T5" fmla="*/ 11 h 308"/>
                <a:gd name="T6" fmla="*/ 47 w 376"/>
                <a:gd name="T7" fmla="*/ 8 h 308"/>
                <a:gd name="T8" fmla="*/ 47 w 376"/>
                <a:gd name="T9" fmla="*/ 8 h 308"/>
                <a:gd name="T10" fmla="*/ 267 w 376"/>
                <a:gd name="T11" fmla="*/ 89 h 308"/>
                <a:gd name="T12" fmla="*/ 368 w 376"/>
                <a:gd name="T13" fmla="*/ 308 h 308"/>
                <a:gd name="T14" fmla="*/ 376 w 376"/>
                <a:gd name="T15" fmla="*/ 308 h 308"/>
                <a:gd name="T16" fmla="*/ 272 w 376"/>
                <a:gd name="T17" fmla="*/ 83 h 308"/>
                <a:gd name="T18" fmla="*/ 47 w 376"/>
                <a:gd name="T19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6" h="308">
                  <a:moveTo>
                    <a:pt x="47" y="0"/>
                  </a:moveTo>
                  <a:cubicBezTo>
                    <a:pt x="32" y="0"/>
                    <a:pt x="16" y="1"/>
                    <a:pt x="0" y="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7" y="9"/>
                    <a:pt x="32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128" y="8"/>
                    <a:pt x="207" y="37"/>
                    <a:pt x="267" y="89"/>
                  </a:cubicBezTo>
                  <a:cubicBezTo>
                    <a:pt x="327" y="141"/>
                    <a:pt x="367" y="215"/>
                    <a:pt x="368" y="308"/>
                  </a:cubicBezTo>
                  <a:cubicBezTo>
                    <a:pt x="376" y="308"/>
                    <a:pt x="376" y="308"/>
                    <a:pt x="376" y="308"/>
                  </a:cubicBezTo>
                  <a:cubicBezTo>
                    <a:pt x="375" y="213"/>
                    <a:pt x="334" y="136"/>
                    <a:pt x="272" y="83"/>
                  </a:cubicBezTo>
                  <a:cubicBezTo>
                    <a:pt x="211" y="29"/>
                    <a:pt x="129" y="0"/>
                    <a:pt x="47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1357917" y="1412776"/>
              <a:ext cx="1600620" cy="923330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>
              <a:defPPr>
                <a:defRPr lang="zh-CN"/>
              </a:defPPr>
              <a:lvl1pPr algn="ctr">
                <a:defRPr sz="7200" b="1">
                  <a:ln w="19050">
                    <a:solidFill>
                      <a:schemeClr val="bg1">
                        <a:lumMod val="50000"/>
                      </a:schemeClr>
                    </a:solidFill>
                  </a:ln>
                  <a:solidFill>
                    <a:srgbClr val="C00000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defRPr>
              </a:lvl1pPr>
            </a:lstStyle>
            <a:p>
              <a:r>
                <a:rPr lang="zh-CN" altLang="en-US" sz="5400" dirty="0">
                  <a:ln w="19050">
                    <a:solidFill>
                      <a:schemeClr val="bg1">
                        <a:lumMod val="65000"/>
                      </a:schemeClr>
                    </a:solidFill>
                  </a:ln>
                </a:rPr>
                <a:t>目录</a:t>
              </a:r>
            </a:p>
          </p:txBody>
        </p:sp>
        <p:sp>
          <p:nvSpPr>
            <p:cNvPr id="68" name="Freeform 11"/>
            <p:cNvSpPr>
              <a:spLocks/>
            </p:cNvSpPr>
            <p:nvPr/>
          </p:nvSpPr>
          <p:spPr bwMode="auto">
            <a:xfrm>
              <a:off x="2858226" y="2115422"/>
              <a:ext cx="1123390" cy="574365"/>
            </a:xfrm>
            <a:custGeom>
              <a:avLst/>
              <a:gdLst>
                <a:gd name="T0" fmla="*/ 272 w 337"/>
                <a:gd name="T1" fmla="*/ 84 h 172"/>
                <a:gd name="T2" fmla="*/ 202 w 337"/>
                <a:gd name="T3" fmla="*/ 79 h 172"/>
                <a:gd name="T4" fmla="*/ 189 w 337"/>
                <a:gd name="T5" fmla="*/ 60 h 172"/>
                <a:gd name="T6" fmla="*/ 159 w 337"/>
                <a:gd name="T7" fmla="*/ 44 h 172"/>
                <a:gd name="T8" fmla="*/ 103 w 337"/>
                <a:gd name="T9" fmla="*/ 0 h 172"/>
                <a:gd name="T10" fmla="*/ 65 w 337"/>
                <a:gd name="T11" fmla="*/ 15 h 172"/>
                <a:gd name="T12" fmla="*/ 0 w 337"/>
                <a:gd name="T13" fmla="*/ 76 h 172"/>
                <a:gd name="T14" fmla="*/ 25 w 337"/>
                <a:gd name="T15" fmla="*/ 131 h 172"/>
                <a:gd name="T16" fmla="*/ 107 w 337"/>
                <a:gd name="T17" fmla="*/ 160 h 172"/>
                <a:gd name="T18" fmla="*/ 170 w 337"/>
                <a:gd name="T19" fmla="*/ 125 h 172"/>
                <a:gd name="T20" fmla="*/ 169 w 337"/>
                <a:gd name="T21" fmla="*/ 88 h 172"/>
                <a:gd name="T22" fmla="*/ 127 w 337"/>
                <a:gd name="T23" fmla="*/ 59 h 172"/>
                <a:gd name="T24" fmla="*/ 97 w 337"/>
                <a:gd name="T25" fmla="*/ 48 h 172"/>
                <a:gd name="T26" fmla="*/ 50 w 337"/>
                <a:gd name="T27" fmla="*/ 102 h 172"/>
                <a:gd name="T28" fmla="*/ 113 w 337"/>
                <a:gd name="T29" fmla="*/ 122 h 172"/>
                <a:gd name="T30" fmla="*/ 122 w 337"/>
                <a:gd name="T31" fmla="*/ 103 h 172"/>
                <a:gd name="T32" fmla="*/ 78 w 337"/>
                <a:gd name="T33" fmla="*/ 88 h 172"/>
                <a:gd name="T34" fmla="*/ 112 w 337"/>
                <a:gd name="T35" fmla="*/ 112 h 172"/>
                <a:gd name="T36" fmla="*/ 172 w 337"/>
                <a:gd name="T37" fmla="*/ 115 h 172"/>
                <a:gd name="T38" fmla="*/ 240 w 337"/>
                <a:gd name="T39" fmla="*/ 98 h 172"/>
                <a:gd name="T40" fmla="*/ 327 w 337"/>
                <a:gd name="T41" fmla="*/ 128 h 172"/>
                <a:gd name="T42" fmla="*/ 325 w 337"/>
                <a:gd name="T43" fmla="*/ 124 h 172"/>
                <a:gd name="T44" fmla="*/ 323 w 337"/>
                <a:gd name="T45" fmla="*/ 124 h 172"/>
                <a:gd name="T46" fmla="*/ 306 w 337"/>
                <a:gd name="T47" fmla="*/ 119 h 172"/>
                <a:gd name="T48" fmla="*/ 326 w 337"/>
                <a:gd name="T49" fmla="*/ 126 h 172"/>
                <a:gd name="T50" fmla="*/ 264 w 337"/>
                <a:gd name="T51" fmla="*/ 102 h 172"/>
                <a:gd name="T52" fmla="*/ 181 w 337"/>
                <a:gd name="T53" fmla="*/ 109 h 172"/>
                <a:gd name="T54" fmla="*/ 115 w 337"/>
                <a:gd name="T55" fmla="*/ 109 h 172"/>
                <a:gd name="T56" fmla="*/ 95 w 337"/>
                <a:gd name="T57" fmla="*/ 117 h 172"/>
                <a:gd name="T58" fmla="*/ 91 w 337"/>
                <a:gd name="T59" fmla="*/ 82 h 172"/>
                <a:gd name="T60" fmla="*/ 120 w 337"/>
                <a:gd name="T61" fmla="*/ 103 h 172"/>
                <a:gd name="T62" fmla="*/ 92 w 337"/>
                <a:gd name="T63" fmla="*/ 128 h 172"/>
                <a:gd name="T64" fmla="*/ 54 w 337"/>
                <a:gd name="T65" fmla="*/ 97 h 172"/>
                <a:gd name="T66" fmla="*/ 117 w 337"/>
                <a:gd name="T67" fmla="*/ 57 h 172"/>
                <a:gd name="T68" fmla="*/ 127 w 337"/>
                <a:gd name="T69" fmla="*/ 63 h 172"/>
                <a:gd name="T70" fmla="*/ 163 w 337"/>
                <a:gd name="T71" fmla="*/ 78 h 172"/>
                <a:gd name="T72" fmla="*/ 162 w 337"/>
                <a:gd name="T73" fmla="*/ 106 h 172"/>
                <a:gd name="T74" fmla="*/ 162 w 337"/>
                <a:gd name="T75" fmla="*/ 109 h 172"/>
                <a:gd name="T76" fmla="*/ 113 w 337"/>
                <a:gd name="T77" fmla="*/ 160 h 172"/>
                <a:gd name="T78" fmla="*/ 107 w 337"/>
                <a:gd name="T79" fmla="*/ 158 h 172"/>
                <a:gd name="T80" fmla="*/ 29 w 337"/>
                <a:gd name="T81" fmla="*/ 130 h 172"/>
                <a:gd name="T82" fmla="*/ 27 w 337"/>
                <a:gd name="T83" fmla="*/ 116 h 172"/>
                <a:gd name="T84" fmla="*/ 4 w 337"/>
                <a:gd name="T85" fmla="*/ 72 h 172"/>
                <a:gd name="T86" fmla="*/ 64 w 337"/>
                <a:gd name="T87" fmla="*/ 19 h 172"/>
                <a:gd name="T88" fmla="*/ 67 w 337"/>
                <a:gd name="T89" fmla="*/ 19 h 172"/>
                <a:gd name="T90" fmla="*/ 155 w 337"/>
                <a:gd name="T91" fmla="*/ 40 h 172"/>
                <a:gd name="T92" fmla="*/ 158 w 337"/>
                <a:gd name="T93" fmla="*/ 46 h 172"/>
                <a:gd name="T94" fmla="*/ 186 w 337"/>
                <a:gd name="T95" fmla="*/ 62 h 172"/>
                <a:gd name="T96" fmla="*/ 202 w 337"/>
                <a:gd name="T97" fmla="*/ 83 h 172"/>
                <a:gd name="T98" fmla="*/ 270 w 337"/>
                <a:gd name="T99" fmla="*/ 88 h 172"/>
                <a:gd name="T100" fmla="*/ 305 w 337"/>
                <a:gd name="T101" fmla="*/ 121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7" h="172">
                  <a:moveTo>
                    <a:pt x="306" y="119"/>
                  </a:moveTo>
                  <a:cubicBezTo>
                    <a:pt x="308" y="118"/>
                    <a:pt x="308" y="118"/>
                    <a:pt x="308" y="118"/>
                  </a:cubicBezTo>
                  <a:cubicBezTo>
                    <a:pt x="308" y="118"/>
                    <a:pt x="303" y="112"/>
                    <a:pt x="296" y="105"/>
                  </a:cubicBezTo>
                  <a:cubicBezTo>
                    <a:pt x="289" y="98"/>
                    <a:pt x="281" y="89"/>
                    <a:pt x="272" y="84"/>
                  </a:cubicBezTo>
                  <a:cubicBezTo>
                    <a:pt x="261" y="78"/>
                    <a:pt x="249" y="77"/>
                    <a:pt x="240" y="77"/>
                  </a:cubicBezTo>
                  <a:cubicBezTo>
                    <a:pt x="234" y="77"/>
                    <a:pt x="229" y="77"/>
                    <a:pt x="226" y="78"/>
                  </a:cubicBezTo>
                  <a:cubicBezTo>
                    <a:pt x="222" y="79"/>
                    <a:pt x="216" y="79"/>
                    <a:pt x="211" y="79"/>
                  </a:cubicBezTo>
                  <a:cubicBezTo>
                    <a:pt x="208" y="79"/>
                    <a:pt x="205" y="79"/>
                    <a:pt x="202" y="79"/>
                  </a:cubicBezTo>
                  <a:cubicBezTo>
                    <a:pt x="200" y="78"/>
                    <a:pt x="198" y="78"/>
                    <a:pt x="198" y="77"/>
                  </a:cubicBezTo>
                  <a:cubicBezTo>
                    <a:pt x="196" y="76"/>
                    <a:pt x="195" y="73"/>
                    <a:pt x="194" y="69"/>
                  </a:cubicBezTo>
                  <a:cubicBezTo>
                    <a:pt x="193" y="68"/>
                    <a:pt x="192" y="66"/>
                    <a:pt x="192" y="64"/>
                  </a:cubicBezTo>
                  <a:cubicBezTo>
                    <a:pt x="191" y="63"/>
                    <a:pt x="190" y="61"/>
                    <a:pt x="189" y="60"/>
                  </a:cubicBezTo>
                  <a:cubicBezTo>
                    <a:pt x="188" y="58"/>
                    <a:pt x="184" y="53"/>
                    <a:pt x="179" y="49"/>
                  </a:cubicBezTo>
                  <a:cubicBezTo>
                    <a:pt x="174" y="45"/>
                    <a:pt x="168" y="42"/>
                    <a:pt x="162" y="42"/>
                  </a:cubicBezTo>
                  <a:cubicBezTo>
                    <a:pt x="161" y="42"/>
                    <a:pt x="160" y="42"/>
                    <a:pt x="159" y="42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43"/>
                    <a:pt x="157" y="35"/>
                    <a:pt x="150" y="26"/>
                  </a:cubicBezTo>
                  <a:cubicBezTo>
                    <a:pt x="143" y="17"/>
                    <a:pt x="132" y="7"/>
                    <a:pt x="117" y="2"/>
                  </a:cubicBezTo>
                  <a:cubicBezTo>
                    <a:pt x="112" y="0"/>
                    <a:pt x="107" y="0"/>
                    <a:pt x="103" y="0"/>
                  </a:cubicBezTo>
                  <a:cubicBezTo>
                    <a:pt x="91" y="0"/>
                    <a:pt x="82" y="4"/>
                    <a:pt x="75" y="8"/>
                  </a:cubicBezTo>
                  <a:cubicBezTo>
                    <a:pt x="68" y="12"/>
                    <a:pt x="64" y="16"/>
                    <a:pt x="64" y="16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3" y="15"/>
                    <a:pt x="60" y="15"/>
                  </a:cubicBezTo>
                  <a:cubicBezTo>
                    <a:pt x="52" y="15"/>
                    <a:pt x="38" y="17"/>
                    <a:pt x="26" y="26"/>
                  </a:cubicBezTo>
                  <a:cubicBezTo>
                    <a:pt x="10" y="39"/>
                    <a:pt x="2" y="56"/>
                    <a:pt x="0" y="72"/>
                  </a:cubicBezTo>
                  <a:cubicBezTo>
                    <a:pt x="0" y="73"/>
                    <a:pt x="0" y="74"/>
                    <a:pt x="0" y="76"/>
                  </a:cubicBezTo>
                  <a:cubicBezTo>
                    <a:pt x="0" y="91"/>
                    <a:pt x="8" y="108"/>
                    <a:pt x="24" y="118"/>
                  </a:cubicBezTo>
                  <a:cubicBezTo>
                    <a:pt x="25" y="116"/>
                    <a:pt x="25" y="116"/>
                    <a:pt x="25" y="116"/>
                  </a:cubicBezTo>
                  <a:cubicBezTo>
                    <a:pt x="23" y="116"/>
                    <a:pt x="23" y="116"/>
                    <a:pt x="23" y="116"/>
                  </a:cubicBezTo>
                  <a:cubicBezTo>
                    <a:pt x="23" y="117"/>
                    <a:pt x="23" y="123"/>
                    <a:pt x="25" y="131"/>
                  </a:cubicBezTo>
                  <a:cubicBezTo>
                    <a:pt x="28" y="139"/>
                    <a:pt x="33" y="150"/>
                    <a:pt x="41" y="158"/>
                  </a:cubicBezTo>
                  <a:cubicBezTo>
                    <a:pt x="51" y="167"/>
                    <a:pt x="64" y="172"/>
                    <a:pt x="77" y="172"/>
                  </a:cubicBezTo>
                  <a:cubicBezTo>
                    <a:pt x="88" y="172"/>
                    <a:pt x="98" y="169"/>
                    <a:pt x="108" y="162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6" y="162"/>
                    <a:pt x="106" y="162"/>
                    <a:pt x="106" y="162"/>
                  </a:cubicBezTo>
                  <a:cubicBezTo>
                    <a:pt x="106" y="162"/>
                    <a:pt x="114" y="165"/>
                    <a:pt x="125" y="165"/>
                  </a:cubicBezTo>
                  <a:cubicBezTo>
                    <a:pt x="135" y="165"/>
                    <a:pt x="147" y="163"/>
                    <a:pt x="158" y="153"/>
                  </a:cubicBezTo>
                  <a:cubicBezTo>
                    <a:pt x="167" y="143"/>
                    <a:pt x="170" y="133"/>
                    <a:pt x="170" y="125"/>
                  </a:cubicBezTo>
                  <a:cubicBezTo>
                    <a:pt x="170" y="114"/>
                    <a:pt x="165" y="107"/>
                    <a:pt x="165" y="107"/>
                  </a:cubicBezTo>
                  <a:cubicBezTo>
                    <a:pt x="163" y="108"/>
                    <a:pt x="163" y="108"/>
                    <a:pt x="163" y="108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5" y="108"/>
                    <a:pt x="169" y="98"/>
                    <a:pt x="169" y="88"/>
                  </a:cubicBezTo>
                  <a:cubicBezTo>
                    <a:pt x="169" y="84"/>
                    <a:pt x="169" y="80"/>
                    <a:pt x="167" y="76"/>
                  </a:cubicBezTo>
                  <a:cubicBezTo>
                    <a:pt x="164" y="71"/>
                    <a:pt x="159" y="67"/>
                    <a:pt x="153" y="63"/>
                  </a:cubicBezTo>
                  <a:cubicBezTo>
                    <a:pt x="148" y="60"/>
                    <a:pt x="141" y="58"/>
                    <a:pt x="134" y="58"/>
                  </a:cubicBezTo>
                  <a:cubicBezTo>
                    <a:pt x="132" y="58"/>
                    <a:pt x="129" y="58"/>
                    <a:pt x="127" y="59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29" y="59"/>
                    <a:pt x="124" y="56"/>
                    <a:pt x="118" y="54"/>
                  </a:cubicBezTo>
                  <a:cubicBezTo>
                    <a:pt x="112" y="51"/>
                    <a:pt x="104" y="48"/>
                    <a:pt x="97" y="48"/>
                  </a:cubicBezTo>
                  <a:cubicBezTo>
                    <a:pt x="93" y="48"/>
                    <a:pt x="90" y="49"/>
                    <a:pt x="86" y="50"/>
                  </a:cubicBezTo>
                  <a:cubicBezTo>
                    <a:pt x="78" y="54"/>
                    <a:pt x="69" y="60"/>
                    <a:pt x="62" y="68"/>
                  </a:cubicBezTo>
                  <a:cubicBezTo>
                    <a:pt x="55" y="76"/>
                    <a:pt x="50" y="86"/>
                    <a:pt x="50" y="97"/>
                  </a:cubicBezTo>
                  <a:cubicBezTo>
                    <a:pt x="50" y="99"/>
                    <a:pt x="50" y="100"/>
                    <a:pt x="50" y="102"/>
                  </a:cubicBezTo>
                  <a:cubicBezTo>
                    <a:pt x="52" y="113"/>
                    <a:pt x="57" y="121"/>
                    <a:pt x="65" y="126"/>
                  </a:cubicBezTo>
                  <a:cubicBezTo>
                    <a:pt x="72" y="131"/>
                    <a:pt x="81" y="133"/>
                    <a:pt x="88" y="133"/>
                  </a:cubicBezTo>
                  <a:cubicBezTo>
                    <a:pt x="89" y="133"/>
                    <a:pt x="91" y="132"/>
                    <a:pt x="92" y="132"/>
                  </a:cubicBezTo>
                  <a:cubicBezTo>
                    <a:pt x="100" y="131"/>
                    <a:pt x="107" y="127"/>
                    <a:pt x="113" y="122"/>
                  </a:cubicBezTo>
                  <a:cubicBezTo>
                    <a:pt x="118" y="117"/>
                    <a:pt x="122" y="110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97"/>
                    <a:pt x="119" y="90"/>
                    <a:pt x="114" y="86"/>
                  </a:cubicBezTo>
                  <a:cubicBezTo>
                    <a:pt x="110" y="81"/>
                    <a:pt x="103" y="77"/>
                    <a:pt x="96" y="77"/>
                  </a:cubicBezTo>
                  <a:cubicBezTo>
                    <a:pt x="94" y="77"/>
                    <a:pt x="92" y="78"/>
                    <a:pt x="90" y="79"/>
                  </a:cubicBezTo>
                  <a:cubicBezTo>
                    <a:pt x="84" y="81"/>
                    <a:pt x="81" y="84"/>
                    <a:pt x="78" y="88"/>
                  </a:cubicBezTo>
                  <a:cubicBezTo>
                    <a:pt x="76" y="92"/>
                    <a:pt x="75" y="96"/>
                    <a:pt x="75" y="100"/>
                  </a:cubicBezTo>
                  <a:cubicBezTo>
                    <a:pt x="75" y="105"/>
                    <a:pt x="76" y="108"/>
                    <a:pt x="78" y="112"/>
                  </a:cubicBezTo>
                  <a:cubicBezTo>
                    <a:pt x="81" y="117"/>
                    <a:pt x="88" y="121"/>
                    <a:pt x="95" y="121"/>
                  </a:cubicBezTo>
                  <a:cubicBezTo>
                    <a:pt x="100" y="121"/>
                    <a:pt x="107" y="118"/>
                    <a:pt x="112" y="112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0" y="113"/>
                    <a:pt x="110" y="113"/>
                    <a:pt x="110" y="113"/>
                  </a:cubicBezTo>
                  <a:cubicBezTo>
                    <a:pt x="110" y="113"/>
                    <a:pt x="136" y="116"/>
                    <a:pt x="158" y="116"/>
                  </a:cubicBezTo>
                  <a:cubicBezTo>
                    <a:pt x="163" y="116"/>
                    <a:pt x="168" y="116"/>
                    <a:pt x="172" y="115"/>
                  </a:cubicBezTo>
                  <a:cubicBezTo>
                    <a:pt x="176" y="115"/>
                    <a:pt x="180" y="114"/>
                    <a:pt x="183" y="113"/>
                  </a:cubicBezTo>
                  <a:cubicBezTo>
                    <a:pt x="191" y="109"/>
                    <a:pt x="194" y="107"/>
                    <a:pt x="198" y="105"/>
                  </a:cubicBezTo>
                  <a:cubicBezTo>
                    <a:pt x="201" y="104"/>
                    <a:pt x="205" y="102"/>
                    <a:pt x="216" y="101"/>
                  </a:cubicBezTo>
                  <a:cubicBezTo>
                    <a:pt x="225" y="99"/>
                    <a:pt x="233" y="98"/>
                    <a:pt x="240" y="98"/>
                  </a:cubicBezTo>
                  <a:cubicBezTo>
                    <a:pt x="248" y="98"/>
                    <a:pt x="254" y="100"/>
                    <a:pt x="262" y="106"/>
                  </a:cubicBezTo>
                  <a:cubicBezTo>
                    <a:pt x="267" y="110"/>
                    <a:pt x="275" y="117"/>
                    <a:pt x="283" y="122"/>
                  </a:cubicBezTo>
                  <a:cubicBezTo>
                    <a:pt x="292" y="128"/>
                    <a:pt x="301" y="133"/>
                    <a:pt x="311" y="133"/>
                  </a:cubicBezTo>
                  <a:cubicBezTo>
                    <a:pt x="316" y="133"/>
                    <a:pt x="322" y="131"/>
                    <a:pt x="327" y="128"/>
                  </a:cubicBezTo>
                  <a:cubicBezTo>
                    <a:pt x="337" y="121"/>
                    <a:pt x="337" y="121"/>
                    <a:pt x="337" y="121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6" y="124"/>
                    <a:pt x="326" y="124"/>
                    <a:pt x="326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6" y="124"/>
                    <a:pt x="326" y="124"/>
                    <a:pt x="326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5" y="124"/>
                    <a:pt x="325" y="124"/>
                    <a:pt x="323" y="124"/>
                  </a:cubicBezTo>
                  <a:cubicBezTo>
                    <a:pt x="320" y="124"/>
                    <a:pt x="315" y="123"/>
                    <a:pt x="307" y="118"/>
                  </a:cubicBezTo>
                  <a:cubicBezTo>
                    <a:pt x="306" y="119"/>
                    <a:pt x="306" y="119"/>
                    <a:pt x="306" y="119"/>
                  </a:cubicBezTo>
                  <a:cubicBezTo>
                    <a:pt x="308" y="118"/>
                    <a:pt x="308" y="118"/>
                    <a:pt x="308" y="118"/>
                  </a:cubicBezTo>
                  <a:cubicBezTo>
                    <a:pt x="306" y="119"/>
                    <a:pt x="306" y="119"/>
                    <a:pt x="306" y="119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13" y="127"/>
                    <a:pt x="320" y="128"/>
                    <a:pt x="323" y="128"/>
                  </a:cubicBezTo>
                  <a:cubicBezTo>
                    <a:pt x="325" y="128"/>
                    <a:pt x="326" y="128"/>
                    <a:pt x="326" y="128"/>
                  </a:cubicBezTo>
                  <a:cubicBezTo>
                    <a:pt x="326" y="126"/>
                    <a:pt x="326" y="126"/>
                    <a:pt x="326" y="126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0" y="127"/>
                    <a:pt x="316" y="129"/>
                    <a:pt x="311" y="129"/>
                  </a:cubicBezTo>
                  <a:cubicBezTo>
                    <a:pt x="302" y="129"/>
                    <a:pt x="294" y="125"/>
                    <a:pt x="286" y="119"/>
                  </a:cubicBezTo>
                  <a:cubicBezTo>
                    <a:pt x="277" y="113"/>
                    <a:pt x="270" y="107"/>
                    <a:pt x="264" y="102"/>
                  </a:cubicBezTo>
                  <a:cubicBezTo>
                    <a:pt x="256" y="96"/>
                    <a:pt x="248" y="94"/>
                    <a:pt x="240" y="94"/>
                  </a:cubicBezTo>
                  <a:cubicBezTo>
                    <a:pt x="232" y="94"/>
                    <a:pt x="225" y="95"/>
                    <a:pt x="215" y="97"/>
                  </a:cubicBezTo>
                  <a:cubicBezTo>
                    <a:pt x="205" y="98"/>
                    <a:pt x="200" y="100"/>
                    <a:pt x="196" y="102"/>
                  </a:cubicBezTo>
                  <a:cubicBezTo>
                    <a:pt x="192" y="104"/>
                    <a:pt x="189" y="106"/>
                    <a:pt x="181" y="109"/>
                  </a:cubicBezTo>
                  <a:cubicBezTo>
                    <a:pt x="179" y="110"/>
                    <a:pt x="176" y="111"/>
                    <a:pt x="172" y="111"/>
                  </a:cubicBezTo>
                  <a:cubicBezTo>
                    <a:pt x="167" y="112"/>
                    <a:pt x="163" y="112"/>
                    <a:pt x="158" y="112"/>
                  </a:cubicBezTo>
                  <a:cubicBezTo>
                    <a:pt x="147" y="112"/>
                    <a:pt x="135" y="111"/>
                    <a:pt x="126" y="110"/>
                  </a:cubicBezTo>
                  <a:cubicBezTo>
                    <a:pt x="122" y="110"/>
                    <a:pt x="118" y="110"/>
                    <a:pt x="115" y="109"/>
                  </a:cubicBezTo>
                  <a:cubicBezTo>
                    <a:pt x="112" y="109"/>
                    <a:pt x="111" y="109"/>
                    <a:pt x="111" y="109"/>
                  </a:cubicBezTo>
                  <a:cubicBezTo>
                    <a:pt x="110" y="109"/>
                    <a:pt x="110" y="109"/>
                    <a:pt x="110" y="109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04" y="115"/>
                    <a:pt x="99" y="117"/>
                    <a:pt x="95" y="117"/>
                  </a:cubicBezTo>
                  <a:cubicBezTo>
                    <a:pt x="89" y="117"/>
                    <a:pt x="84" y="113"/>
                    <a:pt x="81" y="109"/>
                  </a:cubicBezTo>
                  <a:cubicBezTo>
                    <a:pt x="80" y="107"/>
                    <a:pt x="79" y="104"/>
                    <a:pt x="79" y="100"/>
                  </a:cubicBezTo>
                  <a:cubicBezTo>
                    <a:pt x="79" y="97"/>
                    <a:pt x="80" y="93"/>
                    <a:pt x="82" y="90"/>
                  </a:cubicBezTo>
                  <a:cubicBezTo>
                    <a:pt x="84" y="87"/>
                    <a:pt x="87" y="84"/>
                    <a:pt x="91" y="82"/>
                  </a:cubicBezTo>
                  <a:cubicBezTo>
                    <a:pt x="93" y="82"/>
                    <a:pt x="95" y="81"/>
                    <a:pt x="96" y="81"/>
                  </a:cubicBezTo>
                  <a:cubicBezTo>
                    <a:pt x="102" y="81"/>
                    <a:pt x="107" y="84"/>
                    <a:pt x="111" y="88"/>
                  </a:cubicBezTo>
                  <a:cubicBezTo>
                    <a:pt x="115" y="93"/>
                    <a:pt x="118" y="98"/>
                    <a:pt x="118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18" y="108"/>
                    <a:pt x="115" y="114"/>
                    <a:pt x="110" y="119"/>
                  </a:cubicBezTo>
                  <a:cubicBezTo>
                    <a:pt x="105" y="124"/>
                    <a:pt x="98" y="127"/>
                    <a:pt x="92" y="128"/>
                  </a:cubicBezTo>
                  <a:cubicBezTo>
                    <a:pt x="91" y="128"/>
                    <a:pt x="89" y="129"/>
                    <a:pt x="88" y="129"/>
                  </a:cubicBezTo>
                  <a:cubicBezTo>
                    <a:pt x="81" y="129"/>
                    <a:pt x="73" y="127"/>
                    <a:pt x="67" y="122"/>
                  </a:cubicBezTo>
                  <a:cubicBezTo>
                    <a:pt x="60" y="118"/>
                    <a:pt x="55" y="111"/>
                    <a:pt x="54" y="102"/>
                  </a:cubicBezTo>
                  <a:cubicBezTo>
                    <a:pt x="54" y="100"/>
                    <a:pt x="54" y="99"/>
                    <a:pt x="54" y="97"/>
                  </a:cubicBezTo>
                  <a:cubicBezTo>
                    <a:pt x="54" y="87"/>
                    <a:pt x="58" y="78"/>
                    <a:pt x="65" y="70"/>
                  </a:cubicBezTo>
                  <a:cubicBezTo>
                    <a:pt x="72" y="63"/>
                    <a:pt x="81" y="57"/>
                    <a:pt x="88" y="54"/>
                  </a:cubicBezTo>
                  <a:cubicBezTo>
                    <a:pt x="90" y="53"/>
                    <a:pt x="93" y="52"/>
                    <a:pt x="97" y="52"/>
                  </a:cubicBezTo>
                  <a:cubicBezTo>
                    <a:pt x="103" y="52"/>
                    <a:pt x="111" y="55"/>
                    <a:pt x="117" y="57"/>
                  </a:cubicBezTo>
                  <a:cubicBezTo>
                    <a:pt x="120" y="59"/>
                    <a:pt x="122" y="60"/>
                    <a:pt x="124" y="61"/>
                  </a:cubicBezTo>
                  <a:cubicBezTo>
                    <a:pt x="125" y="61"/>
                    <a:pt x="125" y="62"/>
                    <a:pt x="126" y="62"/>
                  </a:cubicBezTo>
                  <a:cubicBezTo>
                    <a:pt x="126" y="62"/>
                    <a:pt x="126" y="62"/>
                    <a:pt x="126" y="62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30" y="62"/>
                    <a:pt x="132" y="62"/>
                    <a:pt x="134" y="62"/>
                  </a:cubicBezTo>
                  <a:cubicBezTo>
                    <a:pt x="140" y="62"/>
                    <a:pt x="146" y="64"/>
                    <a:pt x="151" y="67"/>
                  </a:cubicBezTo>
                  <a:cubicBezTo>
                    <a:pt x="156" y="70"/>
                    <a:pt x="161" y="74"/>
                    <a:pt x="163" y="78"/>
                  </a:cubicBezTo>
                  <a:cubicBezTo>
                    <a:pt x="165" y="81"/>
                    <a:pt x="165" y="85"/>
                    <a:pt x="165" y="88"/>
                  </a:cubicBezTo>
                  <a:cubicBezTo>
                    <a:pt x="165" y="93"/>
                    <a:pt x="164" y="97"/>
                    <a:pt x="163" y="101"/>
                  </a:cubicBezTo>
                  <a:cubicBezTo>
                    <a:pt x="163" y="103"/>
                    <a:pt x="162" y="104"/>
                    <a:pt x="162" y="105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1" y="107"/>
                    <a:pt x="161" y="107"/>
                    <a:pt x="161" y="107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2" y="109"/>
                    <a:pt x="162" y="109"/>
                    <a:pt x="162" y="109"/>
                  </a:cubicBezTo>
                  <a:cubicBezTo>
                    <a:pt x="162" y="109"/>
                    <a:pt x="162" y="109"/>
                    <a:pt x="162" y="109"/>
                  </a:cubicBezTo>
                  <a:cubicBezTo>
                    <a:pt x="162" y="109"/>
                    <a:pt x="166" y="116"/>
                    <a:pt x="166" y="125"/>
                  </a:cubicBezTo>
                  <a:cubicBezTo>
                    <a:pt x="166" y="133"/>
                    <a:pt x="163" y="141"/>
                    <a:pt x="155" y="150"/>
                  </a:cubicBezTo>
                  <a:cubicBezTo>
                    <a:pt x="145" y="159"/>
                    <a:pt x="134" y="161"/>
                    <a:pt x="125" y="161"/>
                  </a:cubicBezTo>
                  <a:cubicBezTo>
                    <a:pt x="120" y="161"/>
                    <a:pt x="116" y="161"/>
                    <a:pt x="113" y="160"/>
                  </a:cubicBezTo>
                  <a:cubicBezTo>
                    <a:pt x="111" y="160"/>
                    <a:pt x="110" y="159"/>
                    <a:pt x="109" y="159"/>
                  </a:cubicBezTo>
                  <a:cubicBezTo>
                    <a:pt x="109" y="159"/>
                    <a:pt x="108" y="159"/>
                    <a:pt x="108" y="159"/>
                  </a:cubicBezTo>
                  <a:cubicBezTo>
                    <a:pt x="108" y="158"/>
                    <a:pt x="108" y="158"/>
                    <a:pt x="108" y="158"/>
                  </a:cubicBezTo>
                  <a:cubicBezTo>
                    <a:pt x="107" y="158"/>
                    <a:pt x="107" y="158"/>
                    <a:pt x="107" y="158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97" y="165"/>
                    <a:pt x="87" y="168"/>
                    <a:pt x="77" y="168"/>
                  </a:cubicBezTo>
                  <a:cubicBezTo>
                    <a:pt x="65" y="168"/>
                    <a:pt x="53" y="163"/>
                    <a:pt x="44" y="155"/>
                  </a:cubicBezTo>
                  <a:cubicBezTo>
                    <a:pt x="36" y="148"/>
                    <a:pt x="32" y="138"/>
                    <a:pt x="29" y="130"/>
                  </a:cubicBezTo>
                  <a:cubicBezTo>
                    <a:pt x="28" y="126"/>
                    <a:pt x="27" y="123"/>
                    <a:pt x="27" y="120"/>
                  </a:cubicBezTo>
                  <a:cubicBezTo>
                    <a:pt x="27" y="119"/>
                    <a:pt x="27" y="118"/>
                    <a:pt x="27" y="117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12" y="105"/>
                    <a:pt x="4" y="89"/>
                    <a:pt x="4" y="76"/>
                  </a:cubicBezTo>
                  <a:cubicBezTo>
                    <a:pt x="4" y="75"/>
                    <a:pt x="4" y="73"/>
                    <a:pt x="4" y="72"/>
                  </a:cubicBezTo>
                  <a:cubicBezTo>
                    <a:pt x="6" y="57"/>
                    <a:pt x="13" y="41"/>
                    <a:pt x="29" y="29"/>
                  </a:cubicBezTo>
                  <a:cubicBezTo>
                    <a:pt x="40" y="21"/>
                    <a:pt x="53" y="19"/>
                    <a:pt x="60" y="19"/>
                  </a:cubicBezTo>
                  <a:cubicBezTo>
                    <a:pt x="61" y="19"/>
                    <a:pt x="63" y="19"/>
                    <a:pt x="63" y="1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8" y="17"/>
                    <a:pt x="83" y="3"/>
                    <a:pt x="103" y="4"/>
                  </a:cubicBezTo>
                  <a:cubicBezTo>
                    <a:pt x="107" y="4"/>
                    <a:pt x="111" y="4"/>
                    <a:pt x="116" y="6"/>
                  </a:cubicBezTo>
                  <a:cubicBezTo>
                    <a:pt x="129" y="10"/>
                    <a:pt x="140" y="20"/>
                    <a:pt x="147" y="29"/>
                  </a:cubicBezTo>
                  <a:cubicBezTo>
                    <a:pt x="150" y="33"/>
                    <a:pt x="153" y="37"/>
                    <a:pt x="155" y="40"/>
                  </a:cubicBezTo>
                  <a:cubicBezTo>
                    <a:pt x="156" y="41"/>
                    <a:pt x="156" y="43"/>
                    <a:pt x="157" y="43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57" y="45"/>
                    <a:pt x="157" y="45"/>
                    <a:pt x="157" y="45"/>
                  </a:cubicBezTo>
                  <a:cubicBezTo>
                    <a:pt x="158" y="46"/>
                    <a:pt x="158" y="46"/>
                    <a:pt x="158" y="46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60" y="46"/>
                    <a:pt x="161" y="46"/>
                    <a:pt x="162" y="46"/>
                  </a:cubicBezTo>
                  <a:cubicBezTo>
                    <a:pt x="166" y="45"/>
                    <a:pt x="172" y="49"/>
                    <a:pt x="177" y="53"/>
                  </a:cubicBezTo>
                  <a:cubicBezTo>
                    <a:pt x="181" y="56"/>
                    <a:pt x="185" y="61"/>
                    <a:pt x="186" y="62"/>
                  </a:cubicBezTo>
                  <a:cubicBezTo>
                    <a:pt x="187" y="63"/>
                    <a:pt x="187" y="64"/>
                    <a:pt x="188" y="66"/>
                  </a:cubicBezTo>
                  <a:cubicBezTo>
                    <a:pt x="189" y="68"/>
                    <a:pt x="190" y="71"/>
                    <a:pt x="191" y="73"/>
                  </a:cubicBezTo>
                  <a:cubicBezTo>
                    <a:pt x="192" y="76"/>
                    <a:pt x="193" y="79"/>
                    <a:pt x="195" y="80"/>
                  </a:cubicBezTo>
                  <a:cubicBezTo>
                    <a:pt x="197" y="82"/>
                    <a:pt x="199" y="82"/>
                    <a:pt x="202" y="83"/>
                  </a:cubicBezTo>
                  <a:cubicBezTo>
                    <a:pt x="204" y="83"/>
                    <a:pt x="208" y="83"/>
                    <a:pt x="211" y="83"/>
                  </a:cubicBezTo>
                  <a:cubicBezTo>
                    <a:pt x="217" y="83"/>
                    <a:pt x="223" y="83"/>
                    <a:pt x="227" y="82"/>
                  </a:cubicBezTo>
                  <a:cubicBezTo>
                    <a:pt x="230" y="81"/>
                    <a:pt x="234" y="81"/>
                    <a:pt x="240" y="81"/>
                  </a:cubicBezTo>
                  <a:cubicBezTo>
                    <a:pt x="249" y="81"/>
                    <a:pt x="260" y="82"/>
                    <a:pt x="270" y="88"/>
                  </a:cubicBezTo>
                  <a:cubicBezTo>
                    <a:pt x="278" y="92"/>
                    <a:pt x="287" y="101"/>
                    <a:pt x="293" y="108"/>
                  </a:cubicBezTo>
                  <a:cubicBezTo>
                    <a:pt x="297" y="111"/>
                    <a:pt x="300" y="114"/>
                    <a:pt x="302" y="117"/>
                  </a:cubicBezTo>
                  <a:cubicBezTo>
                    <a:pt x="302" y="118"/>
                    <a:pt x="303" y="119"/>
                    <a:pt x="304" y="120"/>
                  </a:cubicBezTo>
                  <a:cubicBezTo>
                    <a:pt x="304" y="120"/>
                    <a:pt x="305" y="121"/>
                    <a:pt x="305" y="121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06" y="119"/>
                    <a:pt x="306" y="119"/>
                    <a:pt x="306" y="11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" name="Freeform 13"/>
            <p:cNvSpPr>
              <a:spLocks/>
            </p:cNvSpPr>
            <p:nvPr/>
          </p:nvSpPr>
          <p:spPr bwMode="auto">
            <a:xfrm>
              <a:off x="3021526" y="2282945"/>
              <a:ext cx="396987" cy="270289"/>
            </a:xfrm>
            <a:custGeom>
              <a:avLst/>
              <a:gdLst>
                <a:gd name="T0" fmla="*/ 48 w 119"/>
                <a:gd name="T1" fmla="*/ 56 h 81"/>
                <a:gd name="T2" fmla="*/ 48 w 119"/>
                <a:gd name="T3" fmla="*/ 56 h 81"/>
                <a:gd name="T4" fmla="*/ 50 w 119"/>
                <a:gd name="T5" fmla="*/ 53 h 81"/>
                <a:gd name="T6" fmla="*/ 52 w 119"/>
                <a:gd name="T7" fmla="*/ 52 h 81"/>
                <a:gd name="T8" fmla="*/ 54 w 119"/>
                <a:gd name="T9" fmla="*/ 51 h 81"/>
                <a:gd name="T10" fmla="*/ 60 w 119"/>
                <a:gd name="T11" fmla="*/ 55 h 81"/>
                <a:gd name="T12" fmla="*/ 62 w 119"/>
                <a:gd name="T13" fmla="*/ 59 h 81"/>
                <a:gd name="T14" fmla="*/ 57 w 119"/>
                <a:gd name="T15" fmla="*/ 66 h 81"/>
                <a:gd name="T16" fmla="*/ 47 w 119"/>
                <a:gd name="T17" fmla="*/ 69 h 81"/>
                <a:gd name="T18" fmla="*/ 37 w 119"/>
                <a:gd name="T19" fmla="*/ 64 h 81"/>
                <a:gd name="T20" fmla="*/ 30 w 119"/>
                <a:gd name="T21" fmla="*/ 48 h 81"/>
                <a:gd name="T22" fmla="*/ 35 w 119"/>
                <a:gd name="T23" fmla="*/ 37 h 81"/>
                <a:gd name="T24" fmla="*/ 50 w 119"/>
                <a:gd name="T25" fmla="*/ 30 h 81"/>
                <a:gd name="T26" fmla="*/ 65 w 119"/>
                <a:gd name="T27" fmla="*/ 38 h 81"/>
                <a:gd name="T28" fmla="*/ 69 w 119"/>
                <a:gd name="T29" fmla="*/ 50 h 81"/>
                <a:gd name="T30" fmla="*/ 64 w 119"/>
                <a:gd name="T31" fmla="*/ 65 h 81"/>
                <a:gd name="T32" fmla="*/ 54 w 119"/>
                <a:gd name="T33" fmla="*/ 74 h 81"/>
                <a:gd name="T34" fmla="*/ 37 w 119"/>
                <a:gd name="T35" fmla="*/ 77 h 81"/>
                <a:gd name="T36" fmla="*/ 13 w 119"/>
                <a:gd name="T37" fmla="*/ 68 h 81"/>
                <a:gd name="T38" fmla="*/ 4 w 119"/>
                <a:gd name="T39" fmla="*/ 49 h 81"/>
                <a:gd name="T40" fmla="*/ 16 w 119"/>
                <a:gd name="T41" fmla="*/ 21 h 81"/>
                <a:gd name="T42" fmla="*/ 52 w 119"/>
                <a:gd name="T43" fmla="*/ 4 h 81"/>
                <a:gd name="T44" fmla="*/ 77 w 119"/>
                <a:gd name="T45" fmla="*/ 12 h 81"/>
                <a:gd name="T46" fmla="*/ 78 w 119"/>
                <a:gd name="T47" fmla="*/ 13 h 81"/>
                <a:gd name="T48" fmla="*/ 79 w 119"/>
                <a:gd name="T49" fmla="*/ 13 h 81"/>
                <a:gd name="T50" fmla="*/ 79 w 119"/>
                <a:gd name="T51" fmla="*/ 13 h 81"/>
                <a:gd name="T52" fmla="*/ 87 w 119"/>
                <a:gd name="T53" fmla="*/ 11 h 81"/>
                <a:gd name="T54" fmla="*/ 105 w 119"/>
                <a:gd name="T55" fmla="*/ 19 h 81"/>
                <a:gd name="T56" fmla="*/ 115 w 119"/>
                <a:gd name="T57" fmla="*/ 43 h 81"/>
                <a:gd name="T58" fmla="*/ 113 w 119"/>
                <a:gd name="T59" fmla="*/ 57 h 81"/>
                <a:gd name="T60" fmla="*/ 112 w 119"/>
                <a:gd name="T61" fmla="*/ 57 h 81"/>
                <a:gd name="T62" fmla="*/ 115 w 119"/>
                <a:gd name="T63" fmla="*/ 65 h 81"/>
                <a:gd name="T64" fmla="*/ 119 w 119"/>
                <a:gd name="T65" fmla="*/ 63 h 81"/>
                <a:gd name="T66" fmla="*/ 116 w 119"/>
                <a:gd name="T67" fmla="*/ 57 h 81"/>
                <a:gd name="T68" fmla="*/ 114 w 119"/>
                <a:gd name="T69" fmla="*/ 58 h 81"/>
                <a:gd name="T70" fmla="*/ 116 w 119"/>
                <a:gd name="T71" fmla="*/ 59 h 81"/>
                <a:gd name="T72" fmla="*/ 119 w 119"/>
                <a:gd name="T73" fmla="*/ 43 h 81"/>
                <a:gd name="T74" fmla="*/ 108 w 119"/>
                <a:gd name="T75" fmla="*/ 16 h 81"/>
                <a:gd name="T76" fmla="*/ 87 w 119"/>
                <a:gd name="T77" fmla="*/ 7 h 81"/>
                <a:gd name="T78" fmla="*/ 78 w 119"/>
                <a:gd name="T79" fmla="*/ 9 h 81"/>
                <a:gd name="T80" fmla="*/ 79 w 119"/>
                <a:gd name="T81" fmla="*/ 11 h 81"/>
                <a:gd name="T82" fmla="*/ 80 w 119"/>
                <a:gd name="T83" fmla="*/ 9 h 81"/>
                <a:gd name="T84" fmla="*/ 52 w 119"/>
                <a:gd name="T85" fmla="*/ 0 h 81"/>
                <a:gd name="T86" fmla="*/ 13 w 119"/>
                <a:gd name="T87" fmla="*/ 18 h 81"/>
                <a:gd name="T88" fmla="*/ 0 w 119"/>
                <a:gd name="T89" fmla="*/ 49 h 81"/>
                <a:gd name="T90" fmla="*/ 10 w 119"/>
                <a:gd name="T91" fmla="*/ 71 h 81"/>
                <a:gd name="T92" fmla="*/ 37 w 119"/>
                <a:gd name="T93" fmla="*/ 81 h 81"/>
                <a:gd name="T94" fmla="*/ 55 w 119"/>
                <a:gd name="T95" fmla="*/ 78 h 81"/>
                <a:gd name="T96" fmla="*/ 68 w 119"/>
                <a:gd name="T97" fmla="*/ 67 h 81"/>
                <a:gd name="T98" fmla="*/ 73 w 119"/>
                <a:gd name="T99" fmla="*/ 50 h 81"/>
                <a:gd name="T100" fmla="*/ 68 w 119"/>
                <a:gd name="T101" fmla="*/ 36 h 81"/>
                <a:gd name="T102" fmla="*/ 50 w 119"/>
                <a:gd name="T103" fmla="*/ 26 h 81"/>
                <a:gd name="T104" fmla="*/ 32 w 119"/>
                <a:gd name="T105" fmla="*/ 34 h 81"/>
                <a:gd name="T106" fmla="*/ 26 w 119"/>
                <a:gd name="T107" fmla="*/ 48 h 81"/>
                <a:gd name="T108" fmla="*/ 34 w 119"/>
                <a:gd name="T109" fmla="*/ 67 h 81"/>
                <a:gd name="T110" fmla="*/ 47 w 119"/>
                <a:gd name="T111" fmla="*/ 73 h 81"/>
                <a:gd name="T112" fmla="*/ 60 w 119"/>
                <a:gd name="T113" fmla="*/ 69 h 81"/>
                <a:gd name="T114" fmla="*/ 66 w 119"/>
                <a:gd name="T115" fmla="*/ 59 h 81"/>
                <a:gd name="T116" fmla="*/ 63 w 119"/>
                <a:gd name="T117" fmla="*/ 52 h 81"/>
                <a:gd name="T118" fmla="*/ 54 w 119"/>
                <a:gd name="T119" fmla="*/ 47 h 81"/>
                <a:gd name="T120" fmla="*/ 50 w 119"/>
                <a:gd name="T121" fmla="*/ 48 h 81"/>
                <a:gd name="T122" fmla="*/ 45 w 119"/>
                <a:gd name="T123" fmla="*/ 54 h 81"/>
                <a:gd name="T124" fmla="*/ 48 w 119"/>
                <a:gd name="T125" fmla="*/ 5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9" h="81">
                  <a:moveTo>
                    <a:pt x="48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9" y="56"/>
                    <a:pt x="49" y="54"/>
                    <a:pt x="50" y="53"/>
                  </a:cubicBezTo>
                  <a:cubicBezTo>
                    <a:pt x="51" y="53"/>
                    <a:pt x="51" y="52"/>
                    <a:pt x="52" y="52"/>
                  </a:cubicBezTo>
                  <a:cubicBezTo>
                    <a:pt x="53" y="51"/>
                    <a:pt x="53" y="51"/>
                    <a:pt x="54" y="51"/>
                  </a:cubicBezTo>
                  <a:cubicBezTo>
                    <a:pt x="55" y="51"/>
                    <a:pt x="57" y="52"/>
                    <a:pt x="60" y="55"/>
                  </a:cubicBezTo>
                  <a:cubicBezTo>
                    <a:pt x="61" y="56"/>
                    <a:pt x="62" y="58"/>
                    <a:pt x="62" y="59"/>
                  </a:cubicBezTo>
                  <a:cubicBezTo>
                    <a:pt x="62" y="61"/>
                    <a:pt x="60" y="64"/>
                    <a:pt x="57" y="66"/>
                  </a:cubicBezTo>
                  <a:cubicBezTo>
                    <a:pt x="55" y="68"/>
                    <a:pt x="51" y="69"/>
                    <a:pt x="47" y="69"/>
                  </a:cubicBezTo>
                  <a:cubicBezTo>
                    <a:pt x="44" y="69"/>
                    <a:pt x="40" y="68"/>
                    <a:pt x="37" y="64"/>
                  </a:cubicBezTo>
                  <a:cubicBezTo>
                    <a:pt x="32" y="58"/>
                    <a:pt x="30" y="53"/>
                    <a:pt x="30" y="48"/>
                  </a:cubicBezTo>
                  <a:cubicBezTo>
                    <a:pt x="30" y="44"/>
                    <a:pt x="32" y="41"/>
                    <a:pt x="35" y="37"/>
                  </a:cubicBezTo>
                  <a:cubicBezTo>
                    <a:pt x="39" y="33"/>
                    <a:pt x="44" y="30"/>
                    <a:pt x="50" y="30"/>
                  </a:cubicBezTo>
                  <a:cubicBezTo>
                    <a:pt x="55" y="30"/>
                    <a:pt x="60" y="32"/>
                    <a:pt x="65" y="38"/>
                  </a:cubicBezTo>
                  <a:cubicBezTo>
                    <a:pt x="68" y="42"/>
                    <a:pt x="69" y="46"/>
                    <a:pt x="69" y="50"/>
                  </a:cubicBezTo>
                  <a:cubicBezTo>
                    <a:pt x="69" y="55"/>
                    <a:pt x="67" y="61"/>
                    <a:pt x="64" y="65"/>
                  </a:cubicBezTo>
                  <a:cubicBezTo>
                    <a:pt x="62" y="70"/>
                    <a:pt x="58" y="73"/>
                    <a:pt x="54" y="74"/>
                  </a:cubicBezTo>
                  <a:cubicBezTo>
                    <a:pt x="49" y="76"/>
                    <a:pt x="43" y="77"/>
                    <a:pt x="37" y="77"/>
                  </a:cubicBezTo>
                  <a:cubicBezTo>
                    <a:pt x="28" y="77"/>
                    <a:pt x="20" y="75"/>
                    <a:pt x="13" y="68"/>
                  </a:cubicBezTo>
                  <a:cubicBezTo>
                    <a:pt x="7" y="63"/>
                    <a:pt x="4" y="56"/>
                    <a:pt x="4" y="49"/>
                  </a:cubicBezTo>
                  <a:cubicBezTo>
                    <a:pt x="4" y="41"/>
                    <a:pt x="7" y="32"/>
                    <a:pt x="16" y="21"/>
                  </a:cubicBezTo>
                  <a:cubicBezTo>
                    <a:pt x="25" y="9"/>
                    <a:pt x="39" y="4"/>
                    <a:pt x="52" y="4"/>
                  </a:cubicBezTo>
                  <a:cubicBezTo>
                    <a:pt x="62" y="4"/>
                    <a:pt x="72" y="7"/>
                    <a:pt x="77" y="12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80" y="13"/>
                    <a:pt x="82" y="11"/>
                    <a:pt x="87" y="11"/>
                  </a:cubicBezTo>
                  <a:cubicBezTo>
                    <a:pt x="91" y="11"/>
                    <a:pt x="98" y="13"/>
                    <a:pt x="105" y="19"/>
                  </a:cubicBezTo>
                  <a:cubicBezTo>
                    <a:pt x="113" y="25"/>
                    <a:pt x="115" y="35"/>
                    <a:pt x="115" y="43"/>
                  </a:cubicBezTo>
                  <a:cubicBezTo>
                    <a:pt x="115" y="49"/>
                    <a:pt x="114" y="54"/>
                    <a:pt x="113" y="57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4" y="58"/>
                    <a:pt x="114" y="58"/>
                    <a:pt x="114" y="58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8" y="55"/>
                    <a:pt x="119" y="50"/>
                    <a:pt x="119" y="43"/>
                  </a:cubicBezTo>
                  <a:cubicBezTo>
                    <a:pt x="119" y="34"/>
                    <a:pt x="117" y="23"/>
                    <a:pt x="108" y="16"/>
                  </a:cubicBezTo>
                  <a:cubicBezTo>
                    <a:pt x="100" y="9"/>
                    <a:pt x="92" y="7"/>
                    <a:pt x="87" y="7"/>
                  </a:cubicBezTo>
                  <a:cubicBezTo>
                    <a:pt x="81" y="7"/>
                    <a:pt x="78" y="9"/>
                    <a:pt x="78" y="9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73" y="3"/>
                    <a:pt x="63" y="0"/>
                    <a:pt x="52" y="0"/>
                  </a:cubicBezTo>
                  <a:cubicBezTo>
                    <a:pt x="38" y="0"/>
                    <a:pt x="22" y="5"/>
                    <a:pt x="13" y="18"/>
                  </a:cubicBezTo>
                  <a:cubicBezTo>
                    <a:pt x="4" y="30"/>
                    <a:pt x="0" y="40"/>
                    <a:pt x="0" y="49"/>
                  </a:cubicBezTo>
                  <a:cubicBezTo>
                    <a:pt x="0" y="57"/>
                    <a:pt x="4" y="65"/>
                    <a:pt x="10" y="71"/>
                  </a:cubicBezTo>
                  <a:cubicBezTo>
                    <a:pt x="18" y="79"/>
                    <a:pt x="28" y="81"/>
                    <a:pt x="37" y="81"/>
                  </a:cubicBezTo>
                  <a:cubicBezTo>
                    <a:pt x="44" y="81"/>
                    <a:pt x="50" y="80"/>
                    <a:pt x="55" y="78"/>
                  </a:cubicBezTo>
                  <a:cubicBezTo>
                    <a:pt x="60" y="76"/>
                    <a:pt x="65" y="72"/>
                    <a:pt x="68" y="67"/>
                  </a:cubicBezTo>
                  <a:cubicBezTo>
                    <a:pt x="71" y="62"/>
                    <a:pt x="73" y="56"/>
                    <a:pt x="73" y="50"/>
                  </a:cubicBezTo>
                  <a:cubicBezTo>
                    <a:pt x="73" y="45"/>
                    <a:pt x="72" y="40"/>
                    <a:pt x="68" y="36"/>
                  </a:cubicBezTo>
                  <a:cubicBezTo>
                    <a:pt x="63" y="29"/>
                    <a:pt x="56" y="26"/>
                    <a:pt x="50" y="26"/>
                  </a:cubicBezTo>
                  <a:cubicBezTo>
                    <a:pt x="43" y="26"/>
                    <a:pt x="37" y="29"/>
                    <a:pt x="32" y="34"/>
                  </a:cubicBezTo>
                  <a:cubicBezTo>
                    <a:pt x="28" y="38"/>
                    <a:pt x="26" y="43"/>
                    <a:pt x="26" y="48"/>
                  </a:cubicBezTo>
                  <a:cubicBezTo>
                    <a:pt x="26" y="54"/>
                    <a:pt x="29" y="60"/>
                    <a:pt x="34" y="67"/>
                  </a:cubicBezTo>
                  <a:cubicBezTo>
                    <a:pt x="38" y="71"/>
                    <a:pt x="43" y="73"/>
                    <a:pt x="47" y="73"/>
                  </a:cubicBezTo>
                  <a:cubicBezTo>
                    <a:pt x="52" y="73"/>
                    <a:pt x="56" y="71"/>
                    <a:pt x="60" y="69"/>
                  </a:cubicBezTo>
                  <a:cubicBezTo>
                    <a:pt x="63" y="66"/>
                    <a:pt x="65" y="63"/>
                    <a:pt x="66" y="59"/>
                  </a:cubicBezTo>
                  <a:cubicBezTo>
                    <a:pt x="66" y="57"/>
                    <a:pt x="65" y="55"/>
                    <a:pt x="63" y="52"/>
                  </a:cubicBezTo>
                  <a:cubicBezTo>
                    <a:pt x="60" y="49"/>
                    <a:pt x="57" y="47"/>
                    <a:pt x="54" y="47"/>
                  </a:cubicBezTo>
                  <a:cubicBezTo>
                    <a:pt x="52" y="47"/>
                    <a:pt x="51" y="48"/>
                    <a:pt x="50" y="48"/>
                  </a:cubicBezTo>
                  <a:cubicBezTo>
                    <a:pt x="46" y="51"/>
                    <a:pt x="45" y="54"/>
                    <a:pt x="45" y="54"/>
                  </a:cubicBezTo>
                  <a:lnTo>
                    <a:pt x="48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" name="文本框 69"/>
            <p:cNvSpPr txBox="1"/>
            <p:nvPr/>
          </p:nvSpPr>
          <p:spPr>
            <a:xfrm>
              <a:off x="1347652" y="2222155"/>
              <a:ext cx="161088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dirty="0" smtClean="0">
                  <a:solidFill>
                    <a:srgbClr val="DBDBDB">
                      <a:alpha val="85000"/>
                    </a:srgb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CONTENTS</a:t>
              </a:r>
              <a:endParaRPr lang="zh-CN" altLang="en-US" sz="2000" dirty="0">
                <a:solidFill>
                  <a:srgbClr val="DBDBDB">
                    <a:alpha val="85000"/>
                  </a:srgbClr>
                </a:solidFill>
                <a:latin typeface="张海山锐谐体" panose="02000000000000000000" pitchFamily="2" charset="-122"/>
                <a:ea typeface="张海山锐谐体" panose="02000000000000000000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4089422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3" name="组合 2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5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4" name="文本框 3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1069061" y="2348880"/>
            <a:ext cx="10053878" cy="2896878"/>
            <a:chOff x="1009721" y="2251295"/>
            <a:chExt cx="10053878" cy="2896878"/>
          </a:xfrm>
        </p:grpSpPr>
        <p:sp>
          <p:nvSpPr>
            <p:cNvPr id="8" name="任意多边形 7"/>
            <p:cNvSpPr/>
            <p:nvPr/>
          </p:nvSpPr>
          <p:spPr>
            <a:xfrm>
              <a:off x="1009721" y="2251295"/>
              <a:ext cx="3898013" cy="2896878"/>
            </a:xfrm>
            <a:custGeom>
              <a:avLst/>
              <a:gdLst>
                <a:gd name="connsiteX0" fmla="*/ 0 w 2901156"/>
                <a:gd name="connsiteY0" fmla="*/ 0 h 1160462"/>
                <a:gd name="connsiteX1" fmla="*/ 2320925 w 2901156"/>
                <a:gd name="connsiteY1" fmla="*/ 0 h 1160462"/>
                <a:gd name="connsiteX2" fmla="*/ 2901156 w 2901156"/>
                <a:gd name="connsiteY2" fmla="*/ 580231 h 1160462"/>
                <a:gd name="connsiteX3" fmla="*/ 2320925 w 2901156"/>
                <a:gd name="connsiteY3" fmla="*/ 1160462 h 1160462"/>
                <a:gd name="connsiteX4" fmla="*/ 0 w 2901156"/>
                <a:gd name="connsiteY4" fmla="*/ 1160462 h 1160462"/>
                <a:gd name="connsiteX5" fmla="*/ 580231 w 2901156"/>
                <a:gd name="connsiteY5" fmla="*/ 580231 h 1160462"/>
                <a:gd name="connsiteX6" fmla="*/ 0 w 2901156"/>
                <a:gd name="connsiteY6" fmla="*/ 0 h 116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01156" h="1160462">
                  <a:moveTo>
                    <a:pt x="0" y="0"/>
                  </a:moveTo>
                  <a:lnTo>
                    <a:pt x="2320925" y="0"/>
                  </a:lnTo>
                  <a:lnTo>
                    <a:pt x="2901156" y="580231"/>
                  </a:lnTo>
                  <a:lnTo>
                    <a:pt x="2320925" y="1160462"/>
                  </a:lnTo>
                  <a:lnTo>
                    <a:pt x="0" y="1160462"/>
                  </a:lnTo>
                  <a:lnTo>
                    <a:pt x="580231" y="5802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57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9" name="任意多边形 8"/>
            <p:cNvSpPr/>
            <p:nvPr/>
          </p:nvSpPr>
          <p:spPr>
            <a:xfrm>
              <a:off x="4087654" y="2251295"/>
              <a:ext cx="3898013" cy="2896878"/>
            </a:xfrm>
            <a:custGeom>
              <a:avLst/>
              <a:gdLst>
                <a:gd name="connsiteX0" fmla="*/ 0 w 2901156"/>
                <a:gd name="connsiteY0" fmla="*/ 0 h 1160462"/>
                <a:gd name="connsiteX1" fmla="*/ 2320925 w 2901156"/>
                <a:gd name="connsiteY1" fmla="*/ 0 h 1160462"/>
                <a:gd name="connsiteX2" fmla="*/ 2901156 w 2901156"/>
                <a:gd name="connsiteY2" fmla="*/ 580231 h 1160462"/>
                <a:gd name="connsiteX3" fmla="*/ 2320925 w 2901156"/>
                <a:gd name="connsiteY3" fmla="*/ 1160462 h 1160462"/>
                <a:gd name="connsiteX4" fmla="*/ 0 w 2901156"/>
                <a:gd name="connsiteY4" fmla="*/ 1160462 h 1160462"/>
                <a:gd name="connsiteX5" fmla="*/ 580231 w 2901156"/>
                <a:gd name="connsiteY5" fmla="*/ 580231 h 1160462"/>
                <a:gd name="connsiteX6" fmla="*/ 0 w 2901156"/>
                <a:gd name="connsiteY6" fmla="*/ 0 h 116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01156" h="1160462">
                  <a:moveTo>
                    <a:pt x="0" y="0"/>
                  </a:moveTo>
                  <a:lnTo>
                    <a:pt x="2320925" y="0"/>
                  </a:lnTo>
                  <a:lnTo>
                    <a:pt x="2901156" y="580231"/>
                  </a:lnTo>
                  <a:lnTo>
                    <a:pt x="2320925" y="1160462"/>
                  </a:lnTo>
                  <a:lnTo>
                    <a:pt x="0" y="1160462"/>
                  </a:lnTo>
                  <a:lnTo>
                    <a:pt x="580231" y="5802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B4B4B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/>
            </a:p>
          </p:txBody>
        </p:sp>
        <p:sp>
          <p:nvSpPr>
            <p:cNvPr id="10" name="任意多边形 9"/>
            <p:cNvSpPr/>
            <p:nvPr/>
          </p:nvSpPr>
          <p:spPr>
            <a:xfrm>
              <a:off x="7165586" y="2251295"/>
              <a:ext cx="3898013" cy="2896878"/>
            </a:xfrm>
            <a:custGeom>
              <a:avLst/>
              <a:gdLst>
                <a:gd name="connsiteX0" fmla="*/ 0 w 2901156"/>
                <a:gd name="connsiteY0" fmla="*/ 0 h 1160462"/>
                <a:gd name="connsiteX1" fmla="*/ 2320925 w 2901156"/>
                <a:gd name="connsiteY1" fmla="*/ 0 h 1160462"/>
                <a:gd name="connsiteX2" fmla="*/ 2901156 w 2901156"/>
                <a:gd name="connsiteY2" fmla="*/ 580231 h 1160462"/>
                <a:gd name="connsiteX3" fmla="*/ 2320925 w 2901156"/>
                <a:gd name="connsiteY3" fmla="*/ 1160462 h 1160462"/>
                <a:gd name="connsiteX4" fmla="*/ 0 w 2901156"/>
                <a:gd name="connsiteY4" fmla="*/ 1160462 h 1160462"/>
                <a:gd name="connsiteX5" fmla="*/ 580231 w 2901156"/>
                <a:gd name="connsiteY5" fmla="*/ 580231 h 1160462"/>
                <a:gd name="connsiteX6" fmla="*/ 0 w 2901156"/>
                <a:gd name="connsiteY6" fmla="*/ 0 h 1160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01156" h="1160462">
                  <a:moveTo>
                    <a:pt x="0" y="0"/>
                  </a:moveTo>
                  <a:lnTo>
                    <a:pt x="2320925" y="0"/>
                  </a:lnTo>
                  <a:lnTo>
                    <a:pt x="2901156" y="580231"/>
                  </a:lnTo>
                  <a:lnTo>
                    <a:pt x="2320925" y="1160462"/>
                  </a:lnTo>
                  <a:lnTo>
                    <a:pt x="0" y="1160462"/>
                  </a:lnTo>
                  <a:lnTo>
                    <a:pt x="580231" y="5802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00000">
                <a:alpha val="78000"/>
              </a:srgbClr>
            </a:solidFill>
            <a:ln w="19050">
              <a:noFill/>
              <a:round/>
              <a:headEnd/>
              <a:tailEnd/>
            </a:ln>
            <a:sp3d extrusionH="127000"/>
          </p:spPr>
          <p:txBody>
            <a:bodyPr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1" name="任意多边形 10"/>
            <p:cNvSpPr/>
            <p:nvPr/>
          </p:nvSpPr>
          <p:spPr>
            <a:xfrm>
              <a:off x="1009722" y="4021683"/>
              <a:ext cx="9879451" cy="1124367"/>
            </a:xfrm>
            <a:custGeom>
              <a:avLst/>
              <a:gdLst/>
              <a:ahLst/>
              <a:cxnLst/>
              <a:rect l="l" t="t" r="r" b="b"/>
              <a:pathLst>
                <a:path w="9879451" h="1124367">
                  <a:moveTo>
                    <a:pt x="605175" y="0"/>
                  </a:moveTo>
                  <a:lnTo>
                    <a:pt x="9879451" y="0"/>
                  </a:lnTo>
                  <a:lnTo>
                    <a:pt x="9274276" y="1124367"/>
                  </a:lnTo>
                  <a:lnTo>
                    <a:pt x="6196344" y="1124367"/>
                  </a:lnTo>
                  <a:lnTo>
                    <a:pt x="6155865" y="1124367"/>
                  </a:lnTo>
                  <a:lnTo>
                    <a:pt x="3118411" y="1124367"/>
                  </a:lnTo>
                  <a:lnTo>
                    <a:pt x="3077933" y="1124367"/>
                  </a:lnTo>
                  <a:lnTo>
                    <a:pt x="0" y="1124367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  <a:alpha val="17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/>
            </a:p>
          </p:txBody>
        </p:sp>
        <p:sp>
          <p:nvSpPr>
            <p:cNvPr id="12" name="Freeform 14"/>
            <p:cNvSpPr>
              <a:spLocks noChangeAspect="1" noEditPoints="1"/>
            </p:cNvSpPr>
            <p:nvPr/>
          </p:nvSpPr>
          <p:spPr bwMode="auto">
            <a:xfrm>
              <a:off x="5724853" y="2648909"/>
              <a:ext cx="830591" cy="678880"/>
            </a:xfrm>
            <a:custGeom>
              <a:avLst/>
              <a:gdLst>
                <a:gd name="T0" fmla="*/ 86 w 108"/>
                <a:gd name="T1" fmla="*/ 88 h 88"/>
                <a:gd name="T2" fmla="*/ 83 w 108"/>
                <a:gd name="T3" fmla="*/ 44 h 88"/>
                <a:gd name="T4" fmla="*/ 79 w 108"/>
                <a:gd name="T5" fmla="*/ 70 h 88"/>
                <a:gd name="T6" fmla="*/ 108 w 108"/>
                <a:gd name="T7" fmla="*/ 0 h 88"/>
                <a:gd name="T8" fmla="*/ 91 w 108"/>
                <a:gd name="T9" fmla="*/ 33 h 88"/>
                <a:gd name="T10" fmla="*/ 80 w 108"/>
                <a:gd name="T11" fmla="*/ 24 h 88"/>
                <a:gd name="T12" fmla="*/ 67 w 108"/>
                <a:gd name="T13" fmla="*/ 67 h 88"/>
                <a:gd name="T14" fmla="*/ 36 w 108"/>
                <a:gd name="T15" fmla="*/ 72 h 88"/>
                <a:gd name="T16" fmla="*/ 19 w 108"/>
                <a:gd name="T17" fmla="*/ 62 h 88"/>
                <a:gd name="T18" fmla="*/ 0 w 108"/>
                <a:gd name="T19" fmla="*/ 55 h 88"/>
                <a:gd name="T20" fmla="*/ 24 w 108"/>
                <a:gd name="T21" fmla="*/ 48 h 88"/>
                <a:gd name="T22" fmla="*/ 30 w 108"/>
                <a:gd name="T23" fmla="*/ 57 h 88"/>
                <a:gd name="T24" fmla="*/ 43 w 108"/>
                <a:gd name="T25" fmla="*/ 29 h 88"/>
                <a:gd name="T26" fmla="*/ 65 w 108"/>
                <a:gd name="T27" fmla="*/ 50 h 88"/>
                <a:gd name="T28" fmla="*/ 68 w 108"/>
                <a:gd name="T29" fmla="*/ 18 h 88"/>
                <a:gd name="T30" fmla="*/ 77 w 108"/>
                <a:gd name="T31" fmla="*/ 11 h 88"/>
                <a:gd name="T32" fmla="*/ 90 w 108"/>
                <a:gd name="T33" fmla="*/ 0 h 88"/>
                <a:gd name="T34" fmla="*/ 22 w 108"/>
                <a:gd name="T35" fmla="*/ 88 h 88"/>
                <a:gd name="T36" fmla="*/ 28 w 108"/>
                <a:gd name="T37" fmla="*/ 80 h 88"/>
                <a:gd name="T38" fmla="*/ 22 w 108"/>
                <a:gd name="T39" fmla="*/ 78 h 88"/>
                <a:gd name="T40" fmla="*/ 10 w 108"/>
                <a:gd name="T41" fmla="*/ 88 h 88"/>
                <a:gd name="T42" fmla="*/ 17 w 108"/>
                <a:gd name="T43" fmla="*/ 71 h 88"/>
                <a:gd name="T44" fmla="*/ 10 w 108"/>
                <a:gd name="T45" fmla="*/ 72 h 88"/>
                <a:gd name="T46" fmla="*/ 33 w 108"/>
                <a:gd name="T47" fmla="*/ 88 h 88"/>
                <a:gd name="T48" fmla="*/ 40 w 108"/>
                <a:gd name="T49" fmla="*/ 78 h 88"/>
                <a:gd name="T50" fmla="*/ 33 w 108"/>
                <a:gd name="T51" fmla="*/ 80 h 88"/>
                <a:gd name="T52" fmla="*/ 45 w 108"/>
                <a:gd name="T53" fmla="*/ 88 h 88"/>
                <a:gd name="T54" fmla="*/ 51 w 108"/>
                <a:gd name="T55" fmla="*/ 62 h 88"/>
                <a:gd name="T56" fmla="*/ 45 w 108"/>
                <a:gd name="T57" fmla="*/ 68 h 88"/>
                <a:gd name="T58" fmla="*/ 56 w 108"/>
                <a:gd name="T59" fmla="*/ 88 h 88"/>
                <a:gd name="T60" fmla="*/ 63 w 108"/>
                <a:gd name="T61" fmla="*/ 73 h 88"/>
                <a:gd name="T62" fmla="*/ 56 w 108"/>
                <a:gd name="T63" fmla="*/ 88 h 88"/>
                <a:gd name="T64" fmla="*/ 74 w 108"/>
                <a:gd name="T65" fmla="*/ 88 h 88"/>
                <a:gd name="T66" fmla="*/ 68 w 108"/>
                <a:gd name="T67" fmla="*/ 75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8" h="88">
                  <a:moveTo>
                    <a:pt x="79" y="88"/>
                  </a:moveTo>
                  <a:cubicBezTo>
                    <a:pt x="86" y="88"/>
                    <a:pt x="86" y="88"/>
                    <a:pt x="86" y="88"/>
                  </a:cubicBezTo>
                  <a:cubicBezTo>
                    <a:pt x="86" y="43"/>
                    <a:pt x="86" y="43"/>
                    <a:pt x="86" y="43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2" y="69"/>
                    <a:pt x="82" y="69"/>
                    <a:pt x="82" y="69"/>
                  </a:cubicBezTo>
                  <a:cubicBezTo>
                    <a:pt x="79" y="70"/>
                    <a:pt x="79" y="70"/>
                    <a:pt x="79" y="70"/>
                  </a:cubicBezTo>
                  <a:cubicBezTo>
                    <a:pt x="79" y="88"/>
                    <a:pt x="79" y="88"/>
                    <a:pt x="79" y="88"/>
                  </a:cubicBezTo>
                  <a:close/>
                  <a:moveTo>
                    <a:pt x="108" y="0"/>
                  </a:moveTo>
                  <a:cubicBezTo>
                    <a:pt x="100" y="16"/>
                    <a:pt x="100" y="16"/>
                    <a:pt x="100" y="16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19" y="62"/>
                    <a:pt x="19" y="62"/>
                    <a:pt x="19" y="62"/>
                  </a:cubicBezTo>
                  <a:cubicBezTo>
                    <a:pt x="3" y="67"/>
                    <a:pt x="3" y="67"/>
                    <a:pt x="3" y="67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65" y="50"/>
                    <a:pt x="65" y="50"/>
                    <a:pt x="65" y="50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08" y="0"/>
                    <a:pt x="108" y="0"/>
                    <a:pt x="108" y="0"/>
                  </a:cubicBezTo>
                  <a:close/>
                  <a:moveTo>
                    <a:pt x="22" y="88"/>
                  </a:moveTo>
                  <a:cubicBezTo>
                    <a:pt x="24" y="88"/>
                    <a:pt x="26" y="88"/>
                    <a:pt x="28" y="88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22" y="88"/>
                    <a:pt x="22" y="88"/>
                    <a:pt x="22" y="88"/>
                  </a:cubicBezTo>
                  <a:close/>
                  <a:moveTo>
                    <a:pt x="10" y="88"/>
                  </a:moveTo>
                  <a:cubicBezTo>
                    <a:pt x="17" y="88"/>
                    <a:pt x="17" y="88"/>
                    <a:pt x="17" y="88"/>
                  </a:cubicBezTo>
                  <a:cubicBezTo>
                    <a:pt x="17" y="71"/>
                    <a:pt x="17" y="71"/>
                    <a:pt x="17" y="71"/>
                  </a:cubicBezTo>
                  <a:cubicBezTo>
                    <a:pt x="17" y="70"/>
                    <a:pt x="17" y="70"/>
                    <a:pt x="17" y="7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88"/>
                    <a:pt x="10" y="88"/>
                    <a:pt x="10" y="88"/>
                  </a:cubicBezTo>
                  <a:close/>
                  <a:moveTo>
                    <a:pt x="33" y="88"/>
                  </a:moveTo>
                  <a:cubicBezTo>
                    <a:pt x="35" y="88"/>
                    <a:pt x="38" y="88"/>
                    <a:pt x="40" y="8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3" y="80"/>
                    <a:pt x="33" y="80"/>
                    <a:pt x="33" y="80"/>
                  </a:cubicBezTo>
                  <a:cubicBezTo>
                    <a:pt x="33" y="88"/>
                    <a:pt x="33" y="88"/>
                    <a:pt x="33" y="88"/>
                  </a:cubicBezTo>
                  <a:close/>
                  <a:moveTo>
                    <a:pt x="45" y="88"/>
                  </a:moveTo>
                  <a:cubicBezTo>
                    <a:pt x="47" y="88"/>
                    <a:pt x="49" y="88"/>
                    <a:pt x="51" y="88"/>
                  </a:cubicBezTo>
                  <a:cubicBezTo>
                    <a:pt x="51" y="62"/>
                    <a:pt x="51" y="62"/>
                    <a:pt x="51" y="62"/>
                  </a:cubicBezTo>
                  <a:cubicBezTo>
                    <a:pt x="49" y="60"/>
                    <a:pt x="49" y="60"/>
                    <a:pt x="49" y="60"/>
                  </a:cubicBezTo>
                  <a:cubicBezTo>
                    <a:pt x="45" y="68"/>
                    <a:pt x="45" y="68"/>
                    <a:pt x="45" y="68"/>
                  </a:cubicBezTo>
                  <a:cubicBezTo>
                    <a:pt x="45" y="88"/>
                    <a:pt x="45" y="88"/>
                    <a:pt x="45" y="88"/>
                  </a:cubicBezTo>
                  <a:close/>
                  <a:moveTo>
                    <a:pt x="56" y="88"/>
                  </a:moveTo>
                  <a:cubicBezTo>
                    <a:pt x="58" y="88"/>
                    <a:pt x="60" y="88"/>
                    <a:pt x="63" y="88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56" y="67"/>
                    <a:pt x="56" y="67"/>
                    <a:pt x="56" y="67"/>
                  </a:cubicBezTo>
                  <a:cubicBezTo>
                    <a:pt x="56" y="88"/>
                    <a:pt x="56" y="88"/>
                    <a:pt x="56" y="88"/>
                  </a:cubicBezTo>
                  <a:close/>
                  <a:moveTo>
                    <a:pt x="68" y="88"/>
                  </a:moveTo>
                  <a:cubicBezTo>
                    <a:pt x="70" y="88"/>
                    <a:pt x="72" y="88"/>
                    <a:pt x="74" y="88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68" y="75"/>
                    <a:pt x="68" y="75"/>
                    <a:pt x="68" y="75"/>
                  </a:cubicBezTo>
                  <a:lnTo>
                    <a:pt x="68" y="8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13" name="Freeform 44"/>
            <p:cNvSpPr>
              <a:spLocks noChangeAspect="1" noEditPoints="1"/>
            </p:cNvSpPr>
            <p:nvPr/>
          </p:nvSpPr>
          <p:spPr bwMode="auto">
            <a:xfrm flipH="1">
              <a:off x="2954757" y="2648909"/>
              <a:ext cx="536987" cy="678880"/>
            </a:xfrm>
            <a:custGeom>
              <a:avLst/>
              <a:gdLst>
                <a:gd name="T0" fmla="*/ 41 w 95"/>
                <a:gd name="T1" fmla="*/ 0 h 120"/>
                <a:gd name="T2" fmla="*/ 29 w 95"/>
                <a:gd name="T3" fmla="*/ 7 h 120"/>
                <a:gd name="T4" fmla="*/ 29 w 95"/>
                <a:gd name="T5" fmla="*/ 7 h 120"/>
                <a:gd name="T6" fmla="*/ 14 w 95"/>
                <a:gd name="T7" fmla="*/ 1 h 120"/>
                <a:gd name="T8" fmla="*/ 3 w 95"/>
                <a:gd name="T9" fmla="*/ 8 h 120"/>
                <a:gd name="T10" fmla="*/ 0 w 95"/>
                <a:gd name="T11" fmla="*/ 21 h 120"/>
                <a:gd name="T12" fmla="*/ 3 w 95"/>
                <a:gd name="T13" fmla="*/ 34 h 120"/>
                <a:gd name="T14" fmla="*/ 14 w 95"/>
                <a:gd name="T15" fmla="*/ 40 h 120"/>
                <a:gd name="T16" fmla="*/ 31 w 95"/>
                <a:gd name="T17" fmla="*/ 37 h 120"/>
                <a:gd name="T18" fmla="*/ 41 w 95"/>
                <a:gd name="T19" fmla="*/ 41 h 120"/>
                <a:gd name="T20" fmla="*/ 43 w 95"/>
                <a:gd name="T21" fmla="*/ 41 h 120"/>
                <a:gd name="T22" fmla="*/ 57 w 95"/>
                <a:gd name="T23" fmla="*/ 56 h 120"/>
                <a:gd name="T24" fmla="*/ 68 w 95"/>
                <a:gd name="T25" fmla="*/ 58 h 120"/>
                <a:gd name="T26" fmla="*/ 66 w 95"/>
                <a:gd name="T27" fmla="*/ 78 h 120"/>
                <a:gd name="T28" fmla="*/ 65 w 95"/>
                <a:gd name="T29" fmla="*/ 120 h 120"/>
                <a:gd name="T30" fmla="*/ 75 w 95"/>
                <a:gd name="T31" fmla="*/ 120 h 120"/>
                <a:gd name="T32" fmla="*/ 77 w 95"/>
                <a:gd name="T33" fmla="*/ 84 h 120"/>
                <a:gd name="T34" fmla="*/ 82 w 95"/>
                <a:gd name="T35" fmla="*/ 84 h 120"/>
                <a:gd name="T36" fmla="*/ 84 w 95"/>
                <a:gd name="T37" fmla="*/ 120 h 120"/>
                <a:gd name="T38" fmla="*/ 95 w 95"/>
                <a:gd name="T39" fmla="*/ 120 h 120"/>
                <a:gd name="T40" fmla="*/ 92 w 95"/>
                <a:gd name="T41" fmla="*/ 78 h 120"/>
                <a:gd name="T42" fmla="*/ 94 w 95"/>
                <a:gd name="T43" fmla="*/ 41 h 120"/>
                <a:gd name="T44" fmla="*/ 74 w 95"/>
                <a:gd name="T45" fmla="*/ 41 h 120"/>
                <a:gd name="T46" fmla="*/ 70 w 95"/>
                <a:gd name="T47" fmla="*/ 35 h 120"/>
                <a:gd name="T48" fmla="*/ 71 w 95"/>
                <a:gd name="T49" fmla="*/ 35 h 120"/>
                <a:gd name="T50" fmla="*/ 79 w 95"/>
                <a:gd name="T51" fmla="*/ 38 h 120"/>
                <a:gd name="T52" fmla="*/ 91 w 95"/>
                <a:gd name="T53" fmla="*/ 26 h 120"/>
                <a:gd name="T54" fmla="*/ 79 w 95"/>
                <a:gd name="T55" fmla="*/ 14 h 120"/>
                <a:gd name="T56" fmla="*/ 71 w 95"/>
                <a:gd name="T57" fmla="*/ 18 h 120"/>
                <a:gd name="T58" fmla="*/ 48 w 95"/>
                <a:gd name="T59" fmla="*/ 2 h 120"/>
                <a:gd name="T60" fmla="*/ 41 w 95"/>
                <a:gd name="T61" fmla="*/ 0 h 120"/>
                <a:gd name="T62" fmla="*/ 65 w 95"/>
                <a:gd name="T63" fmla="*/ 43 h 120"/>
                <a:gd name="T64" fmla="*/ 58 w 95"/>
                <a:gd name="T65" fmla="*/ 46 h 120"/>
                <a:gd name="T66" fmla="*/ 51 w 95"/>
                <a:gd name="T67" fmla="*/ 39 h 120"/>
                <a:gd name="T68" fmla="*/ 62 w 95"/>
                <a:gd name="T69" fmla="*/ 37 h 120"/>
                <a:gd name="T70" fmla="*/ 65 w 95"/>
                <a:gd name="T71" fmla="*/ 43 h 120"/>
                <a:gd name="T72" fmla="*/ 10 w 95"/>
                <a:gd name="T73" fmla="*/ 12 h 120"/>
                <a:gd name="T74" fmla="*/ 14 w 95"/>
                <a:gd name="T75" fmla="*/ 9 h 120"/>
                <a:gd name="T76" fmla="*/ 18 w 95"/>
                <a:gd name="T77" fmla="*/ 12 h 120"/>
                <a:gd name="T78" fmla="*/ 21 w 95"/>
                <a:gd name="T79" fmla="*/ 21 h 120"/>
                <a:gd name="T80" fmla="*/ 18 w 95"/>
                <a:gd name="T81" fmla="*/ 30 h 120"/>
                <a:gd name="T82" fmla="*/ 14 w 95"/>
                <a:gd name="T83" fmla="*/ 32 h 120"/>
                <a:gd name="T84" fmla="*/ 10 w 95"/>
                <a:gd name="T85" fmla="*/ 30 h 120"/>
                <a:gd name="T86" fmla="*/ 7 w 95"/>
                <a:gd name="T87" fmla="*/ 21 h 120"/>
                <a:gd name="T88" fmla="*/ 10 w 95"/>
                <a:gd name="T89" fmla="*/ 12 h 120"/>
                <a:gd name="T90" fmla="*/ 35 w 95"/>
                <a:gd name="T91" fmla="*/ 11 h 120"/>
                <a:gd name="T92" fmla="*/ 41 w 95"/>
                <a:gd name="T93" fmla="*/ 8 h 120"/>
                <a:gd name="T94" fmla="*/ 47 w 95"/>
                <a:gd name="T95" fmla="*/ 11 h 120"/>
                <a:gd name="T96" fmla="*/ 50 w 95"/>
                <a:gd name="T97" fmla="*/ 21 h 120"/>
                <a:gd name="T98" fmla="*/ 47 w 95"/>
                <a:gd name="T99" fmla="*/ 30 h 120"/>
                <a:gd name="T100" fmla="*/ 41 w 95"/>
                <a:gd name="T101" fmla="*/ 34 h 120"/>
                <a:gd name="T102" fmla="*/ 35 w 95"/>
                <a:gd name="T103" fmla="*/ 30 h 120"/>
                <a:gd name="T104" fmla="*/ 33 w 95"/>
                <a:gd name="T105" fmla="*/ 21 h 120"/>
                <a:gd name="T106" fmla="*/ 35 w 95"/>
                <a:gd name="T107" fmla="*/ 11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5" h="120">
                  <a:moveTo>
                    <a:pt x="41" y="0"/>
                  </a:moveTo>
                  <a:cubicBezTo>
                    <a:pt x="37" y="0"/>
                    <a:pt x="32" y="2"/>
                    <a:pt x="29" y="7"/>
                  </a:cubicBezTo>
                  <a:cubicBezTo>
                    <a:pt x="29" y="7"/>
                    <a:pt x="29" y="7"/>
                    <a:pt x="29" y="7"/>
                  </a:cubicBezTo>
                  <a:cubicBezTo>
                    <a:pt x="25" y="6"/>
                    <a:pt x="18" y="1"/>
                    <a:pt x="14" y="1"/>
                  </a:cubicBezTo>
                  <a:cubicBezTo>
                    <a:pt x="10" y="1"/>
                    <a:pt x="6" y="4"/>
                    <a:pt x="3" y="8"/>
                  </a:cubicBezTo>
                  <a:cubicBezTo>
                    <a:pt x="1" y="11"/>
                    <a:pt x="0" y="16"/>
                    <a:pt x="0" y="21"/>
                  </a:cubicBezTo>
                  <a:cubicBezTo>
                    <a:pt x="0" y="26"/>
                    <a:pt x="1" y="30"/>
                    <a:pt x="3" y="34"/>
                  </a:cubicBezTo>
                  <a:cubicBezTo>
                    <a:pt x="6" y="38"/>
                    <a:pt x="10" y="40"/>
                    <a:pt x="14" y="40"/>
                  </a:cubicBezTo>
                  <a:cubicBezTo>
                    <a:pt x="18" y="40"/>
                    <a:pt x="27" y="38"/>
                    <a:pt x="31" y="37"/>
                  </a:cubicBezTo>
                  <a:cubicBezTo>
                    <a:pt x="34" y="40"/>
                    <a:pt x="38" y="41"/>
                    <a:pt x="41" y="41"/>
                  </a:cubicBezTo>
                  <a:cubicBezTo>
                    <a:pt x="42" y="41"/>
                    <a:pt x="43" y="41"/>
                    <a:pt x="43" y="41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5" y="120"/>
                    <a:pt x="65" y="120"/>
                    <a:pt x="65" y="120"/>
                  </a:cubicBezTo>
                  <a:cubicBezTo>
                    <a:pt x="75" y="120"/>
                    <a:pt x="75" y="120"/>
                    <a:pt x="75" y="120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82" y="84"/>
                    <a:pt x="82" y="84"/>
                    <a:pt x="82" y="84"/>
                  </a:cubicBezTo>
                  <a:cubicBezTo>
                    <a:pt x="84" y="120"/>
                    <a:pt x="84" y="120"/>
                    <a:pt x="84" y="120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4" y="41"/>
                    <a:pt x="94" y="41"/>
                    <a:pt x="9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3" y="37"/>
                    <a:pt x="76" y="38"/>
                    <a:pt x="79" y="38"/>
                  </a:cubicBezTo>
                  <a:cubicBezTo>
                    <a:pt x="86" y="38"/>
                    <a:pt x="91" y="33"/>
                    <a:pt x="91" y="26"/>
                  </a:cubicBezTo>
                  <a:cubicBezTo>
                    <a:pt x="91" y="19"/>
                    <a:pt x="86" y="14"/>
                    <a:pt x="79" y="14"/>
                  </a:cubicBezTo>
                  <a:cubicBezTo>
                    <a:pt x="76" y="14"/>
                    <a:pt x="73" y="15"/>
                    <a:pt x="71" y="18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46" y="1"/>
                    <a:pt x="44" y="0"/>
                    <a:pt x="41" y="0"/>
                  </a:cubicBezTo>
                  <a:close/>
                  <a:moveTo>
                    <a:pt x="65" y="43"/>
                  </a:moveTo>
                  <a:cubicBezTo>
                    <a:pt x="58" y="46"/>
                    <a:pt x="58" y="46"/>
                    <a:pt x="58" y="46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5" y="43"/>
                    <a:pt x="65" y="43"/>
                    <a:pt x="65" y="43"/>
                  </a:cubicBezTo>
                  <a:close/>
                  <a:moveTo>
                    <a:pt x="10" y="12"/>
                  </a:moveTo>
                  <a:cubicBezTo>
                    <a:pt x="11" y="10"/>
                    <a:pt x="12" y="9"/>
                    <a:pt x="14" y="9"/>
                  </a:cubicBezTo>
                  <a:cubicBezTo>
                    <a:pt x="16" y="9"/>
                    <a:pt x="17" y="10"/>
                    <a:pt x="18" y="12"/>
                  </a:cubicBezTo>
                  <a:cubicBezTo>
                    <a:pt x="20" y="14"/>
                    <a:pt x="21" y="17"/>
                    <a:pt x="21" y="21"/>
                  </a:cubicBezTo>
                  <a:cubicBezTo>
                    <a:pt x="21" y="24"/>
                    <a:pt x="20" y="27"/>
                    <a:pt x="18" y="30"/>
                  </a:cubicBezTo>
                  <a:cubicBezTo>
                    <a:pt x="17" y="31"/>
                    <a:pt x="16" y="32"/>
                    <a:pt x="14" y="32"/>
                  </a:cubicBezTo>
                  <a:cubicBezTo>
                    <a:pt x="12" y="32"/>
                    <a:pt x="11" y="31"/>
                    <a:pt x="10" y="30"/>
                  </a:cubicBezTo>
                  <a:cubicBezTo>
                    <a:pt x="8" y="27"/>
                    <a:pt x="7" y="24"/>
                    <a:pt x="7" y="21"/>
                  </a:cubicBezTo>
                  <a:cubicBezTo>
                    <a:pt x="7" y="17"/>
                    <a:pt x="8" y="14"/>
                    <a:pt x="10" y="12"/>
                  </a:cubicBezTo>
                  <a:close/>
                  <a:moveTo>
                    <a:pt x="35" y="11"/>
                  </a:moveTo>
                  <a:cubicBezTo>
                    <a:pt x="37" y="9"/>
                    <a:pt x="39" y="8"/>
                    <a:pt x="41" y="8"/>
                  </a:cubicBezTo>
                  <a:cubicBezTo>
                    <a:pt x="43" y="8"/>
                    <a:pt x="45" y="9"/>
                    <a:pt x="47" y="11"/>
                  </a:cubicBezTo>
                  <a:cubicBezTo>
                    <a:pt x="49" y="13"/>
                    <a:pt x="50" y="17"/>
                    <a:pt x="50" y="21"/>
                  </a:cubicBezTo>
                  <a:cubicBezTo>
                    <a:pt x="50" y="24"/>
                    <a:pt x="49" y="28"/>
                    <a:pt x="47" y="30"/>
                  </a:cubicBezTo>
                  <a:cubicBezTo>
                    <a:pt x="45" y="32"/>
                    <a:pt x="43" y="34"/>
                    <a:pt x="41" y="34"/>
                  </a:cubicBezTo>
                  <a:cubicBezTo>
                    <a:pt x="39" y="34"/>
                    <a:pt x="37" y="32"/>
                    <a:pt x="35" y="30"/>
                  </a:cubicBezTo>
                  <a:cubicBezTo>
                    <a:pt x="34" y="28"/>
                    <a:pt x="33" y="24"/>
                    <a:pt x="33" y="21"/>
                  </a:cubicBezTo>
                  <a:cubicBezTo>
                    <a:pt x="33" y="17"/>
                    <a:pt x="34" y="13"/>
                    <a:pt x="35" y="1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14" name="Freeform 76"/>
            <p:cNvSpPr>
              <a:spLocks noChangeAspect="1" noEditPoints="1"/>
            </p:cNvSpPr>
            <p:nvPr/>
          </p:nvSpPr>
          <p:spPr bwMode="auto">
            <a:xfrm>
              <a:off x="8788554" y="2716797"/>
              <a:ext cx="828539" cy="543104"/>
            </a:xfrm>
            <a:custGeom>
              <a:avLst/>
              <a:gdLst>
                <a:gd name="T0" fmla="*/ 94 w 103"/>
                <a:gd name="T1" fmla="*/ 15 h 67"/>
                <a:gd name="T2" fmla="*/ 103 w 103"/>
                <a:gd name="T3" fmla="*/ 58 h 67"/>
                <a:gd name="T4" fmla="*/ 36 w 103"/>
                <a:gd name="T5" fmla="*/ 67 h 67"/>
                <a:gd name="T6" fmla="*/ 27 w 103"/>
                <a:gd name="T7" fmla="*/ 24 h 67"/>
                <a:gd name="T8" fmla="*/ 10 w 103"/>
                <a:gd name="T9" fmla="*/ 47 h 67"/>
                <a:gd name="T10" fmla="*/ 9 w 103"/>
                <a:gd name="T11" fmla="*/ 46 h 67"/>
                <a:gd name="T12" fmla="*/ 7 w 103"/>
                <a:gd name="T13" fmla="*/ 30 h 67"/>
                <a:gd name="T14" fmla="*/ 21 w 103"/>
                <a:gd name="T15" fmla="*/ 17 h 67"/>
                <a:gd name="T16" fmla="*/ 7 w 103"/>
                <a:gd name="T17" fmla="*/ 12 h 67"/>
                <a:gd name="T18" fmla="*/ 9 w 103"/>
                <a:gd name="T19" fmla="*/ 9 h 67"/>
                <a:gd name="T20" fmla="*/ 64 w 103"/>
                <a:gd name="T21" fmla="*/ 8 h 67"/>
                <a:gd name="T22" fmla="*/ 67 w 103"/>
                <a:gd name="T23" fmla="*/ 9 h 67"/>
                <a:gd name="T24" fmla="*/ 75 w 103"/>
                <a:gd name="T25" fmla="*/ 11 h 67"/>
                <a:gd name="T26" fmla="*/ 72 w 103"/>
                <a:gd name="T27" fmla="*/ 4 h 67"/>
                <a:gd name="T28" fmla="*/ 12 w 103"/>
                <a:gd name="T29" fmla="*/ 0 h 67"/>
                <a:gd name="T30" fmla="*/ 3 w 103"/>
                <a:gd name="T31" fmla="*/ 4 h 67"/>
                <a:gd name="T32" fmla="*/ 0 w 103"/>
                <a:gd name="T33" fmla="*/ 43 h 67"/>
                <a:gd name="T34" fmla="*/ 3 w 103"/>
                <a:gd name="T35" fmla="*/ 51 h 67"/>
                <a:gd name="T36" fmla="*/ 11 w 103"/>
                <a:gd name="T37" fmla="*/ 55 h 67"/>
                <a:gd name="T38" fmla="*/ 22 w 103"/>
                <a:gd name="T39" fmla="*/ 47 h 67"/>
                <a:gd name="T40" fmla="*/ 75 w 103"/>
                <a:gd name="T41" fmla="*/ 22 h 67"/>
                <a:gd name="T42" fmla="*/ 96 w 103"/>
                <a:gd name="T43" fmla="*/ 34 h 67"/>
                <a:gd name="T44" fmla="*/ 75 w 103"/>
                <a:gd name="T45" fmla="*/ 22 h 67"/>
                <a:gd name="T46" fmla="*/ 35 w 103"/>
                <a:gd name="T47" fmla="*/ 57 h 67"/>
                <a:gd name="T48" fmla="*/ 47 w 103"/>
                <a:gd name="T49" fmla="*/ 50 h 67"/>
                <a:gd name="T50" fmla="*/ 52 w 103"/>
                <a:gd name="T51" fmla="*/ 50 h 67"/>
                <a:gd name="T52" fmla="*/ 64 w 103"/>
                <a:gd name="T53" fmla="*/ 57 h 67"/>
                <a:gd name="T54" fmla="*/ 52 w 103"/>
                <a:gd name="T55" fmla="*/ 50 h 67"/>
                <a:gd name="T56" fmla="*/ 68 w 103"/>
                <a:gd name="T57" fmla="*/ 57 h 67"/>
                <a:gd name="T58" fmla="*/ 80 w 103"/>
                <a:gd name="T59" fmla="*/ 50 h 67"/>
                <a:gd name="T60" fmla="*/ 84 w 103"/>
                <a:gd name="T61" fmla="*/ 50 h 67"/>
                <a:gd name="T62" fmla="*/ 96 w 103"/>
                <a:gd name="T63" fmla="*/ 57 h 67"/>
                <a:gd name="T64" fmla="*/ 84 w 103"/>
                <a:gd name="T65" fmla="*/ 5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3" h="67">
                  <a:moveTo>
                    <a:pt x="36" y="15"/>
                  </a:moveTo>
                  <a:cubicBezTo>
                    <a:pt x="94" y="15"/>
                    <a:pt x="94" y="15"/>
                    <a:pt x="94" y="15"/>
                  </a:cubicBezTo>
                  <a:cubicBezTo>
                    <a:pt x="99" y="15"/>
                    <a:pt x="103" y="19"/>
                    <a:pt x="103" y="24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63"/>
                    <a:pt x="99" y="67"/>
                    <a:pt x="94" y="67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1" y="67"/>
                    <a:pt x="27" y="63"/>
                    <a:pt x="27" y="58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19"/>
                    <a:pt x="31" y="15"/>
                    <a:pt x="36" y="15"/>
                  </a:cubicBezTo>
                  <a:close/>
                  <a:moveTo>
                    <a:pt x="10" y="47"/>
                  </a:moveTo>
                  <a:cubicBezTo>
                    <a:pt x="10" y="47"/>
                    <a:pt x="9" y="46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8" y="45"/>
                    <a:pt x="7" y="44"/>
                    <a:pt x="7" y="43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1"/>
                    <a:pt x="8" y="10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1" y="8"/>
                    <a:pt x="12" y="8"/>
                  </a:cubicBezTo>
                  <a:cubicBezTo>
                    <a:pt x="64" y="8"/>
                    <a:pt x="64" y="8"/>
                    <a:pt x="64" y="8"/>
                  </a:cubicBezTo>
                  <a:cubicBezTo>
                    <a:pt x="65" y="8"/>
                    <a:pt x="66" y="9"/>
                    <a:pt x="67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7" y="10"/>
                    <a:pt x="67" y="10"/>
                    <a:pt x="68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5" y="8"/>
                    <a:pt x="74" y="6"/>
                    <a:pt x="72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0" y="2"/>
                    <a:pt x="67" y="0"/>
                    <a:pt x="6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9" y="0"/>
                    <a:pt x="6" y="2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1" y="6"/>
                    <a:pt x="0" y="9"/>
                    <a:pt x="0" y="1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6"/>
                    <a:pt x="1" y="49"/>
                    <a:pt x="3" y="51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5" y="53"/>
                    <a:pt x="8" y="55"/>
                    <a:pt x="11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22" y="55"/>
                    <a:pt x="22" y="55"/>
                    <a:pt x="22" y="55"/>
                  </a:cubicBezTo>
                  <a:cubicBezTo>
                    <a:pt x="22" y="47"/>
                    <a:pt x="22" y="47"/>
                    <a:pt x="22" y="47"/>
                  </a:cubicBezTo>
                  <a:cubicBezTo>
                    <a:pt x="10" y="47"/>
                    <a:pt x="10" y="47"/>
                    <a:pt x="10" y="47"/>
                  </a:cubicBezTo>
                  <a:close/>
                  <a:moveTo>
                    <a:pt x="75" y="22"/>
                  </a:moveTo>
                  <a:cubicBezTo>
                    <a:pt x="75" y="34"/>
                    <a:pt x="75" y="34"/>
                    <a:pt x="75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22"/>
                    <a:pt x="96" y="22"/>
                    <a:pt x="96" y="22"/>
                  </a:cubicBezTo>
                  <a:cubicBezTo>
                    <a:pt x="75" y="22"/>
                    <a:pt x="75" y="22"/>
                    <a:pt x="75" y="22"/>
                  </a:cubicBezTo>
                  <a:close/>
                  <a:moveTo>
                    <a:pt x="35" y="50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47" y="57"/>
                    <a:pt x="47" y="57"/>
                    <a:pt x="47" y="57"/>
                  </a:cubicBezTo>
                  <a:cubicBezTo>
                    <a:pt x="47" y="50"/>
                    <a:pt x="47" y="50"/>
                    <a:pt x="47" y="50"/>
                  </a:cubicBezTo>
                  <a:cubicBezTo>
                    <a:pt x="35" y="50"/>
                    <a:pt x="35" y="50"/>
                    <a:pt x="35" y="50"/>
                  </a:cubicBezTo>
                  <a:close/>
                  <a:moveTo>
                    <a:pt x="52" y="50"/>
                  </a:moveTo>
                  <a:cubicBezTo>
                    <a:pt x="52" y="57"/>
                    <a:pt x="52" y="57"/>
                    <a:pt x="52" y="57"/>
                  </a:cubicBezTo>
                  <a:cubicBezTo>
                    <a:pt x="64" y="57"/>
                    <a:pt x="64" y="57"/>
                    <a:pt x="64" y="57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52" y="50"/>
                    <a:pt x="52" y="50"/>
                    <a:pt x="52" y="50"/>
                  </a:cubicBezTo>
                  <a:close/>
                  <a:moveTo>
                    <a:pt x="68" y="50"/>
                  </a:moveTo>
                  <a:cubicBezTo>
                    <a:pt x="68" y="57"/>
                    <a:pt x="68" y="57"/>
                    <a:pt x="68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68" y="50"/>
                    <a:pt x="68" y="50"/>
                    <a:pt x="68" y="50"/>
                  </a:cubicBezTo>
                  <a:close/>
                  <a:moveTo>
                    <a:pt x="84" y="50"/>
                  </a:moveTo>
                  <a:cubicBezTo>
                    <a:pt x="84" y="57"/>
                    <a:pt x="84" y="57"/>
                    <a:pt x="84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6" y="50"/>
                    <a:pt x="96" y="50"/>
                    <a:pt x="96" y="50"/>
                  </a:cubicBezTo>
                  <a:lnTo>
                    <a:pt x="84" y="5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2400"/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2080622" y="3502595"/>
              <a:ext cx="194937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添加文本</a:t>
              </a:r>
            </a:p>
          </p:txBody>
        </p:sp>
        <p:sp>
          <p:nvSpPr>
            <p:cNvPr id="16" name="文本框 15"/>
            <p:cNvSpPr txBox="1"/>
            <p:nvPr/>
          </p:nvSpPr>
          <p:spPr>
            <a:xfrm>
              <a:off x="2163144" y="4163645"/>
              <a:ext cx="1949379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itchFamily="34" charset="0"/>
                <a:buChar char="•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添加文本</a:t>
              </a:r>
              <a:endPara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添加文本</a:t>
              </a:r>
            </a:p>
          </p:txBody>
        </p:sp>
        <p:sp>
          <p:nvSpPr>
            <p:cNvPr id="17" name="文本框 16"/>
            <p:cNvSpPr txBox="1"/>
            <p:nvPr/>
          </p:nvSpPr>
          <p:spPr>
            <a:xfrm>
              <a:off x="5215646" y="3502595"/>
              <a:ext cx="194937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添加文本</a:t>
              </a:r>
            </a:p>
          </p:txBody>
        </p:sp>
        <p:sp>
          <p:nvSpPr>
            <p:cNvPr id="18" name="文本框 17"/>
            <p:cNvSpPr txBox="1"/>
            <p:nvPr/>
          </p:nvSpPr>
          <p:spPr>
            <a:xfrm>
              <a:off x="5298168" y="4163645"/>
              <a:ext cx="1949379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itchFamily="34" charset="0"/>
                <a:buChar char="•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添加文本</a:t>
              </a:r>
              <a:endPara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添加文本</a:t>
              </a:r>
            </a:p>
          </p:txBody>
        </p:sp>
        <p:sp>
          <p:nvSpPr>
            <p:cNvPr id="19" name="文本框 18"/>
            <p:cNvSpPr txBox="1"/>
            <p:nvPr/>
          </p:nvSpPr>
          <p:spPr>
            <a:xfrm>
              <a:off x="8350669" y="3502595"/>
              <a:ext cx="194937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添加文本</a:t>
              </a:r>
            </a:p>
          </p:txBody>
        </p:sp>
        <p:sp>
          <p:nvSpPr>
            <p:cNvPr id="20" name="文本框 19"/>
            <p:cNvSpPr txBox="1"/>
            <p:nvPr/>
          </p:nvSpPr>
          <p:spPr>
            <a:xfrm>
              <a:off x="8433191" y="4163645"/>
              <a:ext cx="1949379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itchFamily="34" charset="0"/>
                <a:buChar char="•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添加文本</a:t>
              </a:r>
              <a:endParaRPr lang="en-US" altLang="zh-CN" sz="2000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endParaRPr>
            </a:p>
            <a:p>
              <a:pPr marL="285750" indent="-285750">
                <a:buFont typeface="Arial" pitchFamily="34" charset="0"/>
                <a:buChar char="•"/>
              </a:pPr>
              <a:r>
                <a:rPr lang="zh-CN" altLang="en-US" sz="2000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添加文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5736764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3" name="组合 2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5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4" name="文本框 3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sp>
        <p:nvSpPr>
          <p:cNvPr id="22" name="椭圆 21"/>
          <p:cNvSpPr/>
          <p:nvPr/>
        </p:nvSpPr>
        <p:spPr>
          <a:xfrm>
            <a:off x="1055440" y="1539854"/>
            <a:ext cx="4913482" cy="4913482"/>
          </a:xfrm>
          <a:prstGeom prst="ellipse">
            <a:avLst/>
          </a:prstGeom>
          <a:solidFill>
            <a:srgbClr val="C00000">
              <a:alpha val="78000"/>
            </a:srgbClr>
          </a:solidFill>
          <a:ln w="19050">
            <a:noFill/>
            <a:round/>
            <a:headEnd/>
            <a:tailEnd/>
          </a:ln>
          <a:sp3d extrusionH="127000"/>
        </p:spPr>
        <p:txBody>
          <a:bodyPr/>
          <a:lstStyle/>
          <a:p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3" name="椭圆 22"/>
          <p:cNvSpPr/>
          <p:nvPr/>
        </p:nvSpPr>
        <p:spPr>
          <a:xfrm>
            <a:off x="1704502" y="2711424"/>
            <a:ext cx="3597896" cy="3597896"/>
          </a:xfrm>
          <a:prstGeom prst="ellipse">
            <a:avLst/>
          </a:prstGeom>
          <a:solidFill>
            <a:srgbClr val="33333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24" name="椭圆 23"/>
          <p:cNvSpPr/>
          <p:nvPr/>
        </p:nvSpPr>
        <p:spPr>
          <a:xfrm>
            <a:off x="2152498" y="2951811"/>
            <a:ext cx="1962490" cy="196249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2256553" y="3245531"/>
            <a:ext cx="12241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dirty="0" smtClean="0">
                <a:solidFill>
                  <a:srgbClr val="333333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3</a:t>
            </a:r>
            <a:endParaRPr lang="zh-CN" altLang="en-US" sz="4800" dirty="0" smtClean="0">
              <a:solidFill>
                <a:srgbClr val="333333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2268728" y="3916805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solidFill>
                  <a:srgbClr val="333333"/>
                </a:solidFill>
                <a:latin typeface="微软雅黑" pitchFamily="34" charset="-122"/>
                <a:ea typeface="微软雅黑" pitchFamily="34" charset="-122"/>
              </a:rPr>
              <a:t>TITLE</a:t>
            </a:r>
            <a:endParaRPr lang="zh-CN" altLang="en-US" dirty="0">
              <a:solidFill>
                <a:srgbClr val="333333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2900113" y="5031152"/>
            <a:ext cx="12241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</a:t>
            </a:r>
            <a:endParaRPr lang="zh-CN" altLang="en-US" sz="48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2922874" y="5702426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TITLE</a:t>
            </a:r>
            <a:endParaRPr lang="zh-CN" altLang="en-US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2630491" y="1628800"/>
            <a:ext cx="12241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zh-CN" altLang="en-US" sz="48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文本框 29"/>
          <p:cNvSpPr txBox="1"/>
          <p:nvPr/>
        </p:nvSpPr>
        <p:spPr>
          <a:xfrm>
            <a:off x="2628768" y="2300074"/>
            <a:ext cx="12241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TITLE</a:t>
            </a:r>
            <a:endParaRPr lang="zh-CN" altLang="en-US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1" name="Freeform 35"/>
          <p:cNvSpPr>
            <a:spLocks noEditPoints="1"/>
          </p:cNvSpPr>
          <p:nvPr/>
        </p:nvSpPr>
        <p:spPr bwMode="auto">
          <a:xfrm>
            <a:off x="4005077" y="5214304"/>
            <a:ext cx="440588" cy="440587"/>
          </a:xfrm>
          <a:custGeom>
            <a:avLst/>
            <a:gdLst>
              <a:gd name="T0" fmla="*/ 49 w 97"/>
              <a:gd name="T1" fmla="*/ 0 h 97"/>
              <a:gd name="T2" fmla="*/ 83 w 97"/>
              <a:gd name="T3" fmla="*/ 14 h 97"/>
              <a:gd name="T4" fmla="*/ 97 w 97"/>
              <a:gd name="T5" fmla="*/ 49 h 97"/>
              <a:gd name="T6" fmla="*/ 83 w 97"/>
              <a:gd name="T7" fmla="*/ 83 h 97"/>
              <a:gd name="T8" fmla="*/ 49 w 97"/>
              <a:gd name="T9" fmla="*/ 97 h 97"/>
              <a:gd name="T10" fmla="*/ 14 w 97"/>
              <a:gd name="T11" fmla="*/ 83 h 97"/>
              <a:gd name="T12" fmla="*/ 0 w 97"/>
              <a:gd name="T13" fmla="*/ 49 h 97"/>
              <a:gd name="T14" fmla="*/ 14 w 97"/>
              <a:gd name="T15" fmla="*/ 14 h 97"/>
              <a:gd name="T16" fmla="*/ 49 w 97"/>
              <a:gd name="T17" fmla="*/ 0 h 97"/>
              <a:gd name="T18" fmla="*/ 55 w 97"/>
              <a:gd name="T19" fmla="*/ 47 h 97"/>
              <a:gd name="T20" fmla="*/ 54 w 97"/>
              <a:gd name="T21" fmla="*/ 45 h 97"/>
              <a:gd name="T22" fmla="*/ 68 w 97"/>
              <a:gd name="T23" fmla="*/ 24 h 97"/>
              <a:gd name="T24" fmla="*/ 65 w 97"/>
              <a:gd name="T25" fmla="*/ 21 h 97"/>
              <a:gd name="T26" fmla="*/ 50 w 97"/>
              <a:gd name="T27" fmla="*/ 43 h 97"/>
              <a:gd name="T28" fmla="*/ 45 w 97"/>
              <a:gd name="T29" fmla="*/ 43 h 97"/>
              <a:gd name="T30" fmla="*/ 42 w 97"/>
              <a:gd name="T31" fmla="*/ 52 h 97"/>
              <a:gd name="T32" fmla="*/ 51 w 97"/>
              <a:gd name="T33" fmla="*/ 56 h 97"/>
              <a:gd name="T34" fmla="*/ 52 w 97"/>
              <a:gd name="T35" fmla="*/ 55 h 97"/>
              <a:gd name="T36" fmla="*/ 69 w 97"/>
              <a:gd name="T37" fmla="*/ 61 h 97"/>
              <a:gd name="T38" fmla="*/ 71 w 97"/>
              <a:gd name="T39" fmla="*/ 56 h 97"/>
              <a:gd name="T40" fmla="*/ 55 w 97"/>
              <a:gd name="T41" fmla="*/ 50 h 97"/>
              <a:gd name="T42" fmla="*/ 55 w 97"/>
              <a:gd name="T43" fmla="*/ 47 h 97"/>
              <a:gd name="T44" fmla="*/ 74 w 97"/>
              <a:gd name="T45" fmla="*/ 24 h 97"/>
              <a:gd name="T46" fmla="*/ 49 w 97"/>
              <a:gd name="T47" fmla="*/ 13 h 97"/>
              <a:gd name="T48" fmla="*/ 23 w 97"/>
              <a:gd name="T49" fmla="*/ 24 h 97"/>
              <a:gd name="T50" fmla="*/ 13 w 97"/>
              <a:gd name="T51" fmla="*/ 49 h 97"/>
              <a:gd name="T52" fmla="*/ 23 w 97"/>
              <a:gd name="T53" fmla="*/ 74 h 97"/>
              <a:gd name="T54" fmla="*/ 49 w 97"/>
              <a:gd name="T55" fmla="*/ 84 h 97"/>
              <a:gd name="T56" fmla="*/ 74 w 97"/>
              <a:gd name="T57" fmla="*/ 74 h 97"/>
              <a:gd name="T58" fmla="*/ 84 w 97"/>
              <a:gd name="T59" fmla="*/ 49 h 97"/>
              <a:gd name="T60" fmla="*/ 74 w 97"/>
              <a:gd name="T61" fmla="*/ 24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97" h="97">
                <a:moveTo>
                  <a:pt x="49" y="0"/>
                </a:moveTo>
                <a:cubicBezTo>
                  <a:pt x="62" y="0"/>
                  <a:pt x="74" y="5"/>
                  <a:pt x="83" y="14"/>
                </a:cubicBezTo>
                <a:cubicBezTo>
                  <a:pt x="92" y="23"/>
                  <a:pt x="97" y="35"/>
                  <a:pt x="97" y="49"/>
                </a:cubicBezTo>
                <a:cubicBezTo>
                  <a:pt x="97" y="62"/>
                  <a:pt x="92" y="74"/>
                  <a:pt x="83" y="83"/>
                </a:cubicBezTo>
                <a:cubicBezTo>
                  <a:pt x="74" y="92"/>
                  <a:pt x="62" y="97"/>
                  <a:pt x="49" y="97"/>
                </a:cubicBezTo>
                <a:cubicBezTo>
                  <a:pt x="35" y="97"/>
                  <a:pt x="23" y="92"/>
                  <a:pt x="14" y="83"/>
                </a:cubicBezTo>
                <a:cubicBezTo>
                  <a:pt x="5" y="74"/>
                  <a:pt x="0" y="62"/>
                  <a:pt x="0" y="49"/>
                </a:cubicBezTo>
                <a:cubicBezTo>
                  <a:pt x="0" y="35"/>
                  <a:pt x="5" y="23"/>
                  <a:pt x="14" y="14"/>
                </a:cubicBezTo>
                <a:cubicBezTo>
                  <a:pt x="23" y="5"/>
                  <a:pt x="35" y="0"/>
                  <a:pt x="49" y="0"/>
                </a:cubicBezTo>
                <a:close/>
                <a:moveTo>
                  <a:pt x="55" y="47"/>
                </a:moveTo>
                <a:cubicBezTo>
                  <a:pt x="54" y="46"/>
                  <a:pt x="54" y="45"/>
                  <a:pt x="54" y="45"/>
                </a:cubicBezTo>
                <a:cubicBezTo>
                  <a:pt x="59" y="38"/>
                  <a:pt x="64" y="31"/>
                  <a:pt x="68" y="24"/>
                </a:cubicBezTo>
                <a:cubicBezTo>
                  <a:pt x="67" y="23"/>
                  <a:pt x="66" y="22"/>
                  <a:pt x="65" y="21"/>
                </a:cubicBezTo>
                <a:cubicBezTo>
                  <a:pt x="59" y="28"/>
                  <a:pt x="54" y="35"/>
                  <a:pt x="50" y="43"/>
                </a:cubicBezTo>
                <a:cubicBezTo>
                  <a:pt x="48" y="42"/>
                  <a:pt x="47" y="43"/>
                  <a:pt x="45" y="43"/>
                </a:cubicBezTo>
                <a:cubicBezTo>
                  <a:pt x="42" y="45"/>
                  <a:pt x="40" y="49"/>
                  <a:pt x="42" y="52"/>
                </a:cubicBezTo>
                <a:cubicBezTo>
                  <a:pt x="43" y="56"/>
                  <a:pt x="47" y="58"/>
                  <a:pt x="51" y="56"/>
                </a:cubicBezTo>
                <a:cubicBezTo>
                  <a:pt x="51" y="56"/>
                  <a:pt x="52" y="56"/>
                  <a:pt x="52" y="55"/>
                </a:cubicBezTo>
                <a:cubicBezTo>
                  <a:pt x="58" y="58"/>
                  <a:pt x="63" y="60"/>
                  <a:pt x="69" y="61"/>
                </a:cubicBezTo>
                <a:cubicBezTo>
                  <a:pt x="70" y="59"/>
                  <a:pt x="71" y="58"/>
                  <a:pt x="71" y="56"/>
                </a:cubicBezTo>
                <a:cubicBezTo>
                  <a:pt x="66" y="54"/>
                  <a:pt x="61" y="51"/>
                  <a:pt x="55" y="50"/>
                </a:cubicBezTo>
                <a:cubicBezTo>
                  <a:pt x="55" y="49"/>
                  <a:pt x="55" y="48"/>
                  <a:pt x="55" y="47"/>
                </a:cubicBezTo>
                <a:close/>
                <a:moveTo>
                  <a:pt x="74" y="24"/>
                </a:moveTo>
                <a:cubicBezTo>
                  <a:pt x="67" y="17"/>
                  <a:pt x="58" y="13"/>
                  <a:pt x="49" y="13"/>
                </a:cubicBezTo>
                <a:cubicBezTo>
                  <a:pt x="39" y="13"/>
                  <a:pt x="30" y="17"/>
                  <a:pt x="23" y="24"/>
                </a:cubicBezTo>
                <a:cubicBezTo>
                  <a:pt x="17" y="30"/>
                  <a:pt x="13" y="39"/>
                  <a:pt x="13" y="49"/>
                </a:cubicBezTo>
                <a:cubicBezTo>
                  <a:pt x="13" y="58"/>
                  <a:pt x="17" y="67"/>
                  <a:pt x="23" y="74"/>
                </a:cubicBezTo>
                <a:cubicBezTo>
                  <a:pt x="30" y="80"/>
                  <a:pt x="39" y="84"/>
                  <a:pt x="49" y="84"/>
                </a:cubicBezTo>
                <a:cubicBezTo>
                  <a:pt x="58" y="84"/>
                  <a:pt x="67" y="80"/>
                  <a:pt x="74" y="74"/>
                </a:cubicBezTo>
                <a:cubicBezTo>
                  <a:pt x="80" y="67"/>
                  <a:pt x="84" y="58"/>
                  <a:pt x="84" y="49"/>
                </a:cubicBezTo>
                <a:cubicBezTo>
                  <a:pt x="84" y="39"/>
                  <a:pt x="80" y="30"/>
                  <a:pt x="74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2" name="Freeform 54"/>
          <p:cNvSpPr>
            <a:spLocks noEditPoints="1"/>
          </p:cNvSpPr>
          <p:nvPr/>
        </p:nvSpPr>
        <p:spPr bwMode="auto">
          <a:xfrm>
            <a:off x="3339249" y="3423449"/>
            <a:ext cx="391386" cy="436114"/>
          </a:xfrm>
          <a:custGeom>
            <a:avLst/>
            <a:gdLst>
              <a:gd name="T0" fmla="*/ 0 w 86"/>
              <a:gd name="T1" fmla="*/ 41 h 96"/>
              <a:gd name="T2" fmla="*/ 13 w 86"/>
              <a:gd name="T3" fmla="*/ 62 h 96"/>
              <a:gd name="T4" fmla="*/ 27 w 86"/>
              <a:gd name="T5" fmla="*/ 51 h 96"/>
              <a:gd name="T6" fmla="*/ 27 w 86"/>
              <a:gd name="T7" fmla="*/ 51 h 96"/>
              <a:gd name="T8" fmla="*/ 27 w 86"/>
              <a:gd name="T9" fmla="*/ 51 h 96"/>
              <a:gd name="T10" fmla="*/ 27 w 86"/>
              <a:gd name="T11" fmla="*/ 51 h 96"/>
              <a:gd name="T12" fmla="*/ 27 w 86"/>
              <a:gd name="T13" fmla="*/ 51 h 96"/>
              <a:gd name="T14" fmla="*/ 27 w 86"/>
              <a:gd name="T15" fmla="*/ 51 h 96"/>
              <a:gd name="T16" fmla="*/ 27 w 86"/>
              <a:gd name="T17" fmla="*/ 51 h 96"/>
              <a:gd name="T18" fmla="*/ 27 w 86"/>
              <a:gd name="T19" fmla="*/ 51 h 96"/>
              <a:gd name="T20" fmla="*/ 27 w 86"/>
              <a:gd name="T21" fmla="*/ 51 h 96"/>
              <a:gd name="T22" fmla="*/ 27 w 86"/>
              <a:gd name="T23" fmla="*/ 50 h 96"/>
              <a:gd name="T24" fmla="*/ 27 w 86"/>
              <a:gd name="T25" fmla="*/ 50 h 96"/>
              <a:gd name="T26" fmla="*/ 27 w 86"/>
              <a:gd name="T27" fmla="*/ 50 h 96"/>
              <a:gd name="T28" fmla="*/ 28 w 86"/>
              <a:gd name="T29" fmla="*/ 50 h 96"/>
              <a:gd name="T30" fmla="*/ 28 w 86"/>
              <a:gd name="T31" fmla="*/ 50 h 96"/>
              <a:gd name="T32" fmla="*/ 28 w 86"/>
              <a:gd name="T33" fmla="*/ 50 h 96"/>
              <a:gd name="T34" fmla="*/ 28 w 86"/>
              <a:gd name="T35" fmla="*/ 50 h 96"/>
              <a:gd name="T36" fmla="*/ 28 w 86"/>
              <a:gd name="T37" fmla="*/ 50 h 96"/>
              <a:gd name="T38" fmla="*/ 28 w 86"/>
              <a:gd name="T39" fmla="*/ 50 h 96"/>
              <a:gd name="T40" fmla="*/ 28 w 86"/>
              <a:gd name="T41" fmla="*/ 50 h 96"/>
              <a:gd name="T42" fmla="*/ 28 w 86"/>
              <a:gd name="T43" fmla="*/ 50 h 96"/>
              <a:gd name="T44" fmla="*/ 28 w 86"/>
              <a:gd name="T45" fmla="*/ 50 h 96"/>
              <a:gd name="T46" fmla="*/ 28 w 86"/>
              <a:gd name="T47" fmla="*/ 50 h 96"/>
              <a:gd name="T48" fmla="*/ 29 w 86"/>
              <a:gd name="T49" fmla="*/ 50 h 96"/>
              <a:gd name="T50" fmla="*/ 36 w 86"/>
              <a:gd name="T51" fmla="*/ 32 h 96"/>
              <a:gd name="T52" fmla="*/ 75 w 86"/>
              <a:gd name="T53" fmla="*/ 50 h 96"/>
              <a:gd name="T54" fmla="*/ 82 w 86"/>
              <a:gd name="T55" fmla="*/ 30 h 96"/>
              <a:gd name="T56" fmla="*/ 53 w 86"/>
              <a:gd name="T57" fmla="*/ 13 h 96"/>
              <a:gd name="T58" fmla="*/ 35 w 86"/>
              <a:gd name="T59" fmla="*/ 3 h 96"/>
              <a:gd name="T60" fmla="*/ 2 w 86"/>
              <a:gd name="T61" fmla="*/ 0 h 96"/>
              <a:gd name="T62" fmla="*/ 9 w 86"/>
              <a:gd name="T63" fmla="*/ 30 h 96"/>
              <a:gd name="T64" fmla="*/ 23 w 86"/>
              <a:gd name="T65" fmla="*/ 36 h 96"/>
              <a:gd name="T66" fmla="*/ 72 w 86"/>
              <a:gd name="T67" fmla="*/ 45 h 96"/>
              <a:gd name="T68" fmla="*/ 41 w 86"/>
              <a:gd name="T69" fmla="*/ 36 h 96"/>
              <a:gd name="T70" fmla="*/ 41 w 86"/>
              <a:gd name="T71" fmla="*/ 39 h 96"/>
              <a:gd name="T72" fmla="*/ 50 w 86"/>
              <a:gd name="T73" fmla="*/ 26 h 96"/>
              <a:gd name="T74" fmla="*/ 31 w 86"/>
              <a:gd name="T75" fmla="*/ 26 h 96"/>
              <a:gd name="T76" fmla="*/ 50 w 86"/>
              <a:gd name="T77" fmla="*/ 23 h 96"/>
              <a:gd name="T78" fmla="*/ 30 w 86"/>
              <a:gd name="T79" fmla="*/ 18 h 96"/>
              <a:gd name="T80" fmla="*/ 30 w 86"/>
              <a:gd name="T81" fmla="*/ 20 h 96"/>
              <a:gd name="T82" fmla="*/ 6 w 86"/>
              <a:gd name="T83" fmla="*/ 96 h 96"/>
              <a:gd name="T84" fmla="*/ 28 w 86"/>
              <a:gd name="T85" fmla="*/ 55 h 96"/>
              <a:gd name="T86" fmla="*/ 86 w 86"/>
              <a:gd name="T87" fmla="*/ 57 h 96"/>
              <a:gd name="T88" fmla="*/ 74 w 86"/>
              <a:gd name="T89" fmla="*/ 96 h 96"/>
              <a:gd name="T90" fmla="*/ 27 w 86"/>
              <a:gd name="T91" fmla="*/ 29 h 96"/>
              <a:gd name="T92" fmla="*/ 54 w 86"/>
              <a:gd name="T93" fmla="*/ 29 h 96"/>
              <a:gd name="T94" fmla="*/ 33 w 86"/>
              <a:gd name="T95" fmla="*/ 31 h 96"/>
              <a:gd name="T96" fmla="*/ 12 w 86"/>
              <a:gd name="T97" fmla="*/ 29 h 96"/>
              <a:gd name="T98" fmla="*/ 30 w 86"/>
              <a:gd name="T99" fmla="*/ 3 h 96"/>
              <a:gd name="T100" fmla="*/ 23 w 86"/>
              <a:gd name="T101" fmla="*/ 1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86" h="96">
                <a:moveTo>
                  <a:pt x="23" y="36"/>
                </a:moveTo>
                <a:cubicBezTo>
                  <a:pt x="4" y="36"/>
                  <a:pt x="4" y="36"/>
                  <a:pt x="4" y="36"/>
                </a:cubicBezTo>
                <a:cubicBezTo>
                  <a:pt x="2" y="36"/>
                  <a:pt x="0" y="38"/>
                  <a:pt x="0" y="41"/>
                </a:cubicBezTo>
                <a:cubicBezTo>
                  <a:pt x="0" y="87"/>
                  <a:pt x="0" y="87"/>
                  <a:pt x="0" y="87"/>
                </a:cubicBezTo>
                <a:cubicBezTo>
                  <a:pt x="0" y="88"/>
                  <a:pt x="1" y="90"/>
                  <a:pt x="3" y="91"/>
                </a:cubicBezTo>
                <a:cubicBezTo>
                  <a:pt x="13" y="62"/>
                  <a:pt x="13" y="62"/>
                  <a:pt x="13" y="62"/>
                </a:cubicBezTo>
                <a:cubicBezTo>
                  <a:pt x="14" y="59"/>
                  <a:pt x="16" y="56"/>
                  <a:pt x="19" y="54"/>
                </a:cubicBezTo>
                <a:cubicBezTo>
                  <a:pt x="21" y="52"/>
                  <a:pt x="24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7" y="50"/>
                  <a:pt x="27" y="50"/>
                  <a:pt x="27" y="50"/>
                </a:cubicBezTo>
                <a:cubicBezTo>
                  <a:pt x="27" y="50"/>
                  <a:pt x="27" y="50"/>
                  <a:pt x="27" y="50"/>
                </a:cubicBezTo>
                <a:cubicBezTo>
                  <a:pt x="27" y="50"/>
                  <a:pt x="27" y="50"/>
                  <a:pt x="27" y="50"/>
                </a:cubicBezTo>
                <a:cubicBezTo>
                  <a:pt x="27" y="50"/>
                  <a:pt x="27" y="50"/>
                  <a:pt x="27" y="50"/>
                </a:cubicBezTo>
                <a:cubicBezTo>
                  <a:pt x="27" y="50"/>
                  <a:pt x="27" y="50"/>
                  <a:pt x="27" y="50"/>
                </a:cubicBezTo>
                <a:cubicBezTo>
                  <a:pt x="27" y="50"/>
                  <a:pt x="27" y="50"/>
                  <a:pt x="27" y="50"/>
                </a:cubicBezTo>
                <a:cubicBezTo>
                  <a:pt x="27" y="50"/>
                  <a:pt x="27" y="50"/>
                  <a:pt x="27" y="50"/>
                </a:cubicBezTo>
                <a:cubicBezTo>
                  <a:pt x="27" y="50"/>
                  <a:pt x="27" y="50"/>
                  <a:pt x="27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8" y="50"/>
                  <a:pt x="28" y="50"/>
                  <a:pt x="28" y="50"/>
                </a:cubicBezTo>
                <a:cubicBezTo>
                  <a:pt x="29" y="50"/>
                  <a:pt x="29" y="50"/>
                  <a:pt x="29" y="50"/>
                </a:cubicBezTo>
                <a:cubicBezTo>
                  <a:pt x="31" y="50"/>
                  <a:pt x="31" y="50"/>
                  <a:pt x="31" y="50"/>
                </a:cubicBezTo>
                <a:cubicBezTo>
                  <a:pt x="32" y="48"/>
                  <a:pt x="34" y="45"/>
                  <a:pt x="35" y="43"/>
                </a:cubicBezTo>
                <a:cubicBezTo>
                  <a:pt x="36" y="39"/>
                  <a:pt x="37" y="36"/>
                  <a:pt x="36" y="32"/>
                </a:cubicBezTo>
                <a:cubicBezTo>
                  <a:pt x="78" y="32"/>
                  <a:pt x="78" y="32"/>
                  <a:pt x="78" y="32"/>
                </a:cubicBezTo>
                <a:cubicBezTo>
                  <a:pt x="79" y="36"/>
                  <a:pt x="79" y="40"/>
                  <a:pt x="78" y="43"/>
                </a:cubicBezTo>
                <a:cubicBezTo>
                  <a:pt x="77" y="46"/>
                  <a:pt x="76" y="48"/>
                  <a:pt x="75" y="50"/>
                </a:cubicBezTo>
                <a:cubicBezTo>
                  <a:pt x="79" y="50"/>
                  <a:pt x="79" y="50"/>
                  <a:pt x="79" y="50"/>
                </a:cubicBezTo>
                <a:cubicBezTo>
                  <a:pt x="80" y="48"/>
                  <a:pt x="80" y="46"/>
                  <a:pt x="81" y="44"/>
                </a:cubicBezTo>
                <a:cubicBezTo>
                  <a:pt x="82" y="40"/>
                  <a:pt x="82" y="35"/>
                  <a:pt x="82" y="30"/>
                </a:cubicBezTo>
                <a:cubicBezTo>
                  <a:pt x="80" y="29"/>
                  <a:pt x="80" y="29"/>
                  <a:pt x="80" y="29"/>
                </a:cubicBezTo>
                <a:cubicBezTo>
                  <a:pt x="58" y="29"/>
                  <a:pt x="58" y="29"/>
                  <a:pt x="58" y="29"/>
                </a:cubicBezTo>
                <a:cubicBezTo>
                  <a:pt x="58" y="24"/>
                  <a:pt x="57" y="18"/>
                  <a:pt x="53" y="13"/>
                </a:cubicBezTo>
                <a:cubicBezTo>
                  <a:pt x="52" y="12"/>
                  <a:pt x="52" y="12"/>
                  <a:pt x="52" y="12"/>
                </a:cubicBezTo>
                <a:cubicBezTo>
                  <a:pt x="43" y="12"/>
                  <a:pt x="43" y="12"/>
                  <a:pt x="43" y="12"/>
                </a:cubicBezTo>
                <a:cubicBezTo>
                  <a:pt x="41" y="8"/>
                  <a:pt x="38" y="5"/>
                  <a:pt x="35" y="3"/>
                </a:cubicBezTo>
                <a:cubicBezTo>
                  <a:pt x="34" y="2"/>
                  <a:pt x="32" y="1"/>
                  <a:pt x="31" y="0"/>
                </a:cubicBezTo>
                <a:cubicBezTo>
                  <a:pt x="30" y="0"/>
                  <a:pt x="30" y="0"/>
                  <a:pt x="30" y="0"/>
                </a:cubicBezTo>
                <a:cubicBezTo>
                  <a:pt x="2" y="0"/>
                  <a:pt x="2" y="0"/>
                  <a:pt x="2" y="0"/>
                </a:cubicBezTo>
                <a:cubicBezTo>
                  <a:pt x="1" y="3"/>
                  <a:pt x="1" y="3"/>
                  <a:pt x="1" y="3"/>
                </a:cubicBezTo>
                <a:cubicBezTo>
                  <a:pt x="4" y="6"/>
                  <a:pt x="8" y="10"/>
                  <a:pt x="10" y="15"/>
                </a:cubicBezTo>
                <a:cubicBezTo>
                  <a:pt x="11" y="19"/>
                  <a:pt x="11" y="24"/>
                  <a:pt x="9" y="30"/>
                </a:cubicBezTo>
                <a:cubicBezTo>
                  <a:pt x="10" y="32"/>
                  <a:pt x="10" y="32"/>
                  <a:pt x="10" y="32"/>
                </a:cubicBezTo>
                <a:cubicBezTo>
                  <a:pt x="23" y="32"/>
                  <a:pt x="23" y="32"/>
                  <a:pt x="23" y="32"/>
                </a:cubicBezTo>
                <a:cubicBezTo>
                  <a:pt x="23" y="34"/>
                  <a:pt x="23" y="35"/>
                  <a:pt x="23" y="36"/>
                </a:cubicBezTo>
                <a:close/>
                <a:moveTo>
                  <a:pt x="40" y="42"/>
                </a:moveTo>
                <a:cubicBezTo>
                  <a:pt x="73" y="42"/>
                  <a:pt x="73" y="42"/>
                  <a:pt x="73" y="42"/>
                </a:cubicBezTo>
                <a:cubicBezTo>
                  <a:pt x="72" y="45"/>
                  <a:pt x="72" y="45"/>
                  <a:pt x="72" y="45"/>
                </a:cubicBezTo>
                <a:cubicBezTo>
                  <a:pt x="39" y="45"/>
                  <a:pt x="39" y="45"/>
                  <a:pt x="39" y="45"/>
                </a:cubicBezTo>
                <a:cubicBezTo>
                  <a:pt x="40" y="42"/>
                  <a:pt x="40" y="42"/>
                  <a:pt x="40" y="42"/>
                </a:cubicBezTo>
                <a:close/>
                <a:moveTo>
                  <a:pt x="41" y="36"/>
                </a:moveTo>
                <a:cubicBezTo>
                  <a:pt x="75" y="36"/>
                  <a:pt x="75" y="36"/>
                  <a:pt x="75" y="36"/>
                </a:cubicBezTo>
                <a:cubicBezTo>
                  <a:pt x="74" y="39"/>
                  <a:pt x="74" y="39"/>
                  <a:pt x="74" y="39"/>
                </a:cubicBezTo>
                <a:cubicBezTo>
                  <a:pt x="41" y="39"/>
                  <a:pt x="41" y="39"/>
                  <a:pt x="41" y="39"/>
                </a:cubicBezTo>
                <a:cubicBezTo>
                  <a:pt x="41" y="36"/>
                  <a:pt x="41" y="36"/>
                  <a:pt x="41" y="36"/>
                </a:cubicBezTo>
                <a:close/>
                <a:moveTo>
                  <a:pt x="31" y="26"/>
                </a:moveTo>
                <a:cubicBezTo>
                  <a:pt x="50" y="26"/>
                  <a:pt x="50" y="26"/>
                  <a:pt x="50" y="26"/>
                </a:cubicBezTo>
                <a:cubicBezTo>
                  <a:pt x="50" y="27"/>
                  <a:pt x="50" y="27"/>
                  <a:pt x="50" y="27"/>
                </a:cubicBezTo>
                <a:cubicBezTo>
                  <a:pt x="30" y="27"/>
                  <a:pt x="30" y="27"/>
                  <a:pt x="30" y="27"/>
                </a:cubicBezTo>
                <a:cubicBezTo>
                  <a:pt x="31" y="26"/>
                  <a:pt x="31" y="26"/>
                  <a:pt x="31" y="26"/>
                </a:cubicBezTo>
                <a:close/>
                <a:moveTo>
                  <a:pt x="31" y="22"/>
                </a:moveTo>
                <a:cubicBezTo>
                  <a:pt x="50" y="22"/>
                  <a:pt x="50" y="22"/>
                  <a:pt x="50" y="22"/>
                </a:cubicBezTo>
                <a:cubicBezTo>
                  <a:pt x="50" y="23"/>
                  <a:pt x="50" y="23"/>
                  <a:pt x="50" y="23"/>
                </a:cubicBezTo>
                <a:cubicBezTo>
                  <a:pt x="31" y="23"/>
                  <a:pt x="31" y="23"/>
                  <a:pt x="31" y="23"/>
                </a:cubicBezTo>
                <a:cubicBezTo>
                  <a:pt x="31" y="22"/>
                  <a:pt x="31" y="22"/>
                  <a:pt x="31" y="22"/>
                </a:cubicBezTo>
                <a:close/>
                <a:moveTo>
                  <a:pt x="30" y="18"/>
                </a:moveTo>
                <a:cubicBezTo>
                  <a:pt x="50" y="18"/>
                  <a:pt x="50" y="18"/>
                  <a:pt x="50" y="18"/>
                </a:cubicBezTo>
                <a:cubicBezTo>
                  <a:pt x="50" y="20"/>
                  <a:pt x="50" y="20"/>
                  <a:pt x="50" y="20"/>
                </a:cubicBezTo>
                <a:cubicBezTo>
                  <a:pt x="30" y="20"/>
                  <a:pt x="30" y="20"/>
                  <a:pt x="30" y="20"/>
                </a:cubicBezTo>
                <a:cubicBezTo>
                  <a:pt x="30" y="18"/>
                  <a:pt x="30" y="18"/>
                  <a:pt x="30" y="18"/>
                </a:cubicBezTo>
                <a:close/>
                <a:moveTo>
                  <a:pt x="74" y="96"/>
                </a:moveTo>
                <a:cubicBezTo>
                  <a:pt x="6" y="96"/>
                  <a:pt x="6" y="96"/>
                  <a:pt x="6" y="96"/>
                </a:cubicBezTo>
                <a:cubicBezTo>
                  <a:pt x="17" y="63"/>
                  <a:pt x="17" y="63"/>
                  <a:pt x="17" y="63"/>
                </a:cubicBezTo>
                <a:cubicBezTo>
                  <a:pt x="18" y="61"/>
                  <a:pt x="20" y="59"/>
                  <a:pt x="22" y="58"/>
                </a:cubicBezTo>
                <a:cubicBezTo>
                  <a:pt x="24" y="56"/>
                  <a:pt x="26" y="55"/>
                  <a:pt x="28" y="55"/>
                </a:cubicBezTo>
                <a:cubicBezTo>
                  <a:pt x="82" y="55"/>
                  <a:pt x="82" y="55"/>
                  <a:pt x="82" y="55"/>
                </a:cubicBezTo>
                <a:cubicBezTo>
                  <a:pt x="82" y="55"/>
                  <a:pt x="83" y="55"/>
                  <a:pt x="84" y="56"/>
                </a:cubicBezTo>
                <a:cubicBezTo>
                  <a:pt x="85" y="56"/>
                  <a:pt x="85" y="56"/>
                  <a:pt x="86" y="57"/>
                </a:cubicBezTo>
                <a:cubicBezTo>
                  <a:pt x="86" y="58"/>
                  <a:pt x="86" y="59"/>
                  <a:pt x="86" y="60"/>
                </a:cubicBezTo>
                <a:cubicBezTo>
                  <a:pt x="86" y="60"/>
                  <a:pt x="86" y="61"/>
                  <a:pt x="86" y="62"/>
                </a:cubicBezTo>
                <a:cubicBezTo>
                  <a:pt x="74" y="96"/>
                  <a:pt x="74" y="96"/>
                  <a:pt x="74" y="96"/>
                </a:cubicBezTo>
                <a:close/>
                <a:moveTo>
                  <a:pt x="32" y="41"/>
                </a:moveTo>
                <a:cubicBezTo>
                  <a:pt x="24" y="41"/>
                  <a:pt x="24" y="41"/>
                  <a:pt x="24" y="41"/>
                </a:cubicBezTo>
                <a:cubicBezTo>
                  <a:pt x="26" y="38"/>
                  <a:pt x="27" y="34"/>
                  <a:pt x="27" y="29"/>
                </a:cubicBezTo>
                <a:cubicBezTo>
                  <a:pt x="27" y="25"/>
                  <a:pt x="27" y="20"/>
                  <a:pt x="25" y="15"/>
                </a:cubicBezTo>
                <a:cubicBezTo>
                  <a:pt x="51" y="15"/>
                  <a:pt x="51" y="15"/>
                  <a:pt x="51" y="15"/>
                </a:cubicBezTo>
                <a:cubicBezTo>
                  <a:pt x="54" y="20"/>
                  <a:pt x="55" y="24"/>
                  <a:pt x="54" y="29"/>
                </a:cubicBezTo>
                <a:cubicBezTo>
                  <a:pt x="54" y="29"/>
                  <a:pt x="54" y="29"/>
                  <a:pt x="54" y="29"/>
                </a:cubicBezTo>
                <a:cubicBezTo>
                  <a:pt x="34" y="29"/>
                  <a:pt x="34" y="29"/>
                  <a:pt x="34" y="29"/>
                </a:cubicBezTo>
                <a:cubicBezTo>
                  <a:pt x="33" y="31"/>
                  <a:pt x="33" y="31"/>
                  <a:pt x="33" y="31"/>
                </a:cubicBezTo>
                <a:cubicBezTo>
                  <a:pt x="33" y="35"/>
                  <a:pt x="33" y="38"/>
                  <a:pt x="32" y="41"/>
                </a:cubicBezTo>
                <a:close/>
                <a:moveTo>
                  <a:pt x="24" y="29"/>
                </a:moveTo>
                <a:cubicBezTo>
                  <a:pt x="12" y="29"/>
                  <a:pt x="12" y="29"/>
                  <a:pt x="12" y="29"/>
                </a:cubicBezTo>
                <a:cubicBezTo>
                  <a:pt x="15" y="23"/>
                  <a:pt x="15" y="18"/>
                  <a:pt x="13" y="14"/>
                </a:cubicBezTo>
                <a:cubicBezTo>
                  <a:pt x="11" y="10"/>
                  <a:pt x="9" y="6"/>
                  <a:pt x="6" y="3"/>
                </a:cubicBezTo>
                <a:cubicBezTo>
                  <a:pt x="30" y="3"/>
                  <a:pt x="30" y="3"/>
                  <a:pt x="30" y="3"/>
                </a:cubicBezTo>
                <a:cubicBezTo>
                  <a:pt x="31" y="4"/>
                  <a:pt x="32" y="5"/>
                  <a:pt x="33" y="5"/>
                </a:cubicBezTo>
                <a:cubicBezTo>
                  <a:pt x="36" y="7"/>
                  <a:pt x="38" y="9"/>
                  <a:pt x="39" y="12"/>
                </a:cubicBezTo>
                <a:cubicBezTo>
                  <a:pt x="23" y="12"/>
                  <a:pt x="23" y="12"/>
                  <a:pt x="23" y="12"/>
                </a:cubicBezTo>
                <a:cubicBezTo>
                  <a:pt x="22" y="14"/>
                  <a:pt x="22" y="14"/>
                  <a:pt x="22" y="14"/>
                </a:cubicBezTo>
                <a:cubicBezTo>
                  <a:pt x="23" y="19"/>
                  <a:pt x="24" y="24"/>
                  <a:pt x="24" y="29"/>
                </a:cubicBezTo>
                <a:close/>
              </a:path>
            </a:pathLst>
          </a:custGeom>
          <a:solidFill>
            <a:srgbClr val="33333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Freeform 6"/>
          <p:cNvSpPr>
            <a:spLocks noEditPoints="1"/>
          </p:cNvSpPr>
          <p:nvPr/>
        </p:nvSpPr>
        <p:spPr bwMode="auto">
          <a:xfrm>
            <a:off x="3702034" y="1919834"/>
            <a:ext cx="523337" cy="344419"/>
          </a:xfrm>
          <a:custGeom>
            <a:avLst/>
            <a:gdLst>
              <a:gd name="T0" fmla="*/ 10 w 115"/>
              <a:gd name="T1" fmla="*/ 0 h 76"/>
              <a:gd name="T2" fmla="*/ 14 w 115"/>
              <a:gd name="T3" fmla="*/ 42 h 76"/>
              <a:gd name="T4" fmla="*/ 24 w 115"/>
              <a:gd name="T5" fmla="*/ 43 h 76"/>
              <a:gd name="T6" fmla="*/ 54 w 115"/>
              <a:gd name="T7" fmla="*/ 24 h 76"/>
              <a:gd name="T8" fmla="*/ 71 w 115"/>
              <a:gd name="T9" fmla="*/ 28 h 76"/>
              <a:gd name="T10" fmla="*/ 42 w 115"/>
              <a:gd name="T11" fmla="*/ 12 h 76"/>
              <a:gd name="T12" fmla="*/ 26 w 115"/>
              <a:gd name="T13" fmla="*/ 13 h 76"/>
              <a:gd name="T14" fmla="*/ 20 w 115"/>
              <a:gd name="T15" fmla="*/ 22 h 76"/>
              <a:gd name="T16" fmla="*/ 25 w 115"/>
              <a:gd name="T17" fmla="*/ 5 h 76"/>
              <a:gd name="T18" fmla="*/ 115 w 115"/>
              <a:gd name="T19" fmla="*/ 32 h 76"/>
              <a:gd name="T20" fmla="*/ 100 w 115"/>
              <a:gd name="T21" fmla="*/ 38 h 76"/>
              <a:gd name="T22" fmla="*/ 84 w 115"/>
              <a:gd name="T23" fmla="*/ 46 h 76"/>
              <a:gd name="T24" fmla="*/ 74 w 115"/>
              <a:gd name="T25" fmla="*/ 69 h 76"/>
              <a:gd name="T26" fmla="*/ 67 w 115"/>
              <a:gd name="T27" fmla="*/ 76 h 76"/>
              <a:gd name="T28" fmla="*/ 64 w 115"/>
              <a:gd name="T29" fmla="*/ 64 h 76"/>
              <a:gd name="T30" fmla="*/ 53 w 115"/>
              <a:gd name="T31" fmla="*/ 73 h 76"/>
              <a:gd name="T32" fmla="*/ 53 w 115"/>
              <a:gd name="T33" fmla="*/ 59 h 76"/>
              <a:gd name="T34" fmla="*/ 40 w 115"/>
              <a:gd name="T35" fmla="*/ 68 h 76"/>
              <a:gd name="T36" fmla="*/ 48 w 115"/>
              <a:gd name="T37" fmla="*/ 48 h 76"/>
              <a:gd name="T38" fmla="*/ 31 w 115"/>
              <a:gd name="T39" fmla="*/ 59 h 76"/>
              <a:gd name="T40" fmla="*/ 50 w 115"/>
              <a:gd name="T41" fmla="*/ 30 h 76"/>
              <a:gd name="T42" fmla="*/ 69 w 115"/>
              <a:gd name="T43" fmla="*/ 37 h 76"/>
              <a:gd name="T44" fmla="*/ 69 w 115"/>
              <a:gd name="T45" fmla="*/ 19 h 76"/>
              <a:gd name="T46" fmla="*/ 89 w 115"/>
              <a:gd name="T47" fmla="*/ 27 h 76"/>
              <a:gd name="T48" fmla="*/ 81 w 115"/>
              <a:gd name="T49" fmla="*/ 14 h 76"/>
              <a:gd name="T50" fmla="*/ 79 w 115"/>
              <a:gd name="T51" fmla="*/ 12 h 76"/>
              <a:gd name="T52" fmla="*/ 97 w 115"/>
              <a:gd name="T53" fmla="*/ 52 h 76"/>
              <a:gd name="T54" fmla="*/ 85 w 115"/>
              <a:gd name="T55" fmla="*/ 53 h 76"/>
              <a:gd name="T56" fmla="*/ 97 w 115"/>
              <a:gd name="T57" fmla="*/ 52 h 76"/>
              <a:gd name="T58" fmla="*/ 86 w 115"/>
              <a:gd name="T59" fmla="*/ 67 h 76"/>
              <a:gd name="T60" fmla="*/ 76 w 115"/>
              <a:gd name="T61" fmla="*/ 63 h 76"/>
              <a:gd name="T62" fmla="*/ 87 w 115"/>
              <a:gd name="T63" fmla="*/ 65 h 76"/>
              <a:gd name="T64" fmla="*/ 81 w 115"/>
              <a:gd name="T65" fmla="*/ 54 h 76"/>
              <a:gd name="T66" fmla="*/ 87 w 115"/>
              <a:gd name="T67" fmla="*/ 65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15" h="76">
                <a:moveTo>
                  <a:pt x="25" y="5"/>
                </a:moveTo>
                <a:cubicBezTo>
                  <a:pt x="10" y="0"/>
                  <a:pt x="10" y="0"/>
                  <a:pt x="10" y="0"/>
                </a:cubicBezTo>
                <a:cubicBezTo>
                  <a:pt x="0" y="38"/>
                  <a:pt x="0" y="38"/>
                  <a:pt x="0" y="38"/>
                </a:cubicBezTo>
                <a:cubicBezTo>
                  <a:pt x="14" y="42"/>
                  <a:pt x="14" y="42"/>
                  <a:pt x="14" y="42"/>
                </a:cubicBezTo>
                <a:cubicBezTo>
                  <a:pt x="16" y="36"/>
                  <a:pt x="16" y="36"/>
                  <a:pt x="16" y="36"/>
                </a:cubicBezTo>
                <a:cubicBezTo>
                  <a:pt x="24" y="43"/>
                  <a:pt x="24" y="43"/>
                  <a:pt x="24" y="43"/>
                </a:cubicBezTo>
                <a:cubicBezTo>
                  <a:pt x="43" y="28"/>
                  <a:pt x="43" y="28"/>
                  <a:pt x="43" y="28"/>
                </a:cubicBezTo>
                <a:cubicBezTo>
                  <a:pt x="54" y="24"/>
                  <a:pt x="54" y="24"/>
                  <a:pt x="54" y="24"/>
                </a:cubicBezTo>
                <a:cubicBezTo>
                  <a:pt x="67" y="32"/>
                  <a:pt x="67" y="32"/>
                  <a:pt x="67" y="32"/>
                </a:cubicBezTo>
                <a:cubicBezTo>
                  <a:pt x="71" y="28"/>
                  <a:pt x="71" y="28"/>
                  <a:pt x="71" y="28"/>
                </a:cubicBezTo>
                <a:cubicBezTo>
                  <a:pt x="61" y="13"/>
                  <a:pt x="61" y="13"/>
                  <a:pt x="61" y="13"/>
                </a:cubicBezTo>
                <a:cubicBezTo>
                  <a:pt x="42" y="12"/>
                  <a:pt x="42" y="12"/>
                  <a:pt x="42" y="12"/>
                </a:cubicBezTo>
                <a:cubicBezTo>
                  <a:pt x="28" y="14"/>
                  <a:pt x="28" y="14"/>
                  <a:pt x="28" y="14"/>
                </a:cubicBezTo>
                <a:cubicBezTo>
                  <a:pt x="26" y="13"/>
                  <a:pt x="26" y="13"/>
                  <a:pt x="26" y="13"/>
                </a:cubicBezTo>
                <a:cubicBezTo>
                  <a:pt x="21" y="23"/>
                  <a:pt x="21" y="23"/>
                  <a:pt x="21" y="23"/>
                </a:cubicBezTo>
                <a:cubicBezTo>
                  <a:pt x="20" y="22"/>
                  <a:pt x="20" y="22"/>
                  <a:pt x="20" y="22"/>
                </a:cubicBezTo>
                <a:cubicBezTo>
                  <a:pt x="23" y="11"/>
                  <a:pt x="23" y="11"/>
                  <a:pt x="23" y="11"/>
                </a:cubicBezTo>
                <a:cubicBezTo>
                  <a:pt x="25" y="5"/>
                  <a:pt x="25" y="5"/>
                  <a:pt x="25" y="5"/>
                </a:cubicBezTo>
                <a:close/>
                <a:moveTo>
                  <a:pt x="91" y="2"/>
                </a:moveTo>
                <a:cubicBezTo>
                  <a:pt x="115" y="32"/>
                  <a:pt x="115" y="32"/>
                  <a:pt x="115" y="32"/>
                </a:cubicBezTo>
                <a:cubicBezTo>
                  <a:pt x="103" y="42"/>
                  <a:pt x="103" y="42"/>
                  <a:pt x="103" y="42"/>
                </a:cubicBezTo>
                <a:cubicBezTo>
                  <a:pt x="100" y="38"/>
                  <a:pt x="100" y="38"/>
                  <a:pt x="100" y="38"/>
                </a:cubicBezTo>
                <a:cubicBezTo>
                  <a:pt x="92" y="48"/>
                  <a:pt x="92" y="48"/>
                  <a:pt x="92" y="48"/>
                </a:cubicBezTo>
                <a:cubicBezTo>
                  <a:pt x="84" y="46"/>
                  <a:pt x="84" y="46"/>
                  <a:pt x="84" y="46"/>
                </a:cubicBezTo>
                <a:cubicBezTo>
                  <a:pt x="78" y="49"/>
                  <a:pt x="71" y="55"/>
                  <a:pt x="70" y="62"/>
                </a:cubicBezTo>
                <a:cubicBezTo>
                  <a:pt x="74" y="69"/>
                  <a:pt x="74" y="69"/>
                  <a:pt x="74" y="69"/>
                </a:cubicBezTo>
                <a:cubicBezTo>
                  <a:pt x="73" y="71"/>
                  <a:pt x="73" y="71"/>
                  <a:pt x="73" y="71"/>
                </a:cubicBezTo>
                <a:cubicBezTo>
                  <a:pt x="71" y="73"/>
                  <a:pt x="69" y="74"/>
                  <a:pt x="67" y="76"/>
                </a:cubicBezTo>
                <a:cubicBezTo>
                  <a:pt x="65" y="75"/>
                  <a:pt x="63" y="73"/>
                  <a:pt x="61" y="72"/>
                </a:cubicBezTo>
                <a:cubicBezTo>
                  <a:pt x="61" y="69"/>
                  <a:pt x="64" y="65"/>
                  <a:pt x="64" y="64"/>
                </a:cubicBezTo>
                <a:cubicBezTo>
                  <a:pt x="63" y="63"/>
                  <a:pt x="63" y="63"/>
                  <a:pt x="63" y="63"/>
                </a:cubicBezTo>
                <a:cubicBezTo>
                  <a:pt x="61" y="66"/>
                  <a:pt x="55" y="71"/>
                  <a:pt x="53" y="73"/>
                </a:cubicBezTo>
                <a:cubicBezTo>
                  <a:pt x="51" y="72"/>
                  <a:pt x="49" y="71"/>
                  <a:pt x="46" y="69"/>
                </a:cubicBezTo>
                <a:cubicBezTo>
                  <a:pt x="47" y="67"/>
                  <a:pt x="52" y="61"/>
                  <a:pt x="53" y="59"/>
                </a:cubicBezTo>
                <a:cubicBezTo>
                  <a:pt x="52" y="58"/>
                  <a:pt x="52" y="58"/>
                  <a:pt x="52" y="58"/>
                </a:cubicBezTo>
                <a:cubicBezTo>
                  <a:pt x="48" y="63"/>
                  <a:pt x="43" y="67"/>
                  <a:pt x="40" y="68"/>
                </a:cubicBezTo>
                <a:cubicBezTo>
                  <a:pt x="33" y="63"/>
                  <a:pt x="33" y="63"/>
                  <a:pt x="33" y="63"/>
                </a:cubicBezTo>
                <a:cubicBezTo>
                  <a:pt x="37" y="57"/>
                  <a:pt x="43" y="52"/>
                  <a:pt x="48" y="48"/>
                </a:cubicBezTo>
                <a:cubicBezTo>
                  <a:pt x="47" y="46"/>
                  <a:pt x="47" y="46"/>
                  <a:pt x="47" y="46"/>
                </a:cubicBezTo>
                <a:cubicBezTo>
                  <a:pt x="43" y="49"/>
                  <a:pt x="35" y="56"/>
                  <a:pt x="31" y="59"/>
                </a:cubicBezTo>
                <a:cubicBezTo>
                  <a:pt x="27" y="58"/>
                  <a:pt x="25" y="56"/>
                  <a:pt x="24" y="52"/>
                </a:cubicBezTo>
                <a:cubicBezTo>
                  <a:pt x="32" y="45"/>
                  <a:pt x="41" y="37"/>
                  <a:pt x="50" y="30"/>
                </a:cubicBezTo>
                <a:cubicBezTo>
                  <a:pt x="55" y="29"/>
                  <a:pt x="55" y="29"/>
                  <a:pt x="55" y="29"/>
                </a:cubicBezTo>
                <a:cubicBezTo>
                  <a:pt x="69" y="37"/>
                  <a:pt x="69" y="37"/>
                  <a:pt x="69" y="37"/>
                </a:cubicBezTo>
                <a:cubicBezTo>
                  <a:pt x="76" y="30"/>
                  <a:pt x="76" y="30"/>
                  <a:pt x="76" y="30"/>
                </a:cubicBezTo>
                <a:cubicBezTo>
                  <a:pt x="69" y="19"/>
                  <a:pt x="69" y="19"/>
                  <a:pt x="69" y="19"/>
                </a:cubicBezTo>
                <a:cubicBezTo>
                  <a:pt x="72" y="17"/>
                  <a:pt x="74" y="16"/>
                  <a:pt x="76" y="15"/>
                </a:cubicBezTo>
                <a:cubicBezTo>
                  <a:pt x="89" y="27"/>
                  <a:pt x="89" y="27"/>
                  <a:pt x="89" y="27"/>
                </a:cubicBezTo>
                <a:cubicBezTo>
                  <a:pt x="90" y="26"/>
                  <a:pt x="90" y="26"/>
                  <a:pt x="90" y="26"/>
                </a:cubicBezTo>
                <a:cubicBezTo>
                  <a:pt x="81" y="14"/>
                  <a:pt x="81" y="14"/>
                  <a:pt x="81" y="14"/>
                </a:cubicBezTo>
                <a:cubicBezTo>
                  <a:pt x="81" y="14"/>
                  <a:pt x="81" y="14"/>
                  <a:pt x="81" y="14"/>
                </a:cubicBezTo>
                <a:cubicBezTo>
                  <a:pt x="79" y="12"/>
                  <a:pt x="79" y="12"/>
                  <a:pt x="79" y="12"/>
                </a:cubicBezTo>
                <a:cubicBezTo>
                  <a:pt x="91" y="2"/>
                  <a:pt x="91" y="2"/>
                  <a:pt x="91" y="2"/>
                </a:cubicBezTo>
                <a:close/>
                <a:moveTo>
                  <a:pt x="97" y="52"/>
                </a:moveTo>
                <a:cubicBezTo>
                  <a:pt x="87" y="50"/>
                  <a:pt x="87" y="50"/>
                  <a:pt x="87" y="50"/>
                </a:cubicBezTo>
                <a:cubicBezTo>
                  <a:pt x="85" y="53"/>
                  <a:pt x="85" y="53"/>
                  <a:pt x="85" y="53"/>
                </a:cubicBezTo>
                <a:cubicBezTo>
                  <a:pt x="93" y="58"/>
                  <a:pt x="93" y="58"/>
                  <a:pt x="93" y="58"/>
                </a:cubicBezTo>
                <a:cubicBezTo>
                  <a:pt x="94" y="56"/>
                  <a:pt x="95" y="54"/>
                  <a:pt x="97" y="52"/>
                </a:cubicBezTo>
                <a:close/>
                <a:moveTo>
                  <a:pt x="80" y="71"/>
                </a:moveTo>
                <a:cubicBezTo>
                  <a:pt x="82" y="70"/>
                  <a:pt x="84" y="68"/>
                  <a:pt x="86" y="67"/>
                </a:cubicBezTo>
                <a:cubicBezTo>
                  <a:pt x="78" y="61"/>
                  <a:pt x="78" y="61"/>
                  <a:pt x="78" y="61"/>
                </a:cubicBezTo>
                <a:cubicBezTo>
                  <a:pt x="76" y="63"/>
                  <a:pt x="76" y="63"/>
                  <a:pt x="76" y="63"/>
                </a:cubicBezTo>
                <a:cubicBezTo>
                  <a:pt x="80" y="71"/>
                  <a:pt x="80" y="71"/>
                  <a:pt x="80" y="71"/>
                </a:cubicBezTo>
                <a:close/>
                <a:moveTo>
                  <a:pt x="87" y="65"/>
                </a:moveTo>
                <a:cubicBezTo>
                  <a:pt x="89" y="64"/>
                  <a:pt x="90" y="62"/>
                  <a:pt x="91" y="60"/>
                </a:cubicBezTo>
                <a:cubicBezTo>
                  <a:pt x="81" y="54"/>
                  <a:pt x="81" y="54"/>
                  <a:pt x="81" y="54"/>
                </a:cubicBezTo>
                <a:cubicBezTo>
                  <a:pt x="78" y="57"/>
                  <a:pt x="78" y="57"/>
                  <a:pt x="78" y="57"/>
                </a:cubicBezTo>
                <a:lnTo>
                  <a:pt x="87" y="6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4" name="任意多边形 33"/>
          <p:cNvSpPr>
            <a:spLocks/>
          </p:cNvSpPr>
          <p:nvPr/>
        </p:nvSpPr>
        <p:spPr>
          <a:xfrm flipV="1">
            <a:off x="6324866" y="2013648"/>
            <a:ext cx="4428000" cy="45719"/>
          </a:xfrm>
          <a:custGeom>
            <a:avLst/>
            <a:gdLst>
              <a:gd name="connsiteX0" fmla="*/ 0 w 10694504"/>
              <a:gd name="connsiteY0" fmla="*/ 0 h 0"/>
              <a:gd name="connsiteX1" fmla="*/ 10694504 w 1069450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94504">
                <a:moveTo>
                  <a:pt x="0" y="0"/>
                </a:moveTo>
                <a:lnTo>
                  <a:pt x="10694504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5" name="文本框 34"/>
          <p:cNvSpPr txBox="1">
            <a:spLocks/>
          </p:cNvSpPr>
          <p:nvPr/>
        </p:nvSpPr>
        <p:spPr>
          <a:xfrm>
            <a:off x="6181116" y="2204931"/>
            <a:ext cx="7826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spc="600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1</a:t>
            </a:r>
            <a:endParaRPr lang="zh-CN" altLang="en-US" sz="2000" b="1" spc="600" dirty="0" smtClean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6" name="文本框 35"/>
          <p:cNvSpPr txBox="1"/>
          <p:nvPr/>
        </p:nvSpPr>
        <p:spPr>
          <a:xfrm>
            <a:off x="6749559" y="2178116"/>
            <a:ext cx="15064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添加标题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6749557" y="2475958"/>
            <a:ext cx="4232139" cy="77745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上海锐普广告有限公司是中国第一家精品</a:t>
            </a:r>
            <a:r>
              <a:rPr lang="en-US" altLang="zh-CN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设计机构。</a:t>
            </a:r>
          </a:p>
        </p:txBody>
      </p:sp>
      <p:sp>
        <p:nvSpPr>
          <p:cNvPr id="38" name="任意多边形 37"/>
          <p:cNvSpPr>
            <a:spLocks/>
          </p:cNvSpPr>
          <p:nvPr/>
        </p:nvSpPr>
        <p:spPr>
          <a:xfrm flipV="1">
            <a:off x="6324866" y="3292359"/>
            <a:ext cx="4428000" cy="45719"/>
          </a:xfrm>
          <a:custGeom>
            <a:avLst/>
            <a:gdLst>
              <a:gd name="connsiteX0" fmla="*/ 0 w 10694504"/>
              <a:gd name="connsiteY0" fmla="*/ 0 h 0"/>
              <a:gd name="connsiteX1" fmla="*/ 10694504 w 1069450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94504">
                <a:moveTo>
                  <a:pt x="0" y="0"/>
                </a:moveTo>
                <a:lnTo>
                  <a:pt x="10694504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9" name="文本框 38"/>
          <p:cNvSpPr txBox="1">
            <a:spLocks/>
          </p:cNvSpPr>
          <p:nvPr/>
        </p:nvSpPr>
        <p:spPr>
          <a:xfrm>
            <a:off x="6181116" y="3483642"/>
            <a:ext cx="7826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spc="6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2</a:t>
            </a:r>
            <a:endParaRPr lang="zh-CN" altLang="en-US" sz="2000" b="1" spc="600" dirty="0" smtClean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0" name="文本框 39"/>
          <p:cNvSpPr txBox="1"/>
          <p:nvPr/>
        </p:nvSpPr>
        <p:spPr>
          <a:xfrm>
            <a:off x="6749559" y="3456827"/>
            <a:ext cx="15064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添加标题</a:t>
            </a:r>
            <a:endParaRPr lang="zh-CN" altLang="en-US" sz="2000" b="1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6749557" y="3772102"/>
            <a:ext cx="4232139" cy="77745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上海锐普广告有限公司是中国第一家精品</a:t>
            </a:r>
            <a:r>
              <a:rPr lang="en-US" altLang="zh-CN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设计机构。</a:t>
            </a:r>
          </a:p>
        </p:txBody>
      </p:sp>
      <p:sp>
        <p:nvSpPr>
          <p:cNvPr id="42" name="任意多边形 41"/>
          <p:cNvSpPr>
            <a:spLocks/>
          </p:cNvSpPr>
          <p:nvPr/>
        </p:nvSpPr>
        <p:spPr>
          <a:xfrm>
            <a:off x="6324866" y="4616790"/>
            <a:ext cx="4428000" cy="49144"/>
          </a:xfrm>
          <a:custGeom>
            <a:avLst/>
            <a:gdLst>
              <a:gd name="connsiteX0" fmla="*/ 0 w 10694504"/>
              <a:gd name="connsiteY0" fmla="*/ 0 h 0"/>
              <a:gd name="connsiteX1" fmla="*/ 10694504 w 10694504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694504">
                <a:moveTo>
                  <a:pt x="0" y="0"/>
                </a:moveTo>
                <a:lnTo>
                  <a:pt x="10694504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3" name="文本框 42"/>
          <p:cNvSpPr txBox="1">
            <a:spLocks/>
          </p:cNvSpPr>
          <p:nvPr/>
        </p:nvSpPr>
        <p:spPr>
          <a:xfrm>
            <a:off x="6181116" y="4762354"/>
            <a:ext cx="7826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000" b="1" spc="600" dirty="0" smtClean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3</a:t>
            </a:r>
            <a:endParaRPr lang="zh-CN" altLang="en-US" sz="2000" b="1" spc="600" dirty="0" smtClean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4" name="文本框 43"/>
          <p:cNvSpPr txBox="1"/>
          <p:nvPr/>
        </p:nvSpPr>
        <p:spPr>
          <a:xfrm>
            <a:off x="6749559" y="4735539"/>
            <a:ext cx="15064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>
                <a:solidFill>
                  <a:schemeClr val="bg1">
                    <a:lumMod val="65000"/>
                  </a:schemeClr>
                </a:solidFill>
                <a:latin typeface="微软雅黑" pitchFamily="34" charset="-122"/>
                <a:ea typeface="微软雅黑" pitchFamily="34" charset="-122"/>
              </a:rPr>
              <a:t>添加标题</a:t>
            </a:r>
            <a:endParaRPr lang="zh-CN" altLang="en-US" sz="2000" b="1" dirty="0">
              <a:solidFill>
                <a:schemeClr val="bg1">
                  <a:lumMod val="6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5" name="矩形 44"/>
          <p:cNvSpPr/>
          <p:nvPr/>
        </p:nvSpPr>
        <p:spPr>
          <a:xfrm>
            <a:off x="6749557" y="5068246"/>
            <a:ext cx="4232139" cy="77745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CN" altLang="en-US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上海锐普广告有限公司是中国第一家精品</a:t>
            </a:r>
            <a:r>
              <a:rPr lang="en-US" altLang="zh-CN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PPT</a:t>
            </a:r>
            <a:r>
              <a:rPr lang="zh-CN" altLang="en-US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设计机构。</a:t>
            </a:r>
          </a:p>
        </p:txBody>
      </p:sp>
    </p:spTree>
    <p:extLst>
      <p:ext uri="{BB962C8B-B14F-4D97-AF65-F5344CB8AC3E}">
        <p14:creationId xmlns:p14="http://schemas.microsoft.com/office/powerpoint/2010/main" xmlns="" val="2864863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组合 22"/>
          <p:cNvGrpSpPr/>
          <p:nvPr/>
        </p:nvGrpSpPr>
        <p:grpSpPr>
          <a:xfrm>
            <a:off x="1271464" y="1628800"/>
            <a:ext cx="2953076" cy="4334976"/>
            <a:chOff x="1271464" y="1700808"/>
            <a:chExt cx="2953076" cy="4334976"/>
          </a:xfrm>
        </p:grpSpPr>
        <p:sp>
          <p:nvSpPr>
            <p:cNvPr id="2" name="泪滴形 1"/>
            <p:cNvSpPr/>
            <p:nvPr/>
          </p:nvSpPr>
          <p:spPr>
            <a:xfrm rot="2700000">
              <a:off x="1377404" y="1700808"/>
              <a:ext cx="2238718" cy="2238718"/>
            </a:xfrm>
            <a:prstGeom prst="teardrop">
              <a:avLst/>
            </a:prstGeom>
            <a:solidFill>
              <a:srgbClr val="C00000">
                <a:alpha val="78000"/>
              </a:srgbClr>
            </a:solidFill>
            <a:ln w="19050">
              <a:noFill/>
              <a:round/>
              <a:headEnd/>
              <a:tailEnd/>
            </a:ln>
            <a:sp3d extrusionH="127000"/>
          </p:spPr>
          <p:txBody>
            <a:bodyPr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3" name="泪滴形 2"/>
            <p:cNvSpPr>
              <a:spLocks noChangeAspect="1"/>
            </p:cNvSpPr>
            <p:nvPr/>
          </p:nvSpPr>
          <p:spPr>
            <a:xfrm rot="2700000">
              <a:off x="1506763" y="1830167"/>
              <a:ext cx="1980000" cy="1980000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3600"/>
            </a:p>
          </p:txBody>
        </p:sp>
        <p:sp>
          <p:nvSpPr>
            <p:cNvPr id="4" name="文本框 3"/>
            <p:cNvSpPr txBox="1"/>
            <p:nvPr/>
          </p:nvSpPr>
          <p:spPr>
            <a:xfrm>
              <a:off x="1645176" y="2494637"/>
              <a:ext cx="1728192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3600" b="1" dirty="0" smtClean="0">
                  <a:solidFill>
                    <a:srgbClr val="3E3E3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0%</a:t>
              </a:r>
              <a:endParaRPr lang="zh-CN" altLang="en-US" sz="3600" b="1" dirty="0" smtClean="0">
                <a:solidFill>
                  <a:srgbClr val="3E3E3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1660638" y="4077072"/>
              <a:ext cx="16998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rgbClr val="C00000"/>
                  </a:solidFill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  <p:sp>
          <p:nvSpPr>
            <p:cNvPr id="6" name="矩形 5"/>
            <p:cNvSpPr/>
            <p:nvPr/>
          </p:nvSpPr>
          <p:spPr>
            <a:xfrm>
              <a:off x="1271464" y="4503057"/>
              <a:ext cx="2953076" cy="1532727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公司是指一般以盈利为目的，从事商业经营活动或某些目的而成立的组织，通常又称为企业或实业。</a:t>
              </a: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4558311" y="1628800"/>
            <a:ext cx="2953076" cy="4334976"/>
            <a:chOff x="4558311" y="1628800"/>
            <a:chExt cx="2953076" cy="4334976"/>
          </a:xfrm>
        </p:grpSpPr>
        <p:sp>
          <p:nvSpPr>
            <p:cNvPr id="7" name="泪滴形 6"/>
            <p:cNvSpPr/>
            <p:nvPr/>
          </p:nvSpPr>
          <p:spPr>
            <a:xfrm rot="2700000">
              <a:off x="4653379" y="1628800"/>
              <a:ext cx="2238718" cy="2238718"/>
            </a:xfrm>
            <a:prstGeom prst="teardrop">
              <a:avLst/>
            </a:prstGeom>
            <a:solidFill>
              <a:srgbClr val="C00000">
                <a:alpha val="78000"/>
              </a:srgbClr>
            </a:solidFill>
            <a:ln w="19050">
              <a:noFill/>
              <a:round/>
              <a:headEnd/>
              <a:tailEnd/>
            </a:ln>
            <a:sp3d extrusionH="127000"/>
          </p:spPr>
          <p:txBody>
            <a:bodyPr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8" name="泪滴形 7"/>
            <p:cNvSpPr>
              <a:spLocks noChangeAspect="1"/>
            </p:cNvSpPr>
            <p:nvPr/>
          </p:nvSpPr>
          <p:spPr>
            <a:xfrm rot="2700000">
              <a:off x="4782738" y="1758159"/>
              <a:ext cx="1980000" cy="1980000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3600"/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4904517" y="2422629"/>
              <a:ext cx="1728192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3600" b="1" dirty="0" smtClean="0">
                  <a:solidFill>
                    <a:srgbClr val="3E3E3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0%</a:t>
              </a:r>
              <a:endParaRPr lang="zh-CN" altLang="en-US" sz="3600" b="1" dirty="0" smtClean="0">
                <a:solidFill>
                  <a:srgbClr val="3E3E3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4947485" y="4005064"/>
              <a:ext cx="16998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>
                      <a:lumMod val="6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  <p:sp>
          <p:nvSpPr>
            <p:cNvPr id="11" name="矩形 10"/>
            <p:cNvSpPr/>
            <p:nvPr/>
          </p:nvSpPr>
          <p:spPr>
            <a:xfrm>
              <a:off x="4558311" y="4431049"/>
              <a:ext cx="2953076" cy="1532727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公司是指一般以盈利为目的，从事商业经营活动或某些目的而成立的组织，通常又称为企业或实业。</a:t>
              </a:r>
            </a:p>
          </p:txBody>
        </p:sp>
      </p:grpSp>
      <p:grpSp>
        <p:nvGrpSpPr>
          <p:cNvPr id="25" name="组合 24"/>
          <p:cNvGrpSpPr/>
          <p:nvPr/>
        </p:nvGrpSpPr>
        <p:grpSpPr>
          <a:xfrm>
            <a:off x="7845158" y="1628800"/>
            <a:ext cx="2953076" cy="4334976"/>
            <a:chOff x="8093264" y="1700808"/>
            <a:chExt cx="2953076" cy="4334976"/>
          </a:xfrm>
        </p:grpSpPr>
        <p:sp>
          <p:nvSpPr>
            <p:cNvPr id="12" name="泪滴形 11"/>
            <p:cNvSpPr/>
            <p:nvPr/>
          </p:nvSpPr>
          <p:spPr>
            <a:xfrm rot="2700000">
              <a:off x="8215838" y="1700808"/>
              <a:ext cx="2238718" cy="2238718"/>
            </a:xfrm>
            <a:prstGeom prst="teardrop">
              <a:avLst/>
            </a:prstGeom>
            <a:solidFill>
              <a:srgbClr val="C00000">
                <a:alpha val="78000"/>
              </a:srgbClr>
            </a:solidFill>
            <a:ln w="19050">
              <a:noFill/>
              <a:round/>
              <a:headEnd/>
              <a:tailEnd/>
            </a:ln>
            <a:sp3d extrusionH="127000"/>
          </p:spPr>
          <p:txBody>
            <a:bodyPr/>
            <a:lstStyle/>
            <a:p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3" name="泪滴形 12"/>
            <p:cNvSpPr>
              <a:spLocks noChangeAspect="1"/>
            </p:cNvSpPr>
            <p:nvPr/>
          </p:nvSpPr>
          <p:spPr>
            <a:xfrm rot="2700000">
              <a:off x="8345197" y="1830167"/>
              <a:ext cx="1980000" cy="1980000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3600"/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8466976" y="2494637"/>
              <a:ext cx="1728192" cy="64633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3600" b="1" dirty="0" smtClean="0">
                  <a:solidFill>
                    <a:srgbClr val="3E3E3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0%</a:t>
              </a:r>
              <a:endParaRPr lang="zh-CN" altLang="en-US" sz="3600" b="1" dirty="0" smtClean="0">
                <a:solidFill>
                  <a:srgbClr val="3E3E3E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8482438" y="4077072"/>
              <a:ext cx="169980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>
                      <a:lumMod val="65000"/>
                    </a:schemeClr>
                  </a:solidFill>
                  <a:latin typeface="微软雅黑" pitchFamily="34" charset="-122"/>
                  <a:ea typeface="微软雅黑" pitchFamily="34" charset="-122"/>
                </a:rPr>
                <a:t>添加标题</a:t>
              </a:r>
            </a:p>
          </p:txBody>
        </p:sp>
        <p:sp>
          <p:nvSpPr>
            <p:cNvPr id="16" name="矩形 15"/>
            <p:cNvSpPr/>
            <p:nvPr/>
          </p:nvSpPr>
          <p:spPr>
            <a:xfrm>
              <a:off x="8093264" y="4503057"/>
              <a:ext cx="2953076" cy="1532727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30000"/>
                </a:lnSpc>
              </a:pPr>
              <a:r>
                <a:rPr lang="zh-CN" altLang="en-US" dirty="0">
                  <a:solidFill>
                    <a:schemeClr val="bg1"/>
                  </a:solidFill>
                  <a:latin typeface="微软雅黑" pitchFamily="34" charset="-122"/>
                  <a:ea typeface="微软雅黑" pitchFamily="34" charset="-122"/>
                </a:rPr>
                <a:t>公司是指一般以盈利为目的，从事商业经营活动或某些目的而成立的组织，通常又称为企业或实业。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18" name="组合 17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20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21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9" name="文本框 18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44263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3" name="组合 2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5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4" name="文本框 3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grpSp>
        <p:nvGrpSpPr>
          <p:cNvPr id="104" name="组合 103"/>
          <p:cNvGrpSpPr/>
          <p:nvPr/>
        </p:nvGrpSpPr>
        <p:grpSpPr>
          <a:xfrm>
            <a:off x="6103776" y="2171432"/>
            <a:ext cx="4669672" cy="3125518"/>
            <a:chOff x="6079972" y="2171432"/>
            <a:chExt cx="4669672" cy="3125518"/>
          </a:xfrm>
        </p:grpSpPr>
        <p:sp>
          <p:nvSpPr>
            <p:cNvPr id="7" name="Freeform 87"/>
            <p:cNvSpPr>
              <a:spLocks noEditPoints="1"/>
            </p:cNvSpPr>
            <p:nvPr/>
          </p:nvSpPr>
          <p:spPr bwMode="auto">
            <a:xfrm>
              <a:off x="6326824" y="2531583"/>
              <a:ext cx="514176" cy="473648"/>
            </a:xfrm>
            <a:custGeom>
              <a:avLst/>
              <a:gdLst>
                <a:gd name="T0" fmla="*/ 53 w 203"/>
                <a:gd name="T1" fmla="*/ 149 h 187"/>
                <a:gd name="T2" fmla="*/ 53 w 203"/>
                <a:gd name="T3" fmla="*/ 75 h 187"/>
                <a:gd name="T4" fmla="*/ 61 w 203"/>
                <a:gd name="T5" fmla="*/ 75 h 187"/>
                <a:gd name="T6" fmla="*/ 61 w 203"/>
                <a:gd name="T7" fmla="*/ 61 h 187"/>
                <a:gd name="T8" fmla="*/ 20 w 203"/>
                <a:gd name="T9" fmla="*/ 61 h 187"/>
                <a:gd name="T10" fmla="*/ 20 w 203"/>
                <a:gd name="T11" fmla="*/ 75 h 187"/>
                <a:gd name="T12" fmla="*/ 28 w 203"/>
                <a:gd name="T13" fmla="*/ 75 h 187"/>
                <a:gd name="T14" fmla="*/ 28 w 203"/>
                <a:gd name="T15" fmla="*/ 149 h 187"/>
                <a:gd name="T16" fmla="*/ 20 w 203"/>
                <a:gd name="T17" fmla="*/ 149 h 187"/>
                <a:gd name="T18" fmla="*/ 20 w 203"/>
                <a:gd name="T19" fmla="*/ 159 h 187"/>
                <a:gd name="T20" fmla="*/ 12 w 203"/>
                <a:gd name="T21" fmla="*/ 159 h 187"/>
                <a:gd name="T22" fmla="*/ 12 w 203"/>
                <a:gd name="T23" fmla="*/ 169 h 187"/>
                <a:gd name="T24" fmla="*/ 4 w 203"/>
                <a:gd name="T25" fmla="*/ 169 h 187"/>
                <a:gd name="T26" fmla="*/ 4 w 203"/>
                <a:gd name="T27" fmla="*/ 179 h 187"/>
                <a:gd name="T28" fmla="*/ 0 w 203"/>
                <a:gd name="T29" fmla="*/ 179 h 187"/>
                <a:gd name="T30" fmla="*/ 0 w 203"/>
                <a:gd name="T31" fmla="*/ 187 h 187"/>
                <a:gd name="T32" fmla="*/ 203 w 203"/>
                <a:gd name="T33" fmla="*/ 187 h 187"/>
                <a:gd name="T34" fmla="*/ 203 w 203"/>
                <a:gd name="T35" fmla="*/ 179 h 187"/>
                <a:gd name="T36" fmla="*/ 197 w 203"/>
                <a:gd name="T37" fmla="*/ 179 h 187"/>
                <a:gd name="T38" fmla="*/ 197 w 203"/>
                <a:gd name="T39" fmla="*/ 169 h 187"/>
                <a:gd name="T40" fmla="*/ 191 w 203"/>
                <a:gd name="T41" fmla="*/ 169 h 187"/>
                <a:gd name="T42" fmla="*/ 191 w 203"/>
                <a:gd name="T43" fmla="*/ 159 h 187"/>
                <a:gd name="T44" fmla="*/ 185 w 203"/>
                <a:gd name="T45" fmla="*/ 159 h 187"/>
                <a:gd name="T46" fmla="*/ 185 w 203"/>
                <a:gd name="T47" fmla="*/ 149 h 187"/>
                <a:gd name="T48" fmla="*/ 177 w 203"/>
                <a:gd name="T49" fmla="*/ 149 h 187"/>
                <a:gd name="T50" fmla="*/ 177 w 203"/>
                <a:gd name="T51" fmla="*/ 75 h 187"/>
                <a:gd name="T52" fmla="*/ 185 w 203"/>
                <a:gd name="T53" fmla="*/ 75 h 187"/>
                <a:gd name="T54" fmla="*/ 185 w 203"/>
                <a:gd name="T55" fmla="*/ 61 h 187"/>
                <a:gd name="T56" fmla="*/ 144 w 203"/>
                <a:gd name="T57" fmla="*/ 61 h 187"/>
                <a:gd name="T58" fmla="*/ 144 w 203"/>
                <a:gd name="T59" fmla="*/ 75 h 187"/>
                <a:gd name="T60" fmla="*/ 153 w 203"/>
                <a:gd name="T61" fmla="*/ 75 h 187"/>
                <a:gd name="T62" fmla="*/ 153 w 203"/>
                <a:gd name="T63" fmla="*/ 149 h 187"/>
                <a:gd name="T64" fmla="*/ 144 w 203"/>
                <a:gd name="T65" fmla="*/ 149 h 187"/>
                <a:gd name="T66" fmla="*/ 144 w 203"/>
                <a:gd name="T67" fmla="*/ 159 h 187"/>
                <a:gd name="T68" fmla="*/ 124 w 203"/>
                <a:gd name="T69" fmla="*/ 159 h 187"/>
                <a:gd name="T70" fmla="*/ 124 w 203"/>
                <a:gd name="T71" fmla="*/ 108 h 187"/>
                <a:gd name="T72" fmla="*/ 106 w 203"/>
                <a:gd name="T73" fmla="*/ 108 h 187"/>
                <a:gd name="T74" fmla="*/ 106 w 203"/>
                <a:gd name="T75" fmla="*/ 159 h 187"/>
                <a:gd name="T76" fmla="*/ 100 w 203"/>
                <a:gd name="T77" fmla="*/ 159 h 187"/>
                <a:gd name="T78" fmla="*/ 100 w 203"/>
                <a:gd name="T79" fmla="*/ 108 h 187"/>
                <a:gd name="T80" fmla="*/ 81 w 203"/>
                <a:gd name="T81" fmla="*/ 108 h 187"/>
                <a:gd name="T82" fmla="*/ 81 w 203"/>
                <a:gd name="T83" fmla="*/ 159 h 187"/>
                <a:gd name="T84" fmla="*/ 61 w 203"/>
                <a:gd name="T85" fmla="*/ 159 h 187"/>
                <a:gd name="T86" fmla="*/ 61 w 203"/>
                <a:gd name="T87" fmla="*/ 149 h 187"/>
                <a:gd name="T88" fmla="*/ 53 w 203"/>
                <a:gd name="T89" fmla="*/ 149 h 187"/>
                <a:gd name="T90" fmla="*/ 53 w 203"/>
                <a:gd name="T91" fmla="*/ 149 h 187"/>
                <a:gd name="T92" fmla="*/ 102 w 203"/>
                <a:gd name="T93" fmla="*/ 0 h 187"/>
                <a:gd name="T94" fmla="*/ 163 w 203"/>
                <a:gd name="T95" fmla="*/ 29 h 187"/>
                <a:gd name="T96" fmla="*/ 201 w 203"/>
                <a:gd name="T97" fmla="*/ 45 h 187"/>
                <a:gd name="T98" fmla="*/ 201 w 203"/>
                <a:gd name="T99" fmla="*/ 57 h 187"/>
                <a:gd name="T100" fmla="*/ 102 w 203"/>
                <a:gd name="T101" fmla="*/ 57 h 187"/>
                <a:gd name="T102" fmla="*/ 2 w 203"/>
                <a:gd name="T103" fmla="*/ 57 h 187"/>
                <a:gd name="T104" fmla="*/ 2 w 203"/>
                <a:gd name="T105" fmla="*/ 45 h 187"/>
                <a:gd name="T106" fmla="*/ 41 w 203"/>
                <a:gd name="T107" fmla="*/ 29 h 187"/>
                <a:gd name="T108" fmla="*/ 102 w 203"/>
                <a:gd name="T109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03" h="187">
                  <a:moveTo>
                    <a:pt x="53" y="149"/>
                  </a:moveTo>
                  <a:lnTo>
                    <a:pt x="53" y="75"/>
                  </a:lnTo>
                  <a:lnTo>
                    <a:pt x="61" y="75"/>
                  </a:lnTo>
                  <a:lnTo>
                    <a:pt x="61" y="61"/>
                  </a:lnTo>
                  <a:lnTo>
                    <a:pt x="20" y="61"/>
                  </a:lnTo>
                  <a:lnTo>
                    <a:pt x="20" y="75"/>
                  </a:lnTo>
                  <a:lnTo>
                    <a:pt x="28" y="75"/>
                  </a:lnTo>
                  <a:lnTo>
                    <a:pt x="28" y="149"/>
                  </a:lnTo>
                  <a:lnTo>
                    <a:pt x="20" y="149"/>
                  </a:lnTo>
                  <a:lnTo>
                    <a:pt x="20" y="159"/>
                  </a:lnTo>
                  <a:lnTo>
                    <a:pt x="12" y="159"/>
                  </a:lnTo>
                  <a:lnTo>
                    <a:pt x="12" y="169"/>
                  </a:lnTo>
                  <a:lnTo>
                    <a:pt x="4" y="169"/>
                  </a:lnTo>
                  <a:lnTo>
                    <a:pt x="4" y="179"/>
                  </a:lnTo>
                  <a:lnTo>
                    <a:pt x="0" y="179"/>
                  </a:lnTo>
                  <a:lnTo>
                    <a:pt x="0" y="187"/>
                  </a:lnTo>
                  <a:lnTo>
                    <a:pt x="203" y="187"/>
                  </a:lnTo>
                  <a:lnTo>
                    <a:pt x="203" y="179"/>
                  </a:lnTo>
                  <a:lnTo>
                    <a:pt x="197" y="179"/>
                  </a:lnTo>
                  <a:lnTo>
                    <a:pt x="197" y="169"/>
                  </a:lnTo>
                  <a:lnTo>
                    <a:pt x="191" y="169"/>
                  </a:lnTo>
                  <a:lnTo>
                    <a:pt x="191" y="159"/>
                  </a:lnTo>
                  <a:lnTo>
                    <a:pt x="185" y="159"/>
                  </a:lnTo>
                  <a:lnTo>
                    <a:pt x="185" y="149"/>
                  </a:lnTo>
                  <a:lnTo>
                    <a:pt x="177" y="149"/>
                  </a:lnTo>
                  <a:lnTo>
                    <a:pt x="177" y="75"/>
                  </a:lnTo>
                  <a:lnTo>
                    <a:pt x="185" y="75"/>
                  </a:lnTo>
                  <a:lnTo>
                    <a:pt x="185" y="61"/>
                  </a:lnTo>
                  <a:lnTo>
                    <a:pt x="144" y="61"/>
                  </a:lnTo>
                  <a:lnTo>
                    <a:pt x="144" y="75"/>
                  </a:lnTo>
                  <a:lnTo>
                    <a:pt x="153" y="75"/>
                  </a:lnTo>
                  <a:lnTo>
                    <a:pt x="153" y="149"/>
                  </a:lnTo>
                  <a:lnTo>
                    <a:pt x="144" y="149"/>
                  </a:lnTo>
                  <a:lnTo>
                    <a:pt x="144" y="159"/>
                  </a:lnTo>
                  <a:lnTo>
                    <a:pt x="124" y="159"/>
                  </a:lnTo>
                  <a:lnTo>
                    <a:pt x="124" y="108"/>
                  </a:lnTo>
                  <a:lnTo>
                    <a:pt x="106" y="108"/>
                  </a:lnTo>
                  <a:lnTo>
                    <a:pt x="106" y="159"/>
                  </a:lnTo>
                  <a:lnTo>
                    <a:pt x="100" y="159"/>
                  </a:lnTo>
                  <a:lnTo>
                    <a:pt x="100" y="108"/>
                  </a:lnTo>
                  <a:lnTo>
                    <a:pt x="81" y="108"/>
                  </a:lnTo>
                  <a:lnTo>
                    <a:pt x="81" y="159"/>
                  </a:lnTo>
                  <a:lnTo>
                    <a:pt x="61" y="159"/>
                  </a:lnTo>
                  <a:lnTo>
                    <a:pt x="61" y="149"/>
                  </a:lnTo>
                  <a:lnTo>
                    <a:pt x="53" y="149"/>
                  </a:lnTo>
                  <a:lnTo>
                    <a:pt x="53" y="149"/>
                  </a:lnTo>
                  <a:close/>
                  <a:moveTo>
                    <a:pt x="102" y="0"/>
                  </a:moveTo>
                  <a:lnTo>
                    <a:pt x="163" y="29"/>
                  </a:lnTo>
                  <a:lnTo>
                    <a:pt x="201" y="45"/>
                  </a:lnTo>
                  <a:lnTo>
                    <a:pt x="201" y="57"/>
                  </a:lnTo>
                  <a:lnTo>
                    <a:pt x="102" y="57"/>
                  </a:lnTo>
                  <a:lnTo>
                    <a:pt x="2" y="57"/>
                  </a:lnTo>
                  <a:lnTo>
                    <a:pt x="2" y="45"/>
                  </a:lnTo>
                  <a:lnTo>
                    <a:pt x="41" y="29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8" name="任意多边形 7"/>
            <p:cNvSpPr>
              <a:spLocks/>
            </p:cNvSpPr>
            <p:nvPr/>
          </p:nvSpPr>
          <p:spPr>
            <a:xfrm flipV="1">
              <a:off x="6079972" y="2171432"/>
              <a:ext cx="4669672" cy="45719"/>
            </a:xfrm>
            <a:custGeom>
              <a:avLst/>
              <a:gdLst>
                <a:gd name="connsiteX0" fmla="*/ 0 w 10694504"/>
                <a:gd name="connsiteY0" fmla="*/ 0 h 0"/>
                <a:gd name="connsiteX1" fmla="*/ 10694504 w 1069450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4504">
                  <a:moveTo>
                    <a:pt x="0" y="0"/>
                  </a:moveTo>
                  <a:lnTo>
                    <a:pt x="10694504" y="0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文本框 8"/>
            <p:cNvSpPr txBox="1"/>
            <p:nvPr/>
          </p:nvSpPr>
          <p:spPr>
            <a:xfrm>
              <a:off x="6996754" y="2587775"/>
              <a:ext cx="349173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地址</a:t>
              </a:r>
              <a:r>
                <a:rPr lang="zh-CN" altLang="en-US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此处添加地址</a:t>
              </a:r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任意多边形 9"/>
            <p:cNvSpPr>
              <a:spLocks/>
            </p:cNvSpPr>
            <p:nvPr/>
          </p:nvSpPr>
          <p:spPr>
            <a:xfrm>
              <a:off x="6079972" y="3322653"/>
              <a:ext cx="4669672" cy="45719"/>
            </a:xfrm>
            <a:custGeom>
              <a:avLst/>
              <a:gdLst>
                <a:gd name="connsiteX0" fmla="*/ 0 w 10694504"/>
                <a:gd name="connsiteY0" fmla="*/ 0 h 0"/>
                <a:gd name="connsiteX1" fmla="*/ 10694504 w 1069450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4504">
                  <a:moveTo>
                    <a:pt x="0" y="0"/>
                  </a:moveTo>
                  <a:lnTo>
                    <a:pt x="10694504" y="0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6996754" y="3683600"/>
              <a:ext cx="320370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联系电话</a:t>
              </a:r>
              <a:r>
                <a:rPr lang="zh-CN" altLang="en-US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2345678976</a:t>
              </a:r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任意多边形 11"/>
            <p:cNvSpPr>
              <a:spLocks/>
            </p:cNvSpPr>
            <p:nvPr/>
          </p:nvSpPr>
          <p:spPr>
            <a:xfrm>
              <a:off x="6079972" y="4500252"/>
              <a:ext cx="4669672" cy="45719"/>
            </a:xfrm>
            <a:custGeom>
              <a:avLst/>
              <a:gdLst>
                <a:gd name="connsiteX0" fmla="*/ 0 w 10694504"/>
                <a:gd name="connsiteY0" fmla="*/ 0 h 0"/>
                <a:gd name="connsiteX1" fmla="*/ 10694504 w 1069450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694504">
                  <a:moveTo>
                    <a:pt x="0" y="0"/>
                  </a:moveTo>
                  <a:lnTo>
                    <a:pt x="10694504" y="0"/>
                  </a:lnTo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6996754" y="4927618"/>
              <a:ext cx="320370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邮件</a:t>
              </a:r>
              <a:r>
                <a:rPr lang="zh-CN" altLang="en-US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en-US" altLang="zh-CN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asds@email.com</a:t>
              </a:r>
              <a:endParaRPr lang="zh-CN" altLang="en-US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Freeform 29"/>
            <p:cNvSpPr>
              <a:spLocks noEditPoints="1"/>
            </p:cNvSpPr>
            <p:nvPr/>
          </p:nvSpPr>
          <p:spPr bwMode="auto">
            <a:xfrm>
              <a:off x="6342590" y="4763720"/>
              <a:ext cx="510148" cy="526872"/>
            </a:xfrm>
            <a:custGeom>
              <a:avLst/>
              <a:gdLst>
                <a:gd name="T0" fmla="*/ 86 w 90"/>
                <a:gd name="T1" fmla="*/ 38 h 93"/>
                <a:gd name="T2" fmla="*/ 90 w 90"/>
                <a:gd name="T3" fmla="*/ 46 h 93"/>
                <a:gd name="T4" fmla="*/ 90 w 90"/>
                <a:gd name="T5" fmla="*/ 83 h 93"/>
                <a:gd name="T6" fmla="*/ 81 w 90"/>
                <a:gd name="T7" fmla="*/ 93 h 93"/>
                <a:gd name="T8" fmla="*/ 9 w 90"/>
                <a:gd name="T9" fmla="*/ 93 h 93"/>
                <a:gd name="T10" fmla="*/ 0 w 90"/>
                <a:gd name="T11" fmla="*/ 83 h 93"/>
                <a:gd name="T12" fmla="*/ 0 w 90"/>
                <a:gd name="T13" fmla="*/ 46 h 93"/>
                <a:gd name="T14" fmla="*/ 2 w 90"/>
                <a:gd name="T15" fmla="*/ 40 h 93"/>
                <a:gd name="T16" fmla="*/ 2 w 90"/>
                <a:gd name="T17" fmla="*/ 40 h 93"/>
                <a:gd name="T18" fmla="*/ 2 w 90"/>
                <a:gd name="T19" fmla="*/ 40 h 93"/>
                <a:gd name="T20" fmla="*/ 3 w 90"/>
                <a:gd name="T21" fmla="*/ 39 h 93"/>
                <a:gd name="T22" fmla="*/ 39 w 90"/>
                <a:gd name="T23" fmla="*/ 3 h 93"/>
                <a:gd name="T24" fmla="*/ 50 w 90"/>
                <a:gd name="T25" fmla="*/ 3 h 93"/>
                <a:gd name="T26" fmla="*/ 86 w 90"/>
                <a:gd name="T27" fmla="*/ 38 h 93"/>
                <a:gd name="T28" fmla="*/ 15 w 90"/>
                <a:gd name="T29" fmla="*/ 30 h 93"/>
                <a:gd name="T30" fmla="*/ 15 w 90"/>
                <a:gd name="T31" fmla="*/ 52 h 93"/>
                <a:gd name="T32" fmla="*/ 45 w 90"/>
                <a:gd name="T33" fmla="*/ 75 h 93"/>
                <a:gd name="T34" fmla="*/ 72 w 90"/>
                <a:gd name="T35" fmla="*/ 54 h 93"/>
                <a:gd name="T36" fmla="*/ 72 w 90"/>
                <a:gd name="T37" fmla="*/ 30 h 93"/>
                <a:gd name="T38" fmla="*/ 15 w 90"/>
                <a:gd name="T39" fmla="*/ 30 h 93"/>
                <a:gd name="T40" fmla="*/ 25 w 90"/>
                <a:gd name="T41" fmla="*/ 35 h 93"/>
                <a:gd name="T42" fmla="*/ 25 w 90"/>
                <a:gd name="T43" fmla="*/ 39 h 93"/>
                <a:gd name="T44" fmla="*/ 63 w 90"/>
                <a:gd name="T45" fmla="*/ 39 h 93"/>
                <a:gd name="T46" fmla="*/ 63 w 90"/>
                <a:gd name="T47" fmla="*/ 35 h 93"/>
                <a:gd name="T48" fmla="*/ 25 w 90"/>
                <a:gd name="T49" fmla="*/ 35 h 93"/>
                <a:gd name="T50" fmla="*/ 25 w 90"/>
                <a:gd name="T51" fmla="*/ 51 h 93"/>
                <a:gd name="T52" fmla="*/ 25 w 90"/>
                <a:gd name="T53" fmla="*/ 55 h 93"/>
                <a:gd name="T54" fmla="*/ 63 w 90"/>
                <a:gd name="T55" fmla="*/ 55 h 93"/>
                <a:gd name="T56" fmla="*/ 63 w 90"/>
                <a:gd name="T57" fmla="*/ 51 h 93"/>
                <a:gd name="T58" fmla="*/ 25 w 90"/>
                <a:gd name="T59" fmla="*/ 51 h 93"/>
                <a:gd name="T60" fmla="*/ 25 w 90"/>
                <a:gd name="T61" fmla="*/ 43 h 93"/>
                <a:gd name="T62" fmla="*/ 25 w 90"/>
                <a:gd name="T63" fmla="*/ 47 h 93"/>
                <a:gd name="T64" fmla="*/ 63 w 90"/>
                <a:gd name="T65" fmla="*/ 47 h 93"/>
                <a:gd name="T66" fmla="*/ 63 w 90"/>
                <a:gd name="T67" fmla="*/ 43 h 93"/>
                <a:gd name="T68" fmla="*/ 25 w 90"/>
                <a:gd name="T69" fmla="*/ 43 h 93"/>
                <a:gd name="T70" fmla="*/ 10 w 90"/>
                <a:gd name="T71" fmla="*/ 87 h 93"/>
                <a:gd name="T72" fmla="*/ 28 w 90"/>
                <a:gd name="T73" fmla="*/ 69 h 93"/>
                <a:gd name="T74" fmla="*/ 28 w 90"/>
                <a:gd name="T75" fmla="*/ 67 h 93"/>
                <a:gd name="T76" fmla="*/ 25 w 90"/>
                <a:gd name="T77" fmla="*/ 67 h 93"/>
                <a:gd name="T78" fmla="*/ 7 w 90"/>
                <a:gd name="T79" fmla="*/ 84 h 93"/>
                <a:gd name="T80" fmla="*/ 7 w 90"/>
                <a:gd name="T81" fmla="*/ 87 h 93"/>
                <a:gd name="T82" fmla="*/ 10 w 90"/>
                <a:gd name="T83" fmla="*/ 87 h 93"/>
                <a:gd name="T84" fmla="*/ 84 w 90"/>
                <a:gd name="T85" fmla="*/ 84 h 93"/>
                <a:gd name="T86" fmla="*/ 66 w 90"/>
                <a:gd name="T87" fmla="*/ 67 h 93"/>
                <a:gd name="T88" fmla="*/ 63 w 90"/>
                <a:gd name="T89" fmla="*/ 67 h 93"/>
                <a:gd name="T90" fmla="*/ 63 w 90"/>
                <a:gd name="T91" fmla="*/ 69 h 93"/>
                <a:gd name="T92" fmla="*/ 81 w 90"/>
                <a:gd name="T93" fmla="*/ 87 h 93"/>
                <a:gd name="T94" fmla="*/ 84 w 90"/>
                <a:gd name="T95" fmla="*/ 87 h 93"/>
                <a:gd name="T96" fmla="*/ 84 w 90"/>
                <a:gd name="T97" fmla="*/ 8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" h="93">
                  <a:moveTo>
                    <a:pt x="86" y="38"/>
                  </a:moveTo>
                  <a:cubicBezTo>
                    <a:pt x="88" y="40"/>
                    <a:pt x="90" y="43"/>
                    <a:pt x="90" y="46"/>
                  </a:cubicBezTo>
                  <a:cubicBezTo>
                    <a:pt x="90" y="83"/>
                    <a:pt x="90" y="83"/>
                    <a:pt x="90" y="83"/>
                  </a:cubicBezTo>
                  <a:cubicBezTo>
                    <a:pt x="90" y="88"/>
                    <a:pt x="86" y="93"/>
                    <a:pt x="81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4" y="93"/>
                    <a:pt x="0" y="88"/>
                    <a:pt x="0" y="83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4"/>
                    <a:pt x="1" y="41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2" y="39"/>
                    <a:pt x="2" y="39"/>
                    <a:pt x="3" y="39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43" y="0"/>
                    <a:pt x="46" y="0"/>
                    <a:pt x="50" y="3"/>
                  </a:cubicBezTo>
                  <a:cubicBezTo>
                    <a:pt x="86" y="38"/>
                    <a:pt x="86" y="38"/>
                    <a:pt x="86" y="38"/>
                  </a:cubicBezTo>
                  <a:close/>
                  <a:moveTo>
                    <a:pt x="15" y="30"/>
                  </a:moveTo>
                  <a:cubicBezTo>
                    <a:pt x="15" y="52"/>
                    <a:pt x="15" y="52"/>
                    <a:pt x="15" y="52"/>
                  </a:cubicBezTo>
                  <a:cubicBezTo>
                    <a:pt x="45" y="75"/>
                    <a:pt x="45" y="75"/>
                    <a:pt x="45" y="75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15" y="30"/>
                    <a:pt x="15" y="30"/>
                    <a:pt x="15" y="30"/>
                  </a:cubicBezTo>
                  <a:close/>
                  <a:moveTo>
                    <a:pt x="25" y="35"/>
                  </a:moveTo>
                  <a:cubicBezTo>
                    <a:pt x="25" y="39"/>
                    <a:pt x="25" y="39"/>
                    <a:pt x="25" y="39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25" y="35"/>
                    <a:pt x="25" y="35"/>
                    <a:pt x="25" y="35"/>
                  </a:cubicBezTo>
                  <a:close/>
                  <a:moveTo>
                    <a:pt x="25" y="51"/>
                  </a:moveTo>
                  <a:cubicBezTo>
                    <a:pt x="25" y="55"/>
                    <a:pt x="25" y="55"/>
                    <a:pt x="25" y="55"/>
                  </a:cubicBezTo>
                  <a:cubicBezTo>
                    <a:pt x="63" y="55"/>
                    <a:pt x="63" y="55"/>
                    <a:pt x="63" y="55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25" y="51"/>
                    <a:pt x="25" y="51"/>
                    <a:pt x="25" y="51"/>
                  </a:cubicBezTo>
                  <a:close/>
                  <a:moveTo>
                    <a:pt x="25" y="43"/>
                  </a:moveTo>
                  <a:cubicBezTo>
                    <a:pt x="25" y="47"/>
                    <a:pt x="25" y="47"/>
                    <a:pt x="25" y="47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25" y="43"/>
                    <a:pt x="25" y="43"/>
                    <a:pt x="25" y="43"/>
                  </a:cubicBezTo>
                  <a:close/>
                  <a:moveTo>
                    <a:pt x="10" y="87"/>
                  </a:move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8"/>
                    <a:pt x="28" y="67"/>
                  </a:cubicBezTo>
                  <a:cubicBezTo>
                    <a:pt x="27" y="66"/>
                    <a:pt x="26" y="66"/>
                    <a:pt x="25" y="67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6" y="85"/>
                    <a:pt x="6" y="86"/>
                    <a:pt x="7" y="87"/>
                  </a:cubicBezTo>
                  <a:cubicBezTo>
                    <a:pt x="8" y="87"/>
                    <a:pt x="9" y="87"/>
                    <a:pt x="10" y="87"/>
                  </a:cubicBezTo>
                  <a:close/>
                  <a:moveTo>
                    <a:pt x="84" y="84"/>
                  </a:moveTo>
                  <a:cubicBezTo>
                    <a:pt x="66" y="67"/>
                    <a:pt x="66" y="67"/>
                    <a:pt x="66" y="67"/>
                  </a:cubicBezTo>
                  <a:cubicBezTo>
                    <a:pt x="65" y="66"/>
                    <a:pt x="64" y="66"/>
                    <a:pt x="63" y="67"/>
                  </a:cubicBezTo>
                  <a:cubicBezTo>
                    <a:pt x="62" y="68"/>
                    <a:pt x="62" y="69"/>
                    <a:pt x="63" y="69"/>
                  </a:cubicBezTo>
                  <a:cubicBezTo>
                    <a:pt x="81" y="87"/>
                    <a:pt x="81" y="87"/>
                    <a:pt x="81" y="87"/>
                  </a:cubicBezTo>
                  <a:cubicBezTo>
                    <a:pt x="82" y="87"/>
                    <a:pt x="83" y="87"/>
                    <a:pt x="84" y="87"/>
                  </a:cubicBezTo>
                  <a:cubicBezTo>
                    <a:pt x="85" y="86"/>
                    <a:pt x="85" y="85"/>
                    <a:pt x="84" y="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" name="Freeform 39"/>
            <p:cNvSpPr>
              <a:spLocks noEditPoints="1"/>
            </p:cNvSpPr>
            <p:nvPr/>
          </p:nvSpPr>
          <p:spPr bwMode="auto">
            <a:xfrm>
              <a:off x="6327395" y="3683600"/>
              <a:ext cx="518510" cy="446028"/>
            </a:xfrm>
            <a:custGeom>
              <a:avLst/>
              <a:gdLst>
                <a:gd name="T0" fmla="*/ 7 w 91"/>
                <a:gd name="T1" fmla="*/ 11 h 79"/>
                <a:gd name="T2" fmla="*/ 17 w 91"/>
                <a:gd name="T3" fmla="*/ 73 h 79"/>
                <a:gd name="T4" fmla="*/ 39 w 91"/>
                <a:gd name="T5" fmla="*/ 63 h 79"/>
                <a:gd name="T6" fmla="*/ 91 w 91"/>
                <a:gd name="T7" fmla="*/ 11 h 79"/>
                <a:gd name="T8" fmla="*/ 49 w 91"/>
                <a:gd name="T9" fmla="*/ 21 h 79"/>
                <a:gd name="T10" fmla="*/ 91 w 91"/>
                <a:gd name="T11" fmla="*/ 36 h 79"/>
                <a:gd name="T12" fmla="*/ 0 w 91"/>
                <a:gd name="T13" fmla="*/ 79 h 79"/>
                <a:gd name="T14" fmla="*/ 17 w 91"/>
                <a:gd name="T15" fmla="*/ 0 h 79"/>
                <a:gd name="T16" fmla="*/ 12 w 91"/>
                <a:gd name="T17" fmla="*/ 63 h 79"/>
                <a:gd name="T18" fmla="*/ 28 w 91"/>
                <a:gd name="T19" fmla="*/ 68 h 79"/>
                <a:gd name="T20" fmla="*/ 34 w 91"/>
                <a:gd name="T21" fmla="*/ 6 h 79"/>
                <a:gd name="T22" fmla="*/ 17 w 91"/>
                <a:gd name="T23" fmla="*/ 0 h 79"/>
                <a:gd name="T24" fmla="*/ 74 w 91"/>
                <a:gd name="T25" fmla="*/ 68 h 79"/>
                <a:gd name="T26" fmla="*/ 84 w 91"/>
                <a:gd name="T27" fmla="*/ 61 h 79"/>
                <a:gd name="T28" fmla="*/ 61 w 91"/>
                <a:gd name="T29" fmla="*/ 61 h 79"/>
                <a:gd name="T30" fmla="*/ 71 w 91"/>
                <a:gd name="T31" fmla="*/ 68 h 79"/>
                <a:gd name="T32" fmla="*/ 61 w 91"/>
                <a:gd name="T33" fmla="*/ 61 h 79"/>
                <a:gd name="T34" fmla="*/ 49 w 91"/>
                <a:gd name="T35" fmla="*/ 68 h 79"/>
                <a:gd name="T36" fmla="*/ 59 w 91"/>
                <a:gd name="T37" fmla="*/ 61 h 79"/>
                <a:gd name="T38" fmla="*/ 74 w 91"/>
                <a:gd name="T39" fmla="*/ 52 h 79"/>
                <a:gd name="T40" fmla="*/ 84 w 91"/>
                <a:gd name="T41" fmla="*/ 59 h 79"/>
                <a:gd name="T42" fmla="*/ 74 w 91"/>
                <a:gd name="T43" fmla="*/ 52 h 79"/>
                <a:gd name="T44" fmla="*/ 61 w 91"/>
                <a:gd name="T45" fmla="*/ 59 h 79"/>
                <a:gd name="T46" fmla="*/ 71 w 91"/>
                <a:gd name="T47" fmla="*/ 52 h 79"/>
                <a:gd name="T48" fmla="*/ 49 w 91"/>
                <a:gd name="T49" fmla="*/ 52 h 79"/>
                <a:gd name="T50" fmla="*/ 58 w 91"/>
                <a:gd name="T51" fmla="*/ 59 h 79"/>
                <a:gd name="T52" fmla="*/ 49 w 91"/>
                <a:gd name="T53" fmla="*/ 52 h 79"/>
                <a:gd name="T54" fmla="*/ 74 w 91"/>
                <a:gd name="T55" fmla="*/ 48 h 79"/>
                <a:gd name="T56" fmla="*/ 84 w 91"/>
                <a:gd name="T57" fmla="*/ 41 h 79"/>
                <a:gd name="T58" fmla="*/ 61 w 91"/>
                <a:gd name="T59" fmla="*/ 41 h 79"/>
                <a:gd name="T60" fmla="*/ 71 w 91"/>
                <a:gd name="T61" fmla="*/ 48 h 79"/>
                <a:gd name="T62" fmla="*/ 61 w 91"/>
                <a:gd name="T63" fmla="*/ 41 h 79"/>
                <a:gd name="T64" fmla="*/ 49 w 91"/>
                <a:gd name="T65" fmla="*/ 48 h 79"/>
                <a:gd name="T66" fmla="*/ 58 w 91"/>
                <a:gd name="T67" fmla="*/ 4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1" h="79">
                  <a:moveTo>
                    <a:pt x="0" y="11"/>
                  </a:moveTo>
                  <a:cubicBezTo>
                    <a:pt x="7" y="11"/>
                    <a:pt x="7" y="11"/>
                    <a:pt x="7" y="11"/>
                  </a:cubicBezTo>
                  <a:cubicBezTo>
                    <a:pt x="7" y="63"/>
                    <a:pt x="7" y="63"/>
                    <a:pt x="7" y="63"/>
                  </a:cubicBezTo>
                  <a:cubicBezTo>
                    <a:pt x="7" y="68"/>
                    <a:pt x="12" y="73"/>
                    <a:pt x="17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34" y="73"/>
                    <a:pt x="39" y="68"/>
                    <a:pt x="39" y="63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91" y="11"/>
                    <a:pt x="91" y="11"/>
                    <a:pt x="91" y="11"/>
                  </a:cubicBezTo>
                  <a:cubicBezTo>
                    <a:pt x="91" y="21"/>
                    <a:pt x="91" y="21"/>
                    <a:pt x="91" y="21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91" y="36"/>
                    <a:pt x="91" y="36"/>
                    <a:pt x="91" y="36"/>
                  </a:cubicBezTo>
                  <a:cubicBezTo>
                    <a:pt x="91" y="79"/>
                    <a:pt x="91" y="79"/>
                    <a:pt x="91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11"/>
                    <a:pt x="0" y="11"/>
                    <a:pt x="0" y="11"/>
                  </a:cubicBezTo>
                  <a:close/>
                  <a:moveTo>
                    <a:pt x="17" y="0"/>
                  </a:moveTo>
                  <a:cubicBezTo>
                    <a:pt x="14" y="0"/>
                    <a:pt x="12" y="3"/>
                    <a:pt x="12" y="6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6"/>
                    <a:pt x="14" y="68"/>
                    <a:pt x="17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1" y="68"/>
                    <a:pt x="34" y="66"/>
                    <a:pt x="34" y="63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3"/>
                    <a:pt x="31" y="0"/>
                    <a:pt x="28" y="0"/>
                  </a:cubicBezTo>
                  <a:cubicBezTo>
                    <a:pt x="17" y="0"/>
                    <a:pt x="17" y="0"/>
                    <a:pt x="17" y="0"/>
                  </a:cubicBezTo>
                  <a:close/>
                  <a:moveTo>
                    <a:pt x="74" y="61"/>
                  </a:moveTo>
                  <a:cubicBezTo>
                    <a:pt x="74" y="68"/>
                    <a:pt x="74" y="68"/>
                    <a:pt x="74" y="68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74" y="61"/>
                    <a:pt x="74" y="61"/>
                    <a:pt x="74" y="61"/>
                  </a:cubicBezTo>
                  <a:close/>
                  <a:moveTo>
                    <a:pt x="61" y="61"/>
                  </a:moveTo>
                  <a:cubicBezTo>
                    <a:pt x="61" y="68"/>
                    <a:pt x="61" y="68"/>
                    <a:pt x="61" y="68"/>
                  </a:cubicBezTo>
                  <a:cubicBezTo>
                    <a:pt x="71" y="68"/>
                    <a:pt x="71" y="68"/>
                    <a:pt x="71" y="68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61" y="61"/>
                    <a:pt x="61" y="61"/>
                    <a:pt x="61" y="61"/>
                  </a:cubicBezTo>
                  <a:close/>
                  <a:moveTo>
                    <a:pt x="49" y="61"/>
                  </a:moveTo>
                  <a:cubicBezTo>
                    <a:pt x="49" y="68"/>
                    <a:pt x="49" y="68"/>
                    <a:pt x="49" y="68"/>
                  </a:cubicBezTo>
                  <a:cubicBezTo>
                    <a:pt x="59" y="68"/>
                    <a:pt x="59" y="68"/>
                    <a:pt x="59" y="68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49" y="61"/>
                    <a:pt x="49" y="61"/>
                    <a:pt x="49" y="61"/>
                  </a:cubicBezTo>
                  <a:close/>
                  <a:moveTo>
                    <a:pt x="74" y="52"/>
                  </a:moveTo>
                  <a:cubicBezTo>
                    <a:pt x="74" y="59"/>
                    <a:pt x="74" y="59"/>
                    <a:pt x="74" y="59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4" y="52"/>
                    <a:pt x="74" y="52"/>
                    <a:pt x="74" y="52"/>
                  </a:cubicBezTo>
                  <a:close/>
                  <a:moveTo>
                    <a:pt x="61" y="52"/>
                  </a:moveTo>
                  <a:cubicBezTo>
                    <a:pt x="61" y="59"/>
                    <a:pt x="61" y="59"/>
                    <a:pt x="6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61" y="52"/>
                    <a:pt x="61" y="52"/>
                    <a:pt x="61" y="52"/>
                  </a:cubicBezTo>
                  <a:close/>
                  <a:moveTo>
                    <a:pt x="49" y="52"/>
                  </a:moveTo>
                  <a:cubicBezTo>
                    <a:pt x="49" y="59"/>
                    <a:pt x="49" y="59"/>
                    <a:pt x="49" y="59"/>
                  </a:cubicBezTo>
                  <a:cubicBezTo>
                    <a:pt x="58" y="59"/>
                    <a:pt x="58" y="59"/>
                    <a:pt x="58" y="5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49" y="52"/>
                    <a:pt x="49" y="52"/>
                    <a:pt x="49" y="52"/>
                  </a:cubicBezTo>
                  <a:close/>
                  <a:moveTo>
                    <a:pt x="74" y="41"/>
                  </a:moveTo>
                  <a:cubicBezTo>
                    <a:pt x="74" y="48"/>
                    <a:pt x="74" y="48"/>
                    <a:pt x="7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1"/>
                    <a:pt x="84" y="41"/>
                    <a:pt x="8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61" y="41"/>
                  </a:moveTo>
                  <a:cubicBezTo>
                    <a:pt x="61" y="48"/>
                    <a:pt x="61" y="48"/>
                    <a:pt x="6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61" y="41"/>
                    <a:pt x="61" y="41"/>
                    <a:pt x="61" y="41"/>
                  </a:cubicBezTo>
                  <a:close/>
                  <a:moveTo>
                    <a:pt x="49" y="41"/>
                  </a:moveTo>
                  <a:cubicBezTo>
                    <a:pt x="49" y="48"/>
                    <a:pt x="49" y="48"/>
                    <a:pt x="49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58" y="41"/>
                    <a:pt x="58" y="41"/>
                    <a:pt x="58" y="41"/>
                  </a:cubicBezTo>
                  <a:lnTo>
                    <a:pt x="49" y="4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00" name="图片 99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418552" y="2440381"/>
            <a:ext cx="3477116" cy="2587621"/>
          </a:xfrm>
          <a:prstGeom prst="rect">
            <a:avLst/>
          </a:prstGeom>
          <a:ln w="15875">
            <a:solidFill>
              <a:schemeClr val="bg1"/>
            </a:solidFill>
          </a:ln>
        </p:spPr>
      </p:pic>
      <p:sp>
        <p:nvSpPr>
          <p:cNvPr id="98" name="泪滴形 6"/>
          <p:cNvSpPr/>
          <p:nvPr/>
        </p:nvSpPr>
        <p:spPr>
          <a:xfrm rot="8100000">
            <a:off x="4028709" y="2451856"/>
            <a:ext cx="877452" cy="877452"/>
          </a:xfrm>
          <a:custGeom>
            <a:avLst/>
            <a:gdLst/>
            <a:ahLst/>
            <a:cxnLst/>
            <a:rect l="l" t="t" r="r" b="b"/>
            <a:pathLst>
              <a:path w="905054" h="905054">
                <a:moveTo>
                  <a:pt x="298698" y="606357"/>
                </a:moveTo>
                <a:cubicBezTo>
                  <a:pt x="383655" y="691314"/>
                  <a:pt x="521400" y="691314"/>
                  <a:pt x="606357" y="606357"/>
                </a:cubicBezTo>
                <a:cubicBezTo>
                  <a:pt x="691315" y="521399"/>
                  <a:pt x="691315" y="383655"/>
                  <a:pt x="606357" y="298698"/>
                </a:cubicBezTo>
                <a:cubicBezTo>
                  <a:pt x="521400" y="213740"/>
                  <a:pt x="383655" y="213740"/>
                  <a:pt x="298698" y="298698"/>
                </a:cubicBezTo>
                <a:cubicBezTo>
                  <a:pt x="213740" y="383655"/>
                  <a:pt x="213740" y="521399"/>
                  <a:pt x="298698" y="606357"/>
                </a:cubicBezTo>
                <a:close/>
                <a:moveTo>
                  <a:pt x="132542" y="772512"/>
                </a:moveTo>
                <a:cubicBezTo>
                  <a:pt x="50651" y="690621"/>
                  <a:pt x="0" y="577489"/>
                  <a:pt x="0" y="452527"/>
                </a:cubicBezTo>
                <a:lnTo>
                  <a:pt x="1" y="452527"/>
                </a:lnTo>
                <a:cubicBezTo>
                  <a:pt x="1" y="202603"/>
                  <a:pt x="202604" y="0"/>
                  <a:pt x="452528" y="0"/>
                </a:cubicBezTo>
                <a:lnTo>
                  <a:pt x="905054" y="0"/>
                </a:lnTo>
                <a:lnTo>
                  <a:pt x="905054" y="452527"/>
                </a:lnTo>
                <a:cubicBezTo>
                  <a:pt x="905054" y="702451"/>
                  <a:pt x="702451" y="905054"/>
                  <a:pt x="452527" y="905054"/>
                </a:cubicBezTo>
                <a:cubicBezTo>
                  <a:pt x="327565" y="905054"/>
                  <a:pt x="214433" y="854403"/>
                  <a:pt x="132542" y="772512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2" name="同心圆 101"/>
          <p:cNvSpPr/>
          <p:nvPr/>
        </p:nvSpPr>
        <p:spPr>
          <a:xfrm>
            <a:off x="4323419" y="3617075"/>
            <a:ext cx="288032" cy="288032"/>
          </a:xfrm>
          <a:prstGeom prst="donu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20821718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 dir="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2184936" y="1628800"/>
            <a:ext cx="7822129" cy="3128604"/>
            <a:chOff x="3143672" y="1628800"/>
            <a:chExt cx="7822129" cy="3128604"/>
          </a:xfrm>
        </p:grpSpPr>
        <p:grpSp>
          <p:nvGrpSpPr>
            <p:cNvPr id="3" name="组合 2"/>
            <p:cNvGrpSpPr/>
            <p:nvPr/>
          </p:nvGrpSpPr>
          <p:grpSpPr>
            <a:xfrm>
              <a:off x="8112224" y="1628800"/>
              <a:ext cx="2853577" cy="3128604"/>
              <a:chOff x="8580276" y="1196752"/>
              <a:chExt cx="2853577" cy="3128604"/>
            </a:xfrm>
          </p:grpSpPr>
          <p:sp>
            <p:nvSpPr>
              <p:cNvPr id="6" name="Freeform 7"/>
              <p:cNvSpPr>
                <a:spLocks noEditPoints="1"/>
              </p:cNvSpPr>
              <p:nvPr/>
            </p:nvSpPr>
            <p:spPr bwMode="auto">
              <a:xfrm>
                <a:off x="8580276" y="1196752"/>
                <a:ext cx="2088232" cy="3128604"/>
              </a:xfrm>
              <a:custGeom>
                <a:avLst/>
                <a:gdLst>
                  <a:gd name="T0" fmla="*/ 1698 w 1899"/>
                  <a:gd name="T1" fmla="*/ 2844 h 2844"/>
                  <a:gd name="T2" fmla="*/ 1542 w 1899"/>
                  <a:gd name="T3" fmla="*/ 2534 h 2844"/>
                  <a:gd name="T4" fmla="*/ 1215 w 1899"/>
                  <a:gd name="T5" fmla="*/ 1897 h 2844"/>
                  <a:gd name="T6" fmla="*/ 889 w 1899"/>
                  <a:gd name="T7" fmla="*/ 1925 h 2844"/>
                  <a:gd name="T8" fmla="*/ 946 w 1899"/>
                  <a:gd name="T9" fmla="*/ 2844 h 2844"/>
                  <a:gd name="T10" fmla="*/ 372 w 1899"/>
                  <a:gd name="T11" fmla="*/ 1673 h 2844"/>
                  <a:gd name="T12" fmla="*/ 338 w 1899"/>
                  <a:gd name="T13" fmla="*/ 2235 h 2844"/>
                  <a:gd name="T14" fmla="*/ 271 w 1899"/>
                  <a:gd name="T15" fmla="*/ 2298 h 2844"/>
                  <a:gd name="T16" fmla="*/ 347 w 1899"/>
                  <a:gd name="T17" fmla="*/ 1360 h 2844"/>
                  <a:gd name="T18" fmla="*/ 522 w 1899"/>
                  <a:gd name="T19" fmla="*/ 1634 h 2844"/>
                  <a:gd name="T20" fmla="*/ 599 w 1899"/>
                  <a:gd name="T21" fmla="*/ 1650 h 2844"/>
                  <a:gd name="T22" fmla="*/ 796 w 1899"/>
                  <a:gd name="T23" fmla="*/ 1317 h 2844"/>
                  <a:gd name="T24" fmla="*/ 1875 w 1899"/>
                  <a:gd name="T25" fmla="*/ 1280 h 2844"/>
                  <a:gd name="T26" fmla="*/ 1731 w 1899"/>
                  <a:gd name="T27" fmla="*/ 1406 h 2844"/>
                  <a:gd name="T28" fmla="*/ 1651 w 1899"/>
                  <a:gd name="T29" fmla="*/ 2054 h 2844"/>
                  <a:gd name="T30" fmla="*/ 1591 w 1899"/>
                  <a:gd name="T31" fmla="*/ 2153 h 2844"/>
                  <a:gd name="T32" fmla="*/ 1372 w 1899"/>
                  <a:gd name="T33" fmla="*/ 2844 h 2844"/>
                  <a:gd name="T34" fmla="*/ 1196 w 1899"/>
                  <a:gd name="T35" fmla="*/ 1816 h 2844"/>
                  <a:gd name="T36" fmla="*/ 1818 w 1899"/>
                  <a:gd name="T37" fmla="*/ 1360 h 2844"/>
                  <a:gd name="T38" fmla="*/ 1568 w 1899"/>
                  <a:gd name="T39" fmla="*/ 1701 h 2844"/>
                  <a:gd name="T40" fmla="*/ 1442 w 1899"/>
                  <a:gd name="T41" fmla="*/ 1374 h 2844"/>
                  <a:gd name="T42" fmla="*/ 1554 w 1899"/>
                  <a:gd name="T43" fmla="*/ 1581 h 2844"/>
                  <a:gd name="T44" fmla="*/ 1513 w 1899"/>
                  <a:gd name="T45" fmla="*/ 1471 h 2844"/>
                  <a:gd name="T46" fmla="*/ 1289 w 1899"/>
                  <a:gd name="T47" fmla="*/ 1358 h 2844"/>
                  <a:gd name="T48" fmla="*/ 1728 w 1899"/>
                  <a:gd name="T49" fmla="*/ 1420 h 2844"/>
                  <a:gd name="T50" fmla="*/ 563 w 1899"/>
                  <a:gd name="T51" fmla="*/ 376 h 2844"/>
                  <a:gd name="T52" fmla="*/ 729 w 1899"/>
                  <a:gd name="T53" fmla="*/ 840 h 2844"/>
                  <a:gd name="T54" fmla="*/ 709 w 1899"/>
                  <a:gd name="T55" fmla="*/ 1066 h 2844"/>
                  <a:gd name="T56" fmla="*/ 751 w 1899"/>
                  <a:gd name="T57" fmla="*/ 1109 h 2844"/>
                  <a:gd name="T58" fmla="*/ 587 w 1899"/>
                  <a:gd name="T59" fmla="*/ 381 h 2844"/>
                  <a:gd name="T60" fmla="*/ 647 w 1899"/>
                  <a:gd name="T61" fmla="*/ 138 h 2844"/>
                  <a:gd name="T62" fmla="*/ 869 w 1899"/>
                  <a:gd name="T63" fmla="*/ 272 h 2844"/>
                  <a:gd name="T64" fmla="*/ 349 w 1899"/>
                  <a:gd name="T65" fmla="*/ 487 h 2844"/>
                  <a:gd name="T66" fmla="*/ 295 w 1899"/>
                  <a:gd name="T67" fmla="*/ 212 h 2844"/>
                  <a:gd name="T68" fmla="*/ 282 w 1899"/>
                  <a:gd name="T69" fmla="*/ 519 h 2844"/>
                  <a:gd name="T70" fmla="*/ 215 w 1899"/>
                  <a:gd name="T71" fmla="*/ 805 h 2844"/>
                  <a:gd name="T72" fmla="*/ 378 w 1899"/>
                  <a:gd name="T73" fmla="*/ 832 h 2844"/>
                  <a:gd name="T74" fmla="*/ 381 w 1899"/>
                  <a:gd name="T75" fmla="*/ 1257 h 2844"/>
                  <a:gd name="T76" fmla="*/ 739 w 1899"/>
                  <a:gd name="T77" fmla="*/ 1258 h 2844"/>
                  <a:gd name="T78" fmla="*/ 308 w 1899"/>
                  <a:gd name="T79" fmla="*/ 605 h 2844"/>
                  <a:gd name="T80" fmla="*/ 345 w 1899"/>
                  <a:gd name="T81" fmla="*/ 576 h 2844"/>
                  <a:gd name="T82" fmla="*/ 359 w 1899"/>
                  <a:gd name="T83" fmla="*/ 556 h 2844"/>
                  <a:gd name="T84" fmla="*/ 305 w 1899"/>
                  <a:gd name="T85" fmla="*/ 600 h 28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899" h="2844">
                    <a:moveTo>
                      <a:pt x="1595" y="2167"/>
                    </a:moveTo>
                    <a:cubicBezTo>
                      <a:pt x="1537" y="2343"/>
                      <a:pt x="1659" y="2596"/>
                      <a:pt x="1700" y="2685"/>
                    </a:cubicBezTo>
                    <a:cubicBezTo>
                      <a:pt x="1681" y="2732"/>
                      <a:pt x="1688" y="2796"/>
                      <a:pt x="1698" y="2844"/>
                    </a:cubicBezTo>
                    <a:cubicBezTo>
                      <a:pt x="1582" y="2844"/>
                      <a:pt x="1582" y="2844"/>
                      <a:pt x="1582" y="2844"/>
                    </a:cubicBezTo>
                    <a:cubicBezTo>
                      <a:pt x="1560" y="2743"/>
                      <a:pt x="1607" y="2706"/>
                      <a:pt x="1618" y="2684"/>
                    </a:cubicBezTo>
                    <a:cubicBezTo>
                      <a:pt x="1599" y="2649"/>
                      <a:pt x="1570" y="2596"/>
                      <a:pt x="1542" y="2534"/>
                    </a:cubicBezTo>
                    <a:cubicBezTo>
                      <a:pt x="1533" y="2422"/>
                      <a:pt x="1540" y="2279"/>
                      <a:pt x="1595" y="2167"/>
                    </a:cubicBezTo>
                    <a:close/>
                    <a:moveTo>
                      <a:pt x="1196" y="1816"/>
                    </a:moveTo>
                    <a:cubicBezTo>
                      <a:pt x="1208" y="1839"/>
                      <a:pt x="1215" y="1866"/>
                      <a:pt x="1215" y="1897"/>
                    </a:cubicBezTo>
                    <a:cubicBezTo>
                      <a:pt x="1191" y="1803"/>
                      <a:pt x="1078" y="1773"/>
                      <a:pt x="1003" y="1812"/>
                    </a:cubicBezTo>
                    <a:cubicBezTo>
                      <a:pt x="1035" y="1818"/>
                      <a:pt x="1066" y="1843"/>
                      <a:pt x="1084" y="1887"/>
                    </a:cubicBezTo>
                    <a:cubicBezTo>
                      <a:pt x="1031" y="1815"/>
                      <a:pt x="921" y="1849"/>
                      <a:pt x="889" y="1925"/>
                    </a:cubicBezTo>
                    <a:cubicBezTo>
                      <a:pt x="857" y="2032"/>
                      <a:pt x="908" y="2178"/>
                      <a:pt x="969" y="2261"/>
                    </a:cubicBezTo>
                    <a:cubicBezTo>
                      <a:pt x="970" y="2341"/>
                      <a:pt x="978" y="2555"/>
                      <a:pt x="979" y="2695"/>
                    </a:cubicBezTo>
                    <a:cubicBezTo>
                      <a:pt x="954" y="2718"/>
                      <a:pt x="946" y="2762"/>
                      <a:pt x="946" y="2844"/>
                    </a:cubicBezTo>
                    <a:cubicBezTo>
                      <a:pt x="921" y="2844"/>
                      <a:pt x="856" y="2844"/>
                      <a:pt x="831" y="2844"/>
                    </a:cubicBezTo>
                    <a:cubicBezTo>
                      <a:pt x="827" y="2783"/>
                      <a:pt x="847" y="2730"/>
                      <a:pt x="893" y="2692"/>
                    </a:cubicBezTo>
                    <a:cubicBezTo>
                      <a:pt x="934" y="2168"/>
                      <a:pt x="534" y="2036"/>
                      <a:pt x="372" y="1673"/>
                    </a:cubicBezTo>
                    <a:cubicBezTo>
                      <a:pt x="395" y="1755"/>
                      <a:pt x="432" y="1825"/>
                      <a:pt x="475" y="1890"/>
                    </a:cubicBezTo>
                    <a:cubicBezTo>
                      <a:pt x="314" y="1741"/>
                      <a:pt x="185" y="1795"/>
                      <a:pt x="174" y="1887"/>
                    </a:cubicBezTo>
                    <a:cubicBezTo>
                      <a:pt x="164" y="1984"/>
                      <a:pt x="213" y="2077"/>
                      <a:pt x="338" y="2235"/>
                    </a:cubicBezTo>
                    <a:cubicBezTo>
                      <a:pt x="331" y="2274"/>
                      <a:pt x="366" y="2345"/>
                      <a:pt x="403" y="2377"/>
                    </a:cubicBezTo>
                    <a:cubicBezTo>
                      <a:pt x="384" y="2395"/>
                      <a:pt x="334" y="2444"/>
                      <a:pt x="315" y="2463"/>
                    </a:cubicBezTo>
                    <a:cubicBezTo>
                      <a:pt x="279" y="2413"/>
                      <a:pt x="255" y="2364"/>
                      <a:pt x="271" y="2298"/>
                    </a:cubicBezTo>
                    <a:cubicBezTo>
                      <a:pt x="183" y="2098"/>
                      <a:pt x="0" y="1999"/>
                      <a:pt x="54" y="1807"/>
                    </a:cubicBezTo>
                    <a:cubicBezTo>
                      <a:pt x="75" y="1730"/>
                      <a:pt x="177" y="1637"/>
                      <a:pt x="335" y="1566"/>
                    </a:cubicBezTo>
                    <a:cubicBezTo>
                      <a:pt x="322" y="1498"/>
                      <a:pt x="329" y="1429"/>
                      <a:pt x="347" y="1360"/>
                    </a:cubicBezTo>
                    <a:cubicBezTo>
                      <a:pt x="389" y="1437"/>
                      <a:pt x="456" y="1522"/>
                      <a:pt x="549" y="1557"/>
                    </a:cubicBezTo>
                    <a:cubicBezTo>
                      <a:pt x="518" y="1566"/>
                      <a:pt x="523" y="1608"/>
                      <a:pt x="488" y="1627"/>
                    </a:cubicBezTo>
                    <a:cubicBezTo>
                      <a:pt x="522" y="1634"/>
                      <a:pt x="522" y="1634"/>
                      <a:pt x="522" y="1634"/>
                    </a:cubicBezTo>
                    <a:cubicBezTo>
                      <a:pt x="521" y="1641"/>
                      <a:pt x="518" y="1659"/>
                      <a:pt x="539" y="1663"/>
                    </a:cubicBezTo>
                    <a:cubicBezTo>
                      <a:pt x="560" y="1667"/>
                      <a:pt x="564" y="1650"/>
                      <a:pt x="566" y="1643"/>
                    </a:cubicBezTo>
                    <a:cubicBezTo>
                      <a:pt x="599" y="1650"/>
                      <a:pt x="599" y="1650"/>
                      <a:pt x="599" y="1650"/>
                    </a:cubicBezTo>
                    <a:cubicBezTo>
                      <a:pt x="574" y="1617"/>
                      <a:pt x="598" y="1577"/>
                      <a:pt x="567" y="1559"/>
                    </a:cubicBezTo>
                    <a:cubicBezTo>
                      <a:pt x="649" y="1538"/>
                      <a:pt x="782" y="1404"/>
                      <a:pt x="796" y="1317"/>
                    </a:cubicBezTo>
                    <a:cubicBezTo>
                      <a:pt x="796" y="1317"/>
                      <a:pt x="796" y="1317"/>
                      <a:pt x="796" y="1317"/>
                    </a:cubicBezTo>
                    <a:cubicBezTo>
                      <a:pt x="906" y="1368"/>
                      <a:pt x="1139" y="1332"/>
                      <a:pt x="1276" y="1287"/>
                    </a:cubicBezTo>
                    <a:cubicBezTo>
                      <a:pt x="1342" y="1265"/>
                      <a:pt x="1389" y="1247"/>
                      <a:pt x="1464" y="1257"/>
                    </a:cubicBezTo>
                    <a:cubicBezTo>
                      <a:pt x="1646" y="1271"/>
                      <a:pt x="1796" y="1355"/>
                      <a:pt x="1875" y="1280"/>
                    </a:cubicBezTo>
                    <a:cubicBezTo>
                      <a:pt x="1899" y="1336"/>
                      <a:pt x="1863" y="1404"/>
                      <a:pt x="1812" y="1407"/>
                    </a:cubicBezTo>
                    <a:cubicBezTo>
                      <a:pt x="1827" y="1415"/>
                      <a:pt x="1839" y="1416"/>
                      <a:pt x="1861" y="1413"/>
                    </a:cubicBezTo>
                    <a:cubicBezTo>
                      <a:pt x="1841" y="1453"/>
                      <a:pt x="1762" y="1437"/>
                      <a:pt x="1731" y="1406"/>
                    </a:cubicBezTo>
                    <a:cubicBezTo>
                      <a:pt x="1737" y="1429"/>
                      <a:pt x="1759" y="1445"/>
                      <a:pt x="1775" y="1449"/>
                    </a:cubicBezTo>
                    <a:cubicBezTo>
                      <a:pt x="1741" y="1462"/>
                      <a:pt x="1710" y="1450"/>
                      <a:pt x="1681" y="1428"/>
                    </a:cubicBezTo>
                    <a:cubicBezTo>
                      <a:pt x="1772" y="1637"/>
                      <a:pt x="1529" y="1906"/>
                      <a:pt x="1651" y="2054"/>
                    </a:cubicBezTo>
                    <a:cubicBezTo>
                      <a:pt x="1614" y="2038"/>
                      <a:pt x="1586" y="1984"/>
                      <a:pt x="1586" y="1944"/>
                    </a:cubicBezTo>
                    <a:cubicBezTo>
                      <a:pt x="1576" y="1971"/>
                      <a:pt x="1590" y="2162"/>
                      <a:pt x="1670" y="2207"/>
                    </a:cubicBezTo>
                    <a:cubicBezTo>
                      <a:pt x="1644" y="2211"/>
                      <a:pt x="1605" y="2175"/>
                      <a:pt x="1591" y="2153"/>
                    </a:cubicBezTo>
                    <a:cubicBezTo>
                      <a:pt x="1484" y="2329"/>
                      <a:pt x="1498" y="2593"/>
                      <a:pt x="1522" y="2685"/>
                    </a:cubicBezTo>
                    <a:cubicBezTo>
                      <a:pt x="1493" y="2732"/>
                      <a:pt x="1487" y="2796"/>
                      <a:pt x="1487" y="2844"/>
                    </a:cubicBezTo>
                    <a:cubicBezTo>
                      <a:pt x="1462" y="2844"/>
                      <a:pt x="1397" y="2844"/>
                      <a:pt x="1372" y="2844"/>
                    </a:cubicBezTo>
                    <a:cubicBezTo>
                      <a:pt x="1366" y="2743"/>
                      <a:pt x="1422" y="2706"/>
                      <a:pt x="1440" y="2684"/>
                    </a:cubicBezTo>
                    <a:cubicBezTo>
                      <a:pt x="1403" y="2584"/>
                      <a:pt x="1372" y="2325"/>
                      <a:pt x="1417" y="2136"/>
                    </a:cubicBezTo>
                    <a:cubicBezTo>
                      <a:pt x="1401" y="1993"/>
                      <a:pt x="1305" y="1868"/>
                      <a:pt x="1196" y="1816"/>
                    </a:cubicBezTo>
                    <a:close/>
                    <a:moveTo>
                      <a:pt x="1818" y="1360"/>
                    </a:moveTo>
                    <a:cubicBezTo>
                      <a:pt x="1791" y="1425"/>
                      <a:pt x="1698" y="1399"/>
                      <a:pt x="1678" y="1332"/>
                    </a:cubicBezTo>
                    <a:cubicBezTo>
                      <a:pt x="1707" y="1380"/>
                      <a:pt x="1787" y="1390"/>
                      <a:pt x="1818" y="1360"/>
                    </a:cubicBezTo>
                    <a:close/>
                    <a:moveTo>
                      <a:pt x="1568" y="1701"/>
                    </a:moveTo>
                    <a:cubicBezTo>
                      <a:pt x="1601" y="1725"/>
                      <a:pt x="1594" y="1819"/>
                      <a:pt x="1562" y="1842"/>
                    </a:cubicBezTo>
                    <a:cubicBezTo>
                      <a:pt x="1584" y="1811"/>
                      <a:pt x="1584" y="1730"/>
                      <a:pt x="1568" y="1701"/>
                    </a:cubicBezTo>
                    <a:close/>
                    <a:moveTo>
                      <a:pt x="1442" y="1374"/>
                    </a:moveTo>
                    <a:cubicBezTo>
                      <a:pt x="1505" y="1313"/>
                      <a:pt x="1644" y="1445"/>
                      <a:pt x="1654" y="1559"/>
                    </a:cubicBezTo>
                    <a:cubicBezTo>
                      <a:pt x="1623" y="1462"/>
                      <a:pt x="1500" y="1365"/>
                      <a:pt x="1442" y="1374"/>
                    </a:cubicBezTo>
                    <a:close/>
                    <a:moveTo>
                      <a:pt x="1554" y="1581"/>
                    </a:moveTo>
                    <a:cubicBezTo>
                      <a:pt x="1621" y="1573"/>
                      <a:pt x="1646" y="1719"/>
                      <a:pt x="1600" y="1794"/>
                    </a:cubicBezTo>
                    <a:cubicBezTo>
                      <a:pt x="1626" y="1720"/>
                      <a:pt x="1594" y="1603"/>
                      <a:pt x="1554" y="1581"/>
                    </a:cubicBezTo>
                    <a:close/>
                    <a:moveTo>
                      <a:pt x="1513" y="1471"/>
                    </a:moveTo>
                    <a:cubicBezTo>
                      <a:pt x="1588" y="1438"/>
                      <a:pt x="1667" y="1600"/>
                      <a:pt x="1638" y="1703"/>
                    </a:cubicBezTo>
                    <a:cubicBezTo>
                      <a:pt x="1644" y="1608"/>
                      <a:pt x="1567" y="1482"/>
                      <a:pt x="1513" y="1471"/>
                    </a:cubicBezTo>
                    <a:close/>
                    <a:moveTo>
                      <a:pt x="1289" y="1358"/>
                    </a:moveTo>
                    <a:cubicBezTo>
                      <a:pt x="1328" y="1246"/>
                      <a:pt x="1565" y="1289"/>
                      <a:pt x="1640" y="1405"/>
                    </a:cubicBezTo>
                    <a:cubicBezTo>
                      <a:pt x="1550" y="1322"/>
                      <a:pt x="1351" y="1306"/>
                      <a:pt x="1289" y="1358"/>
                    </a:cubicBezTo>
                    <a:close/>
                    <a:moveTo>
                      <a:pt x="1728" y="1420"/>
                    </a:moveTo>
                    <a:cubicBezTo>
                      <a:pt x="1699" y="1439"/>
                      <a:pt x="1650" y="1391"/>
                      <a:pt x="1652" y="1352"/>
                    </a:cubicBezTo>
                    <a:cubicBezTo>
                      <a:pt x="1659" y="1385"/>
                      <a:pt x="1704" y="1422"/>
                      <a:pt x="1728" y="1420"/>
                    </a:cubicBezTo>
                    <a:close/>
                    <a:moveTo>
                      <a:pt x="563" y="376"/>
                    </a:moveTo>
                    <a:cubicBezTo>
                      <a:pt x="528" y="325"/>
                      <a:pt x="466" y="381"/>
                      <a:pt x="466" y="451"/>
                    </a:cubicBezTo>
                    <a:cubicBezTo>
                      <a:pt x="476" y="396"/>
                      <a:pt x="533" y="359"/>
                      <a:pt x="563" y="376"/>
                    </a:cubicBezTo>
                    <a:close/>
                    <a:moveTo>
                      <a:pt x="729" y="840"/>
                    </a:moveTo>
                    <a:cubicBezTo>
                      <a:pt x="739" y="915"/>
                      <a:pt x="705" y="1052"/>
                      <a:pt x="783" y="1117"/>
                    </a:cubicBezTo>
                    <a:cubicBezTo>
                      <a:pt x="729" y="1043"/>
                      <a:pt x="756" y="895"/>
                      <a:pt x="729" y="840"/>
                    </a:cubicBezTo>
                    <a:close/>
                    <a:moveTo>
                      <a:pt x="709" y="1066"/>
                    </a:moveTo>
                    <a:cubicBezTo>
                      <a:pt x="670" y="1112"/>
                      <a:pt x="705" y="1197"/>
                      <a:pt x="758" y="1219"/>
                    </a:cubicBezTo>
                    <a:cubicBezTo>
                      <a:pt x="723" y="1199"/>
                      <a:pt x="695" y="1104"/>
                      <a:pt x="709" y="1066"/>
                    </a:cubicBezTo>
                    <a:close/>
                    <a:moveTo>
                      <a:pt x="735" y="1228"/>
                    </a:moveTo>
                    <a:cubicBezTo>
                      <a:pt x="756" y="1268"/>
                      <a:pt x="777" y="1284"/>
                      <a:pt x="820" y="1293"/>
                    </a:cubicBezTo>
                    <a:cubicBezTo>
                      <a:pt x="786" y="1271"/>
                      <a:pt x="757" y="1197"/>
                      <a:pt x="751" y="1109"/>
                    </a:cubicBezTo>
                    <a:cubicBezTo>
                      <a:pt x="768" y="1145"/>
                      <a:pt x="799" y="1157"/>
                      <a:pt x="813" y="1155"/>
                    </a:cubicBezTo>
                    <a:cubicBezTo>
                      <a:pt x="732" y="1113"/>
                      <a:pt x="898" y="667"/>
                      <a:pt x="491" y="462"/>
                    </a:cubicBezTo>
                    <a:cubicBezTo>
                      <a:pt x="497" y="406"/>
                      <a:pt x="575" y="434"/>
                      <a:pt x="587" y="381"/>
                    </a:cubicBezTo>
                    <a:cubicBezTo>
                      <a:pt x="605" y="299"/>
                      <a:pt x="487" y="308"/>
                      <a:pt x="451" y="411"/>
                    </a:cubicBezTo>
                    <a:cubicBezTo>
                      <a:pt x="442" y="365"/>
                      <a:pt x="451" y="313"/>
                      <a:pt x="477" y="261"/>
                    </a:cubicBezTo>
                    <a:cubicBezTo>
                      <a:pt x="519" y="177"/>
                      <a:pt x="583" y="142"/>
                      <a:pt x="647" y="138"/>
                    </a:cubicBezTo>
                    <a:cubicBezTo>
                      <a:pt x="685" y="156"/>
                      <a:pt x="717" y="184"/>
                      <a:pt x="733" y="215"/>
                    </a:cubicBezTo>
                    <a:cubicBezTo>
                      <a:pt x="727" y="187"/>
                      <a:pt x="713" y="161"/>
                      <a:pt x="694" y="140"/>
                    </a:cubicBezTo>
                    <a:cubicBezTo>
                      <a:pt x="775" y="153"/>
                      <a:pt x="849" y="210"/>
                      <a:pt x="869" y="272"/>
                    </a:cubicBezTo>
                    <a:cubicBezTo>
                      <a:pt x="858" y="101"/>
                      <a:pt x="580" y="0"/>
                      <a:pt x="432" y="195"/>
                    </a:cubicBezTo>
                    <a:cubicBezTo>
                      <a:pt x="359" y="293"/>
                      <a:pt x="358" y="406"/>
                      <a:pt x="382" y="476"/>
                    </a:cubicBezTo>
                    <a:cubicBezTo>
                      <a:pt x="371" y="479"/>
                      <a:pt x="360" y="483"/>
                      <a:pt x="349" y="487"/>
                    </a:cubicBezTo>
                    <a:cubicBezTo>
                      <a:pt x="314" y="421"/>
                      <a:pt x="305" y="293"/>
                      <a:pt x="390" y="185"/>
                    </a:cubicBezTo>
                    <a:cubicBezTo>
                      <a:pt x="446" y="113"/>
                      <a:pt x="522" y="82"/>
                      <a:pt x="596" y="80"/>
                    </a:cubicBezTo>
                    <a:cubicBezTo>
                      <a:pt x="494" y="49"/>
                      <a:pt x="362" y="81"/>
                      <a:pt x="295" y="212"/>
                    </a:cubicBezTo>
                    <a:cubicBezTo>
                      <a:pt x="261" y="279"/>
                      <a:pt x="254" y="346"/>
                      <a:pt x="263" y="404"/>
                    </a:cubicBezTo>
                    <a:cubicBezTo>
                      <a:pt x="226" y="388"/>
                      <a:pt x="190" y="402"/>
                      <a:pt x="197" y="450"/>
                    </a:cubicBezTo>
                    <a:cubicBezTo>
                      <a:pt x="204" y="496"/>
                      <a:pt x="265" y="486"/>
                      <a:pt x="282" y="519"/>
                    </a:cubicBezTo>
                    <a:cubicBezTo>
                      <a:pt x="139" y="600"/>
                      <a:pt x="42" y="740"/>
                      <a:pt x="109" y="775"/>
                    </a:cubicBezTo>
                    <a:cubicBezTo>
                      <a:pt x="92" y="831"/>
                      <a:pt x="146" y="869"/>
                      <a:pt x="203" y="850"/>
                    </a:cubicBezTo>
                    <a:cubicBezTo>
                      <a:pt x="205" y="832"/>
                      <a:pt x="209" y="817"/>
                      <a:pt x="215" y="805"/>
                    </a:cubicBezTo>
                    <a:cubicBezTo>
                      <a:pt x="290" y="767"/>
                      <a:pt x="354" y="864"/>
                      <a:pt x="314" y="913"/>
                    </a:cubicBezTo>
                    <a:cubicBezTo>
                      <a:pt x="370" y="886"/>
                      <a:pt x="365" y="813"/>
                      <a:pt x="341" y="792"/>
                    </a:cubicBezTo>
                    <a:cubicBezTo>
                      <a:pt x="350" y="795"/>
                      <a:pt x="368" y="805"/>
                      <a:pt x="378" y="832"/>
                    </a:cubicBezTo>
                    <a:cubicBezTo>
                      <a:pt x="379" y="804"/>
                      <a:pt x="365" y="763"/>
                      <a:pt x="313" y="743"/>
                    </a:cubicBezTo>
                    <a:cubicBezTo>
                      <a:pt x="381" y="731"/>
                      <a:pt x="460" y="740"/>
                      <a:pt x="484" y="688"/>
                    </a:cubicBezTo>
                    <a:cubicBezTo>
                      <a:pt x="567" y="870"/>
                      <a:pt x="454" y="1064"/>
                      <a:pt x="381" y="1257"/>
                    </a:cubicBezTo>
                    <a:cubicBezTo>
                      <a:pt x="393" y="1407"/>
                      <a:pt x="482" y="1520"/>
                      <a:pt x="558" y="1549"/>
                    </a:cubicBezTo>
                    <a:cubicBezTo>
                      <a:pt x="616" y="1530"/>
                      <a:pt x="773" y="1431"/>
                      <a:pt x="739" y="1258"/>
                    </a:cubicBezTo>
                    <a:cubicBezTo>
                      <a:pt x="739" y="1258"/>
                      <a:pt x="739" y="1258"/>
                      <a:pt x="739" y="1258"/>
                    </a:cubicBezTo>
                    <a:cubicBezTo>
                      <a:pt x="736" y="1249"/>
                      <a:pt x="735" y="1239"/>
                      <a:pt x="735" y="1228"/>
                    </a:cubicBezTo>
                    <a:close/>
                    <a:moveTo>
                      <a:pt x="305" y="600"/>
                    </a:moveTo>
                    <a:cubicBezTo>
                      <a:pt x="306" y="602"/>
                      <a:pt x="307" y="603"/>
                      <a:pt x="308" y="605"/>
                    </a:cubicBezTo>
                    <a:cubicBezTo>
                      <a:pt x="312" y="609"/>
                      <a:pt x="318" y="612"/>
                      <a:pt x="324" y="612"/>
                    </a:cubicBezTo>
                    <a:cubicBezTo>
                      <a:pt x="337" y="613"/>
                      <a:pt x="348" y="602"/>
                      <a:pt x="349" y="589"/>
                    </a:cubicBezTo>
                    <a:cubicBezTo>
                      <a:pt x="349" y="584"/>
                      <a:pt x="347" y="580"/>
                      <a:pt x="345" y="576"/>
                    </a:cubicBezTo>
                    <a:cubicBezTo>
                      <a:pt x="354" y="571"/>
                      <a:pt x="357" y="569"/>
                      <a:pt x="364" y="566"/>
                    </a:cubicBezTo>
                    <a:cubicBezTo>
                      <a:pt x="367" y="565"/>
                      <a:pt x="368" y="562"/>
                      <a:pt x="366" y="559"/>
                    </a:cubicBezTo>
                    <a:cubicBezTo>
                      <a:pt x="365" y="556"/>
                      <a:pt x="362" y="554"/>
                      <a:pt x="359" y="556"/>
                    </a:cubicBezTo>
                    <a:cubicBezTo>
                      <a:pt x="353" y="558"/>
                      <a:pt x="258" y="593"/>
                      <a:pt x="288" y="612"/>
                    </a:cubicBezTo>
                    <a:cubicBezTo>
                      <a:pt x="290" y="613"/>
                      <a:pt x="294" y="613"/>
                      <a:pt x="296" y="610"/>
                    </a:cubicBezTo>
                    <a:cubicBezTo>
                      <a:pt x="298" y="607"/>
                      <a:pt x="301" y="604"/>
                      <a:pt x="305" y="60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50800" dist="88900" dir="5400000" algn="t" rotWithShape="0">
                  <a:prstClr val="black">
                    <a:alpha val="88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grpSp>
            <p:nvGrpSpPr>
              <p:cNvPr id="31" name="组合 30"/>
              <p:cNvGrpSpPr/>
              <p:nvPr/>
            </p:nvGrpSpPr>
            <p:grpSpPr>
              <a:xfrm>
                <a:off x="9903163" y="1219994"/>
                <a:ext cx="1530690" cy="1129427"/>
                <a:chOff x="9236075" y="1695450"/>
                <a:chExt cx="1731963" cy="1277938"/>
              </a:xfrm>
            </p:grpSpPr>
            <p:sp>
              <p:nvSpPr>
                <p:cNvPr id="32" name="Freeform 8"/>
                <p:cNvSpPr>
                  <a:spLocks/>
                </p:cNvSpPr>
                <p:nvPr/>
              </p:nvSpPr>
              <p:spPr bwMode="auto">
                <a:xfrm>
                  <a:off x="9675813" y="1695450"/>
                  <a:ext cx="474663" cy="534987"/>
                </a:xfrm>
                <a:custGeom>
                  <a:avLst/>
                  <a:gdLst>
                    <a:gd name="T0" fmla="*/ 107 w 408"/>
                    <a:gd name="T1" fmla="*/ 307 h 458"/>
                    <a:gd name="T2" fmla="*/ 196 w 408"/>
                    <a:gd name="T3" fmla="*/ 275 h 458"/>
                    <a:gd name="T4" fmla="*/ 376 w 408"/>
                    <a:gd name="T5" fmla="*/ 196 h 458"/>
                    <a:gd name="T6" fmla="*/ 304 w 408"/>
                    <a:gd name="T7" fmla="*/ 26 h 458"/>
                    <a:gd name="T8" fmla="*/ 172 w 408"/>
                    <a:gd name="T9" fmla="*/ 14 h 458"/>
                    <a:gd name="T10" fmla="*/ 129 w 408"/>
                    <a:gd name="T11" fmla="*/ 96 h 458"/>
                    <a:gd name="T12" fmla="*/ 187 w 408"/>
                    <a:gd name="T13" fmla="*/ 125 h 458"/>
                    <a:gd name="T14" fmla="*/ 272 w 408"/>
                    <a:gd name="T15" fmla="*/ 83 h 458"/>
                    <a:gd name="T16" fmla="*/ 292 w 408"/>
                    <a:gd name="T17" fmla="*/ 158 h 458"/>
                    <a:gd name="T18" fmla="*/ 183 w 408"/>
                    <a:gd name="T19" fmla="*/ 212 h 458"/>
                    <a:gd name="T20" fmla="*/ 0 w 408"/>
                    <a:gd name="T21" fmla="*/ 343 h 458"/>
                    <a:gd name="T22" fmla="*/ 177 w 408"/>
                    <a:gd name="T23" fmla="*/ 433 h 458"/>
                    <a:gd name="T24" fmla="*/ 235 w 408"/>
                    <a:gd name="T25" fmla="*/ 458 h 458"/>
                    <a:gd name="T26" fmla="*/ 291 w 408"/>
                    <a:gd name="T27" fmla="*/ 347 h 458"/>
                    <a:gd name="T28" fmla="*/ 255 w 408"/>
                    <a:gd name="T29" fmla="*/ 328 h 458"/>
                    <a:gd name="T30" fmla="*/ 217 w 408"/>
                    <a:gd name="T31" fmla="*/ 363 h 458"/>
                    <a:gd name="T32" fmla="*/ 107 w 408"/>
                    <a:gd name="T33" fmla="*/ 307 h 4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08" h="458">
                      <a:moveTo>
                        <a:pt x="107" y="307"/>
                      </a:moveTo>
                      <a:cubicBezTo>
                        <a:pt x="125" y="285"/>
                        <a:pt x="162" y="278"/>
                        <a:pt x="196" y="275"/>
                      </a:cubicBezTo>
                      <a:cubicBezTo>
                        <a:pt x="259" y="269"/>
                        <a:pt x="343" y="262"/>
                        <a:pt x="376" y="196"/>
                      </a:cubicBezTo>
                      <a:cubicBezTo>
                        <a:pt x="408" y="134"/>
                        <a:pt x="396" y="73"/>
                        <a:pt x="304" y="26"/>
                      </a:cubicBezTo>
                      <a:cubicBezTo>
                        <a:pt x="260" y="4"/>
                        <a:pt x="214" y="0"/>
                        <a:pt x="172" y="14"/>
                      </a:cubicBezTo>
                      <a:cubicBezTo>
                        <a:pt x="152" y="45"/>
                        <a:pt x="145" y="60"/>
                        <a:pt x="129" y="96"/>
                      </a:cubicBezTo>
                      <a:cubicBezTo>
                        <a:pt x="149" y="109"/>
                        <a:pt x="165" y="117"/>
                        <a:pt x="187" y="125"/>
                      </a:cubicBezTo>
                      <a:cubicBezTo>
                        <a:pt x="215" y="68"/>
                        <a:pt x="246" y="69"/>
                        <a:pt x="272" y="83"/>
                      </a:cubicBezTo>
                      <a:cubicBezTo>
                        <a:pt x="301" y="98"/>
                        <a:pt x="307" y="130"/>
                        <a:pt x="292" y="158"/>
                      </a:cubicBezTo>
                      <a:cubicBezTo>
                        <a:pt x="269" y="201"/>
                        <a:pt x="225" y="207"/>
                        <a:pt x="183" y="212"/>
                      </a:cubicBezTo>
                      <a:cubicBezTo>
                        <a:pt x="84" y="227"/>
                        <a:pt x="41" y="255"/>
                        <a:pt x="0" y="343"/>
                      </a:cubicBezTo>
                      <a:cubicBezTo>
                        <a:pt x="177" y="433"/>
                        <a:pt x="177" y="433"/>
                        <a:pt x="177" y="433"/>
                      </a:cubicBezTo>
                      <a:cubicBezTo>
                        <a:pt x="197" y="443"/>
                        <a:pt x="213" y="451"/>
                        <a:pt x="235" y="458"/>
                      </a:cubicBezTo>
                      <a:cubicBezTo>
                        <a:pt x="257" y="423"/>
                        <a:pt x="276" y="385"/>
                        <a:pt x="291" y="347"/>
                      </a:cubicBezTo>
                      <a:cubicBezTo>
                        <a:pt x="255" y="328"/>
                        <a:pt x="255" y="328"/>
                        <a:pt x="255" y="328"/>
                      </a:cubicBezTo>
                      <a:cubicBezTo>
                        <a:pt x="241" y="338"/>
                        <a:pt x="230" y="349"/>
                        <a:pt x="217" y="363"/>
                      </a:cubicBezTo>
                      <a:cubicBezTo>
                        <a:pt x="107" y="307"/>
                        <a:pt x="107" y="307"/>
                        <a:pt x="107" y="30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3" name="Freeform 9"/>
                <p:cNvSpPr>
                  <a:spLocks/>
                </p:cNvSpPr>
                <p:nvPr/>
              </p:nvSpPr>
              <p:spPr bwMode="auto">
                <a:xfrm>
                  <a:off x="9979025" y="1798638"/>
                  <a:ext cx="109538" cy="155575"/>
                </a:xfrm>
                <a:custGeom>
                  <a:avLst/>
                  <a:gdLst>
                    <a:gd name="T0" fmla="*/ 0 w 93"/>
                    <a:gd name="T1" fmla="*/ 133 h 133"/>
                    <a:gd name="T2" fmla="*/ 67 w 93"/>
                    <a:gd name="T3" fmla="*/ 0 h 133"/>
                    <a:gd name="T4" fmla="*/ 80 w 93"/>
                    <a:gd name="T5" fmla="*/ 81 h 133"/>
                    <a:gd name="T6" fmla="*/ 0 w 93"/>
                    <a:gd name="T7" fmla="*/ 133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3" h="133">
                      <a:moveTo>
                        <a:pt x="0" y="133"/>
                      </a:moveTo>
                      <a:cubicBezTo>
                        <a:pt x="66" y="108"/>
                        <a:pt x="92" y="48"/>
                        <a:pt x="67" y="0"/>
                      </a:cubicBezTo>
                      <a:cubicBezTo>
                        <a:pt x="92" y="23"/>
                        <a:pt x="93" y="57"/>
                        <a:pt x="80" y="81"/>
                      </a:cubicBezTo>
                      <a:cubicBezTo>
                        <a:pt x="64" y="112"/>
                        <a:pt x="27" y="128"/>
                        <a:pt x="0" y="13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4" name="Freeform 10"/>
                <p:cNvSpPr>
                  <a:spLocks/>
                </p:cNvSpPr>
                <p:nvPr/>
              </p:nvSpPr>
              <p:spPr bwMode="auto">
                <a:xfrm>
                  <a:off x="9871075" y="1731963"/>
                  <a:ext cx="69850" cy="44450"/>
                </a:xfrm>
                <a:custGeom>
                  <a:avLst/>
                  <a:gdLst>
                    <a:gd name="T0" fmla="*/ 60 w 60"/>
                    <a:gd name="T1" fmla="*/ 3 h 38"/>
                    <a:gd name="T2" fmla="*/ 2 w 60"/>
                    <a:gd name="T3" fmla="*/ 38 h 38"/>
                    <a:gd name="T4" fmla="*/ 0 w 60"/>
                    <a:gd name="T5" fmla="*/ 37 h 38"/>
                    <a:gd name="T6" fmla="*/ 19 w 60"/>
                    <a:gd name="T7" fmla="*/ 5 h 38"/>
                    <a:gd name="T8" fmla="*/ 60 w 60"/>
                    <a:gd name="T9" fmla="*/ 3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0" h="38">
                      <a:moveTo>
                        <a:pt x="60" y="3"/>
                      </a:moveTo>
                      <a:cubicBezTo>
                        <a:pt x="35" y="5"/>
                        <a:pt x="17" y="21"/>
                        <a:pt x="2" y="38"/>
                      </a:cubicBez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5" y="27"/>
                        <a:pt x="11" y="15"/>
                        <a:pt x="19" y="5"/>
                      </a:cubicBezTo>
                      <a:cubicBezTo>
                        <a:pt x="33" y="2"/>
                        <a:pt x="45" y="0"/>
                        <a:pt x="60" y="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5" name="Freeform 11"/>
                <p:cNvSpPr>
                  <a:spLocks/>
                </p:cNvSpPr>
                <p:nvPr/>
              </p:nvSpPr>
              <p:spPr bwMode="auto">
                <a:xfrm>
                  <a:off x="9782175" y="2076450"/>
                  <a:ext cx="193675" cy="93662"/>
                </a:xfrm>
                <a:custGeom>
                  <a:avLst/>
                  <a:gdLst>
                    <a:gd name="T0" fmla="*/ 141 w 167"/>
                    <a:gd name="T1" fmla="*/ 80 h 80"/>
                    <a:gd name="T2" fmla="*/ 0 w 167"/>
                    <a:gd name="T3" fmla="*/ 8 h 80"/>
                    <a:gd name="T4" fmla="*/ 4 w 167"/>
                    <a:gd name="T5" fmla="*/ 0 h 80"/>
                    <a:gd name="T6" fmla="*/ 136 w 167"/>
                    <a:gd name="T7" fmla="*/ 67 h 80"/>
                    <a:gd name="T8" fmla="*/ 164 w 167"/>
                    <a:gd name="T9" fmla="*/ 29 h 80"/>
                    <a:gd name="T10" fmla="*/ 167 w 167"/>
                    <a:gd name="T11" fmla="*/ 30 h 80"/>
                    <a:gd name="T12" fmla="*/ 141 w 167"/>
                    <a:gd name="T13" fmla="*/ 80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7" h="80">
                      <a:moveTo>
                        <a:pt x="141" y="80"/>
                      </a:moveTo>
                      <a:cubicBezTo>
                        <a:pt x="0" y="8"/>
                        <a:pt x="0" y="8"/>
                        <a:pt x="0" y="8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136" y="67"/>
                        <a:pt x="136" y="67"/>
                        <a:pt x="136" y="67"/>
                      </a:cubicBezTo>
                      <a:cubicBezTo>
                        <a:pt x="145" y="52"/>
                        <a:pt x="152" y="42"/>
                        <a:pt x="164" y="29"/>
                      </a:cubicBezTo>
                      <a:cubicBezTo>
                        <a:pt x="167" y="30"/>
                        <a:pt x="167" y="30"/>
                        <a:pt x="167" y="30"/>
                      </a:cubicBezTo>
                      <a:cubicBezTo>
                        <a:pt x="141" y="80"/>
                        <a:pt x="141" y="80"/>
                        <a:pt x="141" y="8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6" name="任意多边形 35"/>
                <p:cNvSpPr>
                  <a:spLocks/>
                </p:cNvSpPr>
                <p:nvPr/>
              </p:nvSpPr>
              <p:spPr bwMode="auto">
                <a:xfrm>
                  <a:off x="10051214" y="1953170"/>
                  <a:ext cx="447340" cy="461140"/>
                </a:xfrm>
                <a:custGeom>
                  <a:avLst/>
                  <a:gdLst>
                    <a:gd name="connsiteX0" fmla="*/ 286370 w 447340"/>
                    <a:gd name="connsiteY0" fmla="*/ 87332 h 461140"/>
                    <a:gd name="connsiteX1" fmla="*/ 157161 w 447340"/>
                    <a:gd name="connsiteY1" fmla="*/ 177016 h 461140"/>
                    <a:gd name="connsiteX2" fmla="*/ 110638 w 447340"/>
                    <a:gd name="connsiteY2" fmla="*/ 360062 h 461140"/>
                    <a:gd name="connsiteX3" fmla="*/ 285098 w 447340"/>
                    <a:gd name="connsiteY3" fmla="*/ 286610 h 461140"/>
                    <a:gd name="connsiteX4" fmla="*/ 332784 w 447340"/>
                    <a:gd name="connsiteY4" fmla="*/ 103564 h 461140"/>
                    <a:gd name="connsiteX5" fmla="*/ 286370 w 447340"/>
                    <a:gd name="connsiteY5" fmla="*/ 87332 h 461140"/>
                    <a:gd name="connsiteX6" fmla="*/ 265982 w 447340"/>
                    <a:gd name="connsiteY6" fmla="*/ 70 h 461140"/>
                    <a:gd name="connsiteX7" fmla="*/ 381504 w 447340"/>
                    <a:gd name="connsiteY7" fmla="*/ 47502 h 461140"/>
                    <a:gd name="connsiteX8" fmla="*/ 371013 w 447340"/>
                    <a:gd name="connsiteY8" fmla="*/ 363031 h 461140"/>
                    <a:gd name="connsiteX9" fmla="*/ 63282 w 447340"/>
                    <a:gd name="connsiteY9" fmla="*/ 416788 h 461140"/>
                    <a:gd name="connsiteX10" fmla="*/ 71441 w 447340"/>
                    <a:gd name="connsiteY10" fmla="*/ 102428 h 461140"/>
                    <a:gd name="connsiteX11" fmla="*/ 265982 w 447340"/>
                    <a:gd name="connsiteY11" fmla="*/ 70 h 4611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47340" h="461140">
                      <a:moveTo>
                        <a:pt x="286370" y="87332"/>
                      </a:moveTo>
                      <a:cubicBezTo>
                        <a:pt x="238066" y="90010"/>
                        <a:pt x="186819" y="142039"/>
                        <a:pt x="157161" y="177016"/>
                      </a:cubicBezTo>
                      <a:cubicBezTo>
                        <a:pt x="116453" y="222486"/>
                        <a:pt x="54811" y="311094"/>
                        <a:pt x="110638" y="360062"/>
                      </a:cubicBezTo>
                      <a:cubicBezTo>
                        <a:pt x="167628" y="409030"/>
                        <a:pt x="244391" y="333247"/>
                        <a:pt x="285098" y="286610"/>
                      </a:cubicBezTo>
                      <a:cubicBezTo>
                        <a:pt x="325805" y="238808"/>
                        <a:pt x="389774" y="153698"/>
                        <a:pt x="332784" y="103564"/>
                      </a:cubicBezTo>
                      <a:cubicBezTo>
                        <a:pt x="318245" y="91030"/>
                        <a:pt x="302471" y="86440"/>
                        <a:pt x="286370" y="87332"/>
                      </a:cubicBezTo>
                      <a:close/>
                      <a:moveTo>
                        <a:pt x="265982" y="70"/>
                      </a:moveTo>
                      <a:cubicBezTo>
                        <a:pt x="306210" y="1214"/>
                        <a:pt x="345660" y="16388"/>
                        <a:pt x="381504" y="47502"/>
                      </a:cubicBezTo>
                      <a:cubicBezTo>
                        <a:pt x="477087" y="130475"/>
                        <a:pt x="464265" y="253181"/>
                        <a:pt x="371013" y="363031"/>
                      </a:cubicBezTo>
                      <a:cubicBezTo>
                        <a:pt x="276596" y="470545"/>
                        <a:pt x="149540" y="491580"/>
                        <a:pt x="63282" y="416788"/>
                      </a:cubicBezTo>
                      <a:cubicBezTo>
                        <a:pt x="-22976" y="341996"/>
                        <a:pt x="-21810" y="209941"/>
                        <a:pt x="71441" y="102428"/>
                      </a:cubicBezTo>
                      <a:cubicBezTo>
                        <a:pt x="129724" y="35232"/>
                        <a:pt x="198934" y="-1835"/>
                        <a:pt x="265982" y="7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7" name="Freeform 14"/>
                <p:cNvSpPr>
                  <a:spLocks/>
                </p:cNvSpPr>
                <p:nvPr/>
              </p:nvSpPr>
              <p:spPr bwMode="auto">
                <a:xfrm>
                  <a:off x="10079038" y="1990725"/>
                  <a:ext cx="227013" cy="246062"/>
                </a:xfrm>
                <a:custGeom>
                  <a:avLst/>
                  <a:gdLst>
                    <a:gd name="T0" fmla="*/ 195 w 195"/>
                    <a:gd name="T1" fmla="*/ 1 h 211"/>
                    <a:gd name="T2" fmla="*/ 8 w 195"/>
                    <a:gd name="T3" fmla="*/ 211 h 211"/>
                    <a:gd name="T4" fmla="*/ 195 w 195"/>
                    <a:gd name="T5" fmla="*/ 1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5" h="211">
                      <a:moveTo>
                        <a:pt x="195" y="1"/>
                      </a:moveTo>
                      <a:cubicBezTo>
                        <a:pt x="114" y="17"/>
                        <a:pt x="16" y="130"/>
                        <a:pt x="8" y="211"/>
                      </a:cubicBezTo>
                      <a:cubicBezTo>
                        <a:pt x="0" y="118"/>
                        <a:pt x="100" y="0"/>
                        <a:pt x="195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8" name="Freeform 15"/>
                <p:cNvSpPr>
                  <a:spLocks/>
                </p:cNvSpPr>
                <p:nvPr/>
              </p:nvSpPr>
              <p:spPr bwMode="auto">
                <a:xfrm>
                  <a:off x="10231438" y="2114550"/>
                  <a:ext cx="222250" cy="247650"/>
                </a:xfrm>
                <a:custGeom>
                  <a:avLst/>
                  <a:gdLst>
                    <a:gd name="T0" fmla="*/ 181 w 190"/>
                    <a:gd name="T1" fmla="*/ 0 h 212"/>
                    <a:gd name="T2" fmla="*/ 0 w 190"/>
                    <a:gd name="T3" fmla="*/ 212 h 212"/>
                    <a:gd name="T4" fmla="*/ 181 w 190"/>
                    <a:gd name="T5" fmla="*/ 0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0" h="212">
                      <a:moveTo>
                        <a:pt x="181" y="0"/>
                      </a:moveTo>
                      <a:cubicBezTo>
                        <a:pt x="190" y="89"/>
                        <a:pt x="85" y="204"/>
                        <a:pt x="0" y="212"/>
                      </a:cubicBezTo>
                      <a:cubicBezTo>
                        <a:pt x="76" y="187"/>
                        <a:pt x="170" y="79"/>
                        <a:pt x="181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39" name="Freeform 16"/>
                <p:cNvSpPr>
                  <a:spLocks/>
                </p:cNvSpPr>
                <p:nvPr/>
              </p:nvSpPr>
              <p:spPr bwMode="auto">
                <a:xfrm>
                  <a:off x="10260013" y="2260600"/>
                  <a:ext cx="488950" cy="439737"/>
                </a:xfrm>
                <a:custGeom>
                  <a:avLst/>
                  <a:gdLst>
                    <a:gd name="T0" fmla="*/ 300 w 420"/>
                    <a:gd name="T1" fmla="*/ 67 h 376"/>
                    <a:gd name="T2" fmla="*/ 300 w 420"/>
                    <a:gd name="T3" fmla="*/ 68 h 376"/>
                    <a:gd name="T4" fmla="*/ 82 w 420"/>
                    <a:gd name="T5" fmla="*/ 223 h 376"/>
                    <a:gd name="T6" fmla="*/ 37 w 420"/>
                    <a:gd name="T7" fmla="*/ 169 h 376"/>
                    <a:gd name="T8" fmla="*/ 0 w 420"/>
                    <a:gd name="T9" fmla="*/ 195 h 376"/>
                    <a:gd name="T10" fmla="*/ 128 w 420"/>
                    <a:gd name="T11" fmla="*/ 376 h 376"/>
                    <a:gd name="T12" fmla="*/ 165 w 420"/>
                    <a:gd name="T13" fmla="*/ 350 h 376"/>
                    <a:gd name="T14" fmla="*/ 131 w 420"/>
                    <a:gd name="T15" fmla="*/ 293 h 376"/>
                    <a:gd name="T16" fmla="*/ 420 w 420"/>
                    <a:gd name="T17" fmla="*/ 88 h 376"/>
                    <a:gd name="T18" fmla="*/ 376 w 420"/>
                    <a:gd name="T19" fmla="*/ 26 h 376"/>
                    <a:gd name="T20" fmla="*/ 255 w 420"/>
                    <a:gd name="T21" fmla="*/ 0 h 376"/>
                    <a:gd name="T22" fmla="*/ 239 w 420"/>
                    <a:gd name="T23" fmla="*/ 45 h 376"/>
                    <a:gd name="T24" fmla="*/ 278 w 420"/>
                    <a:gd name="T25" fmla="*/ 61 h 376"/>
                    <a:gd name="T26" fmla="*/ 300 w 420"/>
                    <a:gd name="T27" fmla="*/ 67 h 3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20" h="376">
                      <a:moveTo>
                        <a:pt x="300" y="67"/>
                      </a:moveTo>
                      <a:cubicBezTo>
                        <a:pt x="300" y="68"/>
                        <a:pt x="300" y="68"/>
                        <a:pt x="300" y="68"/>
                      </a:cubicBezTo>
                      <a:cubicBezTo>
                        <a:pt x="82" y="223"/>
                        <a:pt x="82" y="223"/>
                        <a:pt x="82" y="223"/>
                      </a:cubicBezTo>
                      <a:cubicBezTo>
                        <a:pt x="67" y="204"/>
                        <a:pt x="52" y="186"/>
                        <a:pt x="37" y="169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5" y="259"/>
                        <a:pt x="80" y="321"/>
                        <a:pt x="128" y="376"/>
                      </a:cubicBezTo>
                      <a:cubicBezTo>
                        <a:pt x="165" y="350"/>
                        <a:pt x="165" y="350"/>
                        <a:pt x="165" y="350"/>
                      </a:cubicBezTo>
                      <a:cubicBezTo>
                        <a:pt x="155" y="331"/>
                        <a:pt x="144" y="312"/>
                        <a:pt x="131" y="293"/>
                      </a:cubicBezTo>
                      <a:cubicBezTo>
                        <a:pt x="420" y="88"/>
                        <a:pt x="420" y="88"/>
                        <a:pt x="420" y="88"/>
                      </a:cubicBezTo>
                      <a:cubicBezTo>
                        <a:pt x="408" y="65"/>
                        <a:pt x="393" y="44"/>
                        <a:pt x="376" y="26"/>
                      </a:cubicBezTo>
                      <a:cubicBezTo>
                        <a:pt x="255" y="0"/>
                        <a:pt x="255" y="0"/>
                        <a:pt x="255" y="0"/>
                      </a:cubicBezTo>
                      <a:cubicBezTo>
                        <a:pt x="248" y="14"/>
                        <a:pt x="242" y="29"/>
                        <a:pt x="239" y="45"/>
                      </a:cubicBezTo>
                      <a:cubicBezTo>
                        <a:pt x="278" y="61"/>
                        <a:pt x="278" y="61"/>
                        <a:pt x="278" y="61"/>
                      </a:cubicBezTo>
                      <a:cubicBezTo>
                        <a:pt x="285" y="64"/>
                        <a:pt x="292" y="66"/>
                        <a:pt x="300" y="6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40" name="Freeform 17"/>
                <p:cNvSpPr>
                  <a:spLocks/>
                </p:cNvSpPr>
                <p:nvPr/>
              </p:nvSpPr>
              <p:spPr bwMode="auto">
                <a:xfrm>
                  <a:off x="10375900" y="2355850"/>
                  <a:ext cx="287338" cy="203200"/>
                </a:xfrm>
                <a:custGeom>
                  <a:avLst/>
                  <a:gdLst>
                    <a:gd name="T0" fmla="*/ 169 w 181"/>
                    <a:gd name="T1" fmla="*/ 0 h 128"/>
                    <a:gd name="T2" fmla="*/ 181 w 181"/>
                    <a:gd name="T3" fmla="*/ 3 h 128"/>
                    <a:gd name="T4" fmla="*/ 5 w 181"/>
                    <a:gd name="T5" fmla="*/ 128 h 128"/>
                    <a:gd name="T6" fmla="*/ 0 w 181"/>
                    <a:gd name="T7" fmla="*/ 120 h 128"/>
                    <a:gd name="T8" fmla="*/ 169 w 181"/>
                    <a:gd name="T9" fmla="*/ 0 h 128"/>
                    <a:gd name="T10" fmla="*/ 169 w 181"/>
                    <a:gd name="T11" fmla="*/ 0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81" h="128">
                      <a:moveTo>
                        <a:pt x="169" y="0"/>
                      </a:moveTo>
                      <a:lnTo>
                        <a:pt x="181" y="3"/>
                      </a:lnTo>
                      <a:lnTo>
                        <a:pt x="5" y="128"/>
                      </a:lnTo>
                      <a:lnTo>
                        <a:pt x="0" y="120"/>
                      </a:lnTo>
                      <a:lnTo>
                        <a:pt x="169" y="0"/>
                      </a:lnTo>
                      <a:lnTo>
                        <a:pt x="16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41" name="Freeform 18"/>
                <p:cNvSpPr>
                  <a:spLocks/>
                </p:cNvSpPr>
                <p:nvPr/>
              </p:nvSpPr>
              <p:spPr bwMode="auto">
                <a:xfrm>
                  <a:off x="10452100" y="2532063"/>
                  <a:ext cx="515938" cy="441325"/>
                </a:xfrm>
                <a:custGeom>
                  <a:avLst/>
                  <a:gdLst>
                    <a:gd name="T0" fmla="*/ 372 w 443"/>
                    <a:gd name="T1" fmla="*/ 55 h 379"/>
                    <a:gd name="T2" fmla="*/ 343 w 443"/>
                    <a:gd name="T3" fmla="*/ 0 h 379"/>
                    <a:gd name="T4" fmla="*/ 153 w 443"/>
                    <a:gd name="T5" fmla="*/ 85 h 379"/>
                    <a:gd name="T6" fmla="*/ 178 w 443"/>
                    <a:gd name="T7" fmla="*/ 147 h 379"/>
                    <a:gd name="T8" fmla="*/ 216 w 443"/>
                    <a:gd name="T9" fmla="*/ 191 h 379"/>
                    <a:gd name="T10" fmla="*/ 174 w 443"/>
                    <a:gd name="T11" fmla="*/ 265 h 379"/>
                    <a:gd name="T12" fmla="*/ 78 w 443"/>
                    <a:gd name="T13" fmla="*/ 250 h 379"/>
                    <a:gd name="T14" fmla="*/ 123 w 443"/>
                    <a:gd name="T15" fmla="*/ 166 h 379"/>
                    <a:gd name="T16" fmla="*/ 96 w 443"/>
                    <a:gd name="T17" fmla="*/ 107 h 379"/>
                    <a:gd name="T18" fmla="*/ 17 w 443"/>
                    <a:gd name="T19" fmla="*/ 145 h 379"/>
                    <a:gd name="T20" fmla="*/ 20 w 443"/>
                    <a:gd name="T21" fmla="*/ 271 h 379"/>
                    <a:gd name="T22" fmla="*/ 205 w 443"/>
                    <a:gd name="T23" fmla="*/ 351 h 379"/>
                    <a:gd name="T24" fmla="*/ 278 w 443"/>
                    <a:gd name="T25" fmla="*/ 183 h 379"/>
                    <a:gd name="T26" fmla="*/ 246 w 443"/>
                    <a:gd name="T27" fmla="*/ 131 h 379"/>
                    <a:gd name="T28" fmla="*/ 321 w 443"/>
                    <a:gd name="T29" fmla="*/ 97 h 379"/>
                    <a:gd name="T30" fmla="*/ 364 w 443"/>
                    <a:gd name="T31" fmla="*/ 193 h 379"/>
                    <a:gd name="T32" fmla="*/ 335 w 443"/>
                    <a:gd name="T33" fmla="*/ 221 h 379"/>
                    <a:gd name="T34" fmla="*/ 353 w 443"/>
                    <a:gd name="T35" fmla="*/ 259 h 379"/>
                    <a:gd name="T36" fmla="*/ 443 w 443"/>
                    <a:gd name="T37" fmla="*/ 222 h 379"/>
                    <a:gd name="T38" fmla="*/ 426 w 443"/>
                    <a:gd name="T39" fmla="*/ 174 h 379"/>
                    <a:gd name="T40" fmla="*/ 372 w 443"/>
                    <a:gd name="T41" fmla="*/ 55 h 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443" h="379">
                      <a:moveTo>
                        <a:pt x="372" y="55"/>
                      </a:moveTo>
                      <a:cubicBezTo>
                        <a:pt x="363" y="36"/>
                        <a:pt x="354" y="17"/>
                        <a:pt x="343" y="0"/>
                      </a:cubicBezTo>
                      <a:cubicBezTo>
                        <a:pt x="153" y="85"/>
                        <a:pt x="153" y="85"/>
                        <a:pt x="153" y="85"/>
                      </a:cubicBezTo>
                      <a:cubicBezTo>
                        <a:pt x="161" y="112"/>
                        <a:pt x="165" y="124"/>
                        <a:pt x="178" y="147"/>
                      </a:cubicBezTo>
                      <a:cubicBezTo>
                        <a:pt x="195" y="155"/>
                        <a:pt x="211" y="178"/>
                        <a:pt x="216" y="191"/>
                      </a:cubicBezTo>
                      <a:cubicBezTo>
                        <a:pt x="227" y="219"/>
                        <a:pt x="212" y="249"/>
                        <a:pt x="174" y="265"/>
                      </a:cubicBezTo>
                      <a:cubicBezTo>
                        <a:pt x="142" y="280"/>
                        <a:pt x="95" y="290"/>
                        <a:pt x="78" y="250"/>
                      </a:cubicBezTo>
                      <a:cubicBezTo>
                        <a:pt x="64" y="218"/>
                        <a:pt x="75" y="193"/>
                        <a:pt x="123" y="166"/>
                      </a:cubicBezTo>
                      <a:cubicBezTo>
                        <a:pt x="115" y="143"/>
                        <a:pt x="107" y="126"/>
                        <a:pt x="96" y="107"/>
                      </a:cubicBezTo>
                      <a:cubicBezTo>
                        <a:pt x="66" y="119"/>
                        <a:pt x="43" y="130"/>
                        <a:pt x="17" y="145"/>
                      </a:cubicBezTo>
                      <a:cubicBezTo>
                        <a:pt x="1" y="187"/>
                        <a:pt x="0" y="227"/>
                        <a:pt x="20" y="271"/>
                      </a:cubicBezTo>
                      <a:cubicBezTo>
                        <a:pt x="62" y="364"/>
                        <a:pt x="138" y="379"/>
                        <a:pt x="205" y="351"/>
                      </a:cubicBezTo>
                      <a:cubicBezTo>
                        <a:pt x="288" y="316"/>
                        <a:pt x="308" y="254"/>
                        <a:pt x="278" y="183"/>
                      </a:cubicBezTo>
                      <a:cubicBezTo>
                        <a:pt x="273" y="169"/>
                        <a:pt x="261" y="145"/>
                        <a:pt x="246" y="131"/>
                      </a:cubicBezTo>
                      <a:cubicBezTo>
                        <a:pt x="321" y="97"/>
                        <a:pt x="321" y="97"/>
                        <a:pt x="321" y="97"/>
                      </a:cubicBezTo>
                      <a:cubicBezTo>
                        <a:pt x="364" y="193"/>
                        <a:pt x="364" y="193"/>
                        <a:pt x="364" y="193"/>
                      </a:cubicBezTo>
                      <a:cubicBezTo>
                        <a:pt x="353" y="203"/>
                        <a:pt x="341" y="213"/>
                        <a:pt x="335" y="221"/>
                      </a:cubicBezTo>
                      <a:cubicBezTo>
                        <a:pt x="353" y="259"/>
                        <a:pt x="353" y="259"/>
                        <a:pt x="353" y="259"/>
                      </a:cubicBezTo>
                      <a:cubicBezTo>
                        <a:pt x="381" y="250"/>
                        <a:pt x="414" y="237"/>
                        <a:pt x="443" y="222"/>
                      </a:cubicBezTo>
                      <a:cubicBezTo>
                        <a:pt x="439" y="205"/>
                        <a:pt x="433" y="189"/>
                        <a:pt x="426" y="174"/>
                      </a:cubicBezTo>
                      <a:cubicBezTo>
                        <a:pt x="372" y="55"/>
                        <a:pt x="372" y="55"/>
                        <a:pt x="372" y="5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42" name="Freeform 19"/>
                <p:cNvSpPr>
                  <a:spLocks/>
                </p:cNvSpPr>
                <p:nvPr/>
              </p:nvSpPr>
              <p:spPr bwMode="auto">
                <a:xfrm>
                  <a:off x="10567988" y="2806700"/>
                  <a:ext cx="179388" cy="104775"/>
                </a:xfrm>
                <a:custGeom>
                  <a:avLst/>
                  <a:gdLst>
                    <a:gd name="T0" fmla="*/ 83 w 153"/>
                    <a:gd name="T1" fmla="*/ 64 h 90"/>
                    <a:gd name="T2" fmla="*/ 151 w 153"/>
                    <a:gd name="T3" fmla="*/ 0 h 90"/>
                    <a:gd name="T4" fmla="*/ 86 w 153"/>
                    <a:gd name="T5" fmla="*/ 78 h 90"/>
                    <a:gd name="T6" fmla="*/ 0 w 153"/>
                    <a:gd name="T7" fmla="*/ 75 h 90"/>
                    <a:gd name="T8" fmla="*/ 83 w 153"/>
                    <a:gd name="T9" fmla="*/ 64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3" h="90">
                      <a:moveTo>
                        <a:pt x="83" y="64"/>
                      </a:moveTo>
                      <a:cubicBezTo>
                        <a:pt x="110" y="54"/>
                        <a:pt x="139" y="33"/>
                        <a:pt x="151" y="0"/>
                      </a:cubicBezTo>
                      <a:cubicBezTo>
                        <a:pt x="153" y="36"/>
                        <a:pt x="121" y="64"/>
                        <a:pt x="86" y="78"/>
                      </a:cubicBezTo>
                      <a:cubicBezTo>
                        <a:pt x="54" y="90"/>
                        <a:pt x="26" y="90"/>
                        <a:pt x="0" y="75"/>
                      </a:cubicBezTo>
                      <a:cubicBezTo>
                        <a:pt x="29" y="82"/>
                        <a:pt x="57" y="76"/>
                        <a:pt x="83" y="6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43" name="Freeform 20"/>
                <p:cNvSpPr>
                  <a:spLocks/>
                </p:cNvSpPr>
                <p:nvPr/>
              </p:nvSpPr>
              <p:spPr bwMode="auto">
                <a:xfrm>
                  <a:off x="10677525" y="2586038"/>
                  <a:ext cx="133350" cy="65087"/>
                </a:xfrm>
                <a:custGeom>
                  <a:avLst/>
                  <a:gdLst>
                    <a:gd name="T0" fmla="*/ 17 w 115"/>
                    <a:gd name="T1" fmla="*/ 55 h 55"/>
                    <a:gd name="T2" fmla="*/ 0 w 115"/>
                    <a:gd name="T3" fmla="*/ 50 h 55"/>
                    <a:gd name="T4" fmla="*/ 111 w 115"/>
                    <a:gd name="T5" fmla="*/ 0 h 55"/>
                    <a:gd name="T6" fmla="*/ 115 w 115"/>
                    <a:gd name="T7" fmla="*/ 10 h 55"/>
                    <a:gd name="T8" fmla="*/ 17 w 115"/>
                    <a:gd name="T9" fmla="*/ 55 h 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5" h="55">
                      <a:moveTo>
                        <a:pt x="17" y="55"/>
                      </a:moveTo>
                      <a:cubicBezTo>
                        <a:pt x="12" y="52"/>
                        <a:pt x="7" y="51"/>
                        <a:pt x="0" y="50"/>
                      </a:cubicBezTo>
                      <a:cubicBezTo>
                        <a:pt x="111" y="0"/>
                        <a:pt x="111" y="0"/>
                        <a:pt x="111" y="0"/>
                      </a:cubicBezTo>
                      <a:cubicBezTo>
                        <a:pt x="115" y="10"/>
                        <a:pt x="115" y="10"/>
                        <a:pt x="115" y="10"/>
                      </a:cubicBezTo>
                      <a:cubicBezTo>
                        <a:pt x="17" y="55"/>
                        <a:pt x="17" y="55"/>
                        <a:pt x="17" y="5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44" name="Freeform 21"/>
                <p:cNvSpPr>
                  <a:spLocks/>
                </p:cNvSpPr>
                <p:nvPr/>
              </p:nvSpPr>
              <p:spPr bwMode="auto">
                <a:xfrm>
                  <a:off x="10499725" y="2698750"/>
                  <a:ext cx="46038" cy="65087"/>
                </a:xfrm>
                <a:custGeom>
                  <a:avLst/>
                  <a:gdLst>
                    <a:gd name="T0" fmla="*/ 3 w 40"/>
                    <a:gd name="T1" fmla="*/ 56 h 56"/>
                    <a:gd name="T2" fmla="*/ 5 w 40"/>
                    <a:gd name="T3" fmla="*/ 18 h 56"/>
                    <a:gd name="T4" fmla="*/ 39 w 40"/>
                    <a:gd name="T5" fmla="*/ 0 h 56"/>
                    <a:gd name="T6" fmla="*/ 40 w 40"/>
                    <a:gd name="T7" fmla="*/ 1 h 56"/>
                    <a:gd name="T8" fmla="*/ 3 w 40"/>
                    <a:gd name="T9" fmla="*/ 5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" h="56">
                      <a:moveTo>
                        <a:pt x="3" y="56"/>
                      </a:moveTo>
                      <a:cubicBezTo>
                        <a:pt x="0" y="43"/>
                        <a:pt x="2" y="30"/>
                        <a:pt x="5" y="18"/>
                      </a:cubicBezTo>
                      <a:cubicBezTo>
                        <a:pt x="16" y="10"/>
                        <a:pt x="28" y="5"/>
                        <a:pt x="39" y="0"/>
                      </a:cubicBezTo>
                      <a:cubicBezTo>
                        <a:pt x="40" y="1"/>
                        <a:pt x="40" y="1"/>
                        <a:pt x="40" y="1"/>
                      </a:cubicBezTo>
                      <a:cubicBezTo>
                        <a:pt x="22" y="16"/>
                        <a:pt x="6" y="32"/>
                        <a:pt x="3" y="5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45" name="Freeform 22"/>
                <p:cNvSpPr>
                  <a:spLocks/>
                </p:cNvSpPr>
                <p:nvPr/>
              </p:nvSpPr>
              <p:spPr bwMode="auto">
                <a:xfrm>
                  <a:off x="10868025" y="2768600"/>
                  <a:ext cx="53975" cy="30162"/>
                </a:xfrm>
                <a:custGeom>
                  <a:avLst/>
                  <a:gdLst>
                    <a:gd name="T0" fmla="*/ 47 w 47"/>
                    <a:gd name="T1" fmla="*/ 5 h 26"/>
                    <a:gd name="T2" fmla="*/ 1 w 47"/>
                    <a:gd name="T3" fmla="*/ 26 h 26"/>
                    <a:gd name="T4" fmla="*/ 0 w 47"/>
                    <a:gd name="T5" fmla="*/ 23 h 26"/>
                    <a:gd name="T6" fmla="*/ 33 w 47"/>
                    <a:gd name="T7" fmla="*/ 0 h 26"/>
                    <a:gd name="T8" fmla="*/ 47 w 47"/>
                    <a:gd name="T9" fmla="*/ 5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7" h="26">
                      <a:moveTo>
                        <a:pt x="47" y="5"/>
                      </a:move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9" y="15"/>
                        <a:pt x="17" y="8"/>
                        <a:pt x="33" y="0"/>
                      </a:cubicBezTo>
                      <a:cubicBezTo>
                        <a:pt x="47" y="5"/>
                        <a:pt x="47" y="5"/>
                        <a:pt x="47" y="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46" name="Freeform 23"/>
                <p:cNvSpPr>
                  <a:spLocks noEditPoints="1"/>
                </p:cNvSpPr>
                <p:nvPr/>
              </p:nvSpPr>
              <p:spPr bwMode="auto">
                <a:xfrm>
                  <a:off x="9236075" y="2574925"/>
                  <a:ext cx="212725" cy="174625"/>
                </a:xfrm>
                <a:custGeom>
                  <a:avLst/>
                  <a:gdLst>
                    <a:gd name="T0" fmla="*/ 124 w 183"/>
                    <a:gd name="T1" fmla="*/ 3 h 150"/>
                    <a:gd name="T2" fmla="*/ 124 w 183"/>
                    <a:gd name="T3" fmla="*/ 17 h 150"/>
                    <a:gd name="T4" fmla="*/ 138 w 183"/>
                    <a:gd name="T5" fmla="*/ 18 h 150"/>
                    <a:gd name="T6" fmla="*/ 126 w 183"/>
                    <a:gd name="T7" fmla="*/ 72 h 150"/>
                    <a:gd name="T8" fmla="*/ 124 w 183"/>
                    <a:gd name="T9" fmla="*/ 85 h 150"/>
                    <a:gd name="T10" fmla="*/ 123 w 183"/>
                    <a:gd name="T11" fmla="*/ 85 h 150"/>
                    <a:gd name="T12" fmla="*/ 121 w 183"/>
                    <a:gd name="T13" fmla="*/ 73 h 150"/>
                    <a:gd name="T14" fmla="*/ 104 w 183"/>
                    <a:gd name="T15" fmla="*/ 2 h 150"/>
                    <a:gd name="T16" fmla="*/ 77 w 183"/>
                    <a:gd name="T17" fmla="*/ 2 h 150"/>
                    <a:gd name="T18" fmla="*/ 59 w 183"/>
                    <a:gd name="T19" fmla="*/ 74 h 150"/>
                    <a:gd name="T20" fmla="*/ 56 w 183"/>
                    <a:gd name="T21" fmla="*/ 87 h 150"/>
                    <a:gd name="T22" fmla="*/ 56 w 183"/>
                    <a:gd name="T23" fmla="*/ 87 h 150"/>
                    <a:gd name="T24" fmla="*/ 54 w 183"/>
                    <a:gd name="T25" fmla="*/ 74 h 150"/>
                    <a:gd name="T26" fmla="*/ 42 w 183"/>
                    <a:gd name="T27" fmla="*/ 18 h 150"/>
                    <a:gd name="T28" fmla="*/ 56 w 183"/>
                    <a:gd name="T29" fmla="*/ 17 h 150"/>
                    <a:gd name="T30" fmla="*/ 56 w 183"/>
                    <a:gd name="T31" fmla="*/ 3 h 150"/>
                    <a:gd name="T32" fmla="*/ 0 w 183"/>
                    <a:gd name="T33" fmla="*/ 3 h 150"/>
                    <a:gd name="T34" fmla="*/ 0 w 183"/>
                    <a:gd name="T35" fmla="*/ 17 h 150"/>
                    <a:gd name="T36" fmla="*/ 13 w 183"/>
                    <a:gd name="T37" fmla="*/ 18 h 150"/>
                    <a:gd name="T38" fmla="*/ 44 w 183"/>
                    <a:gd name="T39" fmla="*/ 149 h 150"/>
                    <a:gd name="T40" fmla="*/ 70 w 183"/>
                    <a:gd name="T41" fmla="*/ 149 h 150"/>
                    <a:gd name="T42" fmla="*/ 89 w 183"/>
                    <a:gd name="T43" fmla="*/ 69 h 150"/>
                    <a:gd name="T44" fmla="*/ 91 w 183"/>
                    <a:gd name="T45" fmla="*/ 57 h 150"/>
                    <a:gd name="T46" fmla="*/ 92 w 183"/>
                    <a:gd name="T47" fmla="*/ 57 h 150"/>
                    <a:gd name="T48" fmla="*/ 94 w 183"/>
                    <a:gd name="T49" fmla="*/ 69 h 150"/>
                    <a:gd name="T50" fmla="*/ 113 w 183"/>
                    <a:gd name="T51" fmla="*/ 149 h 150"/>
                    <a:gd name="T52" fmla="*/ 139 w 183"/>
                    <a:gd name="T53" fmla="*/ 149 h 150"/>
                    <a:gd name="T54" fmla="*/ 171 w 183"/>
                    <a:gd name="T55" fmla="*/ 18 h 150"/>
                    <a:gd name="T56" fmla="*/ 183 w 183"/>
                    <a:gd name="T57" fmla="*/ 17 h 150"/>
                    <a:gd name="T58" fmla="*/ 183 w 183"/>
                    <a:gd name="T59" fmla="*/ 3 h 150"/>
                    <a:gd name="T60" fmla="*/ 124 w 183"/>
                    <a:gd name="T61" fmla="*/ 3 h 150"/>
                    <a:gd name="T62" fmla="*/ 150 w 183"/>
                    <a:gd name="T63" fmla="*/ 18 h 150"/>
                    <a:gd name="T64" fmla="*/ 154 w 183"/>
                    <a:gd name="T65" fmla="*/ 18 h 150"/>
                    <a:gd name="T66" fmla="*/ 129 w 183"/>
                    <a:gd name="T67" fmla="*/ 132 h 150"/>
                    <a:gd name="T68" fmla="*/ 124 w 183"/>
                    <a:gd name="T69" fmla="*/ 132 h 150"/>
                    <a:gd name="T70" fmla="*/ 150 w 183"/>
                    <a:gd name="T71" fmla="*/ 18 h 150"/>
                    <a:gd name="T72" fmla="*/ 88 w 183"/>
                    <a:gd name="T73" fmla="*/ 18 h 150"/>
                    <a:gd name="T74" fmla="*/ 60 w 183"/>
                    <a:gd name="T75" fmla="*/ 132 h 150"/>
                    <a:gd name="T76" fmla="*/ 55 w 183"/>
                    <a:gd name="T77" fmla="*/ 132 h 150"/>
                    <a:gd name="T78" fmla="*/ 84 w 183"/>
                    <a:gd name="T79" fmla="*/ 18 h 150"/>
                    <a:gd name="T80" fmla="*/ 88 w 183"/>
                    <a:gd name="T81" fmla="*/ 18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83" h="150">
                      <a:moveTo>
                        <a:pt x="124" y="3"/>
                      </a:moveTo>
                      <a:cubicBezTo>
                        <a:pt x="124" y="17"/>
                        <a:pt x="124" y="17"/>
                        <a:pt x="124" y="17"/>
                      </a:cubicBezTo>
                      <a:cubicBezTo>
                        <a:pt x="128" y="18"/>
                        <a:pt x="134" y="18"/>
                        <a:pt x="138" y="18"/>
                      </a:cubicBezTo>
                      <a:cubicBezTo>
                        <a:pt x="126" y="72"/>
                        <a:pt x="126" y="72"/>
                        <a:pt x="126" y="72"/>
                      </a:cubicBezTo>
                      <a:cubicBezTo>
                        <a:pt x="125" y="77"/>
                        <a:pt x="125" y="80"/>
                        <a:pt x="124" y="85"/>
                      </a:cubicBezTo>
                      <a:cubicBezTo>
                        <a:pt x="123" y="85"/>
                        <a:pt x="123" y="85"/>
                        <a:pt x="123" y="85"/>
                      </a:cubicBezTo>
                      <a:cubicBezTo>
                        <a:pt x="123" y="81"/>
                        <a:pt x="122" y="77"/>
                        <a:pt x="121" y="73"/>
                      </a:cubicBezTo>
                      <a:cubicBezTo>
                        <a:pt x="104" y="2"/>
                        <a:pt x="104" y="2"/>
                        <a:pt x="104" y="2"/>
                      </a:cubicBezTo>
                      <a:cubicBezTo>
                        <a:pt x="94" y="1"/>
                        <a:pt x="87" y="1"/>
                        <a:pt x="77" y="2"/>
                      </a:cubicBezTo>
                      <a:cubicBezTo>
                        <a:pt x="59" y="74"/>
                        <a:pt x="59" y="74"/>
                        <a:pt x="59" y="74"/>
                      </a:cubicBezTo>
                      <a:cubicBezTo>
                        <a:pt x="58" y="78"/>
                        <a:pt x="57" y="82"/>
                        <a:pt x="56" y="87"/>
                      </a:cubicBezTo>
                      <a:cubicBezTo>
                        <a:pt x="56" y="87"/>
                        <a:pt x="56" y="87"/>
                        <a:pt x="56" y="87"/>
                      </a:cubicBezTo>
                      <a:cubicBezTo>
                        <a:pt x="55" y="82"/>
                        <a:pt x="54" y="78"/>
                        <a:pt x="54" y="74"/>
                      </a:cubicBezTo>
                      <a:cubicBezTo>
                        <a:pt x="42" y="18"/>
                        <a:pt x="42" y="18"/>
                        <a:pt x="42" y="18"/>
                      </a:cubicBezTo>
                      <a:cubicBezTo>
                        <a:pt x="46" y="18"/>
                        <a:pt x="52" y="18"/>
                        <a:pt x="56" y="17"/>
                      </a:cubicBezTo>
                      <a:cubicBezTo>
                        <a:pt x="56" y="3"/>
                        <a:pt x="56" y="3"/>
                        <a:pt x="56" y="3"/>
                      </a:cubicBezTo>
                      <a:cubicBezTo>
                        <a:pt x="36" y="0"/>
                        <a:pt x="21" y="0"/>
                        <a:pt x="0" y="3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5" y="18"/>
                        <a:pt x="8" y="18"/>
                        <a:pt x="13" y="18"/>
                      </a:cubicBezTo>
                      <a:cubicBezTo>
                        <a:pt x="44" y="149"/>
                        <a:pt x="44" y="149"/>
                        <a:pt x="44" y="149"/>
                      </a:cubicBezTo>
                      <a:cubicBezTo>
                        <a:pt x="53" y="150"/>
                        <a:pt x="61" y="150"/>
                        <a:pt x="70" y="149"/>
                      </a:cubicBezTo>
                      <a:cubicBezTo>
                        <a:pt x="89" y="69"/>
                        <a:pt x="89" y="69"/>
                        <a:pt x="89" y="69"/>
                      </a:cubicBezTo>
                      <a:cubicBezTo>
                        <a:pt x="90" y="65"/>
                        <a:pt x="91" y="61"/>
                        <a:pt x="91" y="57"/>
                      </a:cubicBezTo>
                      <a:cubicBezTo>
                        <a:pt x="92" y="57"/>
                        <a:pt x="92" y="57"/>
                        <a:pt x="92" y="57"/>
                      </a:cubicBezTo>
                      <a:cubicBezTo>
                        <a:pt x="92" y="62"/>
                        <a:pt x="93" y="65"/>
                        <a:pt x="94" y="69"/>
                      </a:cubicBezTo>
                      <a:cubicBezTo>
                        <a:pt x="113" y="149"/>
                        <a:pt x="113" y="149"/>
                        <a:pt x="113" y="149"/>
                      </a:cubicBezTo>
                      <a:cubicBezTo>
                        <a:pt x="125" y="150"/>
                        <a:pt x="130" y="150"/>
                        <a:pt x="139" y="149"/>
                      </a:cubicBezTo>
                      <a:cubicBezTo>
                        <a:pt x="171" y="18"/>
                        <a:pt x="171" y="18"/>
                        <a:pt x="171" y="18"/>
                      </a:cubicBezTo>
                      <a:cubicBezTo>
                        <a:pt x="176" y="18"/>
                        <a:pt x="178" y="18"/>
                        <a:pt x="183" y="17"/>
                      </a:cubicBezTo>
                      <a:cubicBezTo>
                        <a:pt x="183" y="3"/>
                        <a:pt x="183" y="3"/>
                        <a:pt x="183" y="3"/>
                      </a:cubicBezTo>
                      <a:cubicBezTo>
                        <a:pt x="163" y="1"/>
                        <a:pt x="143" y="0"/>
                        <a:pt x="124" y="3"/>
                      </a:cubicBezTo>
                      <a:close/>
                      <a:moveTo>
                        <a:pt x="150" y="18"/>
                      </a:moveTo>
                      <a:cubicBezTo>
                        <a:pt x="154" y="18"/>
                        <a:pt x="154" y="18"/>
                        <a:pt x="154" y="18"/>
                      </a:cubicBezTo>
                      <a:cubicBezTo>
                        <a:pt x="129" y="132"/>
                        <a:pt x="129" y="132"/>
                        <a:pt x="129" y="132"/>
                      </a:cubicBezTo>
                      <a:cubicBezTo>
                        <a:pt x="124" y="132"/>
                        <a:pt x="124" y="132"/>
                        <a:pt x="124" y="132"/>
                      </a:cubicBezTo>
                      <a:cubicBezTo>
                        <a:pt x="150" y="18"/>
                        <a:pt x="150" y="18"/>
                        <a:pt x="150" y="18"/>
                      </a:cubicBezTo>
                      <a:close/>
                      <a:moveTo>
                        <a:pt x="88" y="18"/>
                      </a:moveTo>
                      <a:cubicBezTo>
                        <a:pt x="60" y="132"/>
                        <a:pt x="60" y="132"/>
                        <a:pt x="60" y="132"/>
                      </a:cubicBezTo>
                      <a:cubicBezTo>
                        <a:pt x="55" y="132"/>
                        <a:pt x="55" y="132"/>
                        <a:pt x="55" y="132"/>
                      </a:cubicBezTo>
                      <a:cubicBezTo>
                        <a:pt x="84" y="18"/>
                        <a:pt x="84" y="18"/>
                        <a:pt x="84" y="18"/>
                      </a:cubicBezTo>
                      <a:cubicBezTo>
                        <a:pt x="88" y="18"/>
                        <a:pt x="88" y="18"/>
                        <a:pt x="88" y="1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47" name="Freeform 24"/>
                <p:cNvSpPr>
                  <a:spLocks noEditPoints="1"/>
                </p:cNvSpPr>
                <p:nvPr/>
              </p:nvSpPr>
              <p:spPr bwMode="auto">
                <a:xfrm>
                  <a:off x="9451975" y="2573338"/>
                  <a:ext cx="146050" cy="177800"/>
                </a:xfrm>
                <a:custGeom>
                  <a:avLst/>
                  <a:gdLst>
                    <a:gd name="T0" fmla="*/ 125 w 125"/>
                    <a:gd name="T1" fmla="*/ 76 h 152"/>
                    <a:gd name="T2" fmla="*/ 62 w 125"/>
                    <a:gd name="T3" fmla="*/ 0 h 152"/>
                    <a:gd name="T4" fmla="*/ 0 w 125"/>
                    <a:gd name="T5" fmla="*/ 76 h 152"/>
                    <a:gd name="T6" fmla="*/ 62 w 125"/>
                    <a:gd name="T7" fmla="*/ 152 h 152"/>
                    <a:gd name="T8" fmla="*/ 125 w 125"/>
                    <a:gd name="T9" fmla="*/ 76 h 152"/>
                    <a:gd name="T10" fmla="*/ 90 w 125"/>
                    <a:gd name="T11" fmla="*/ 76 h 152"/>
                    <a:gd name="T12" fmla="*/ 62 w 125"/>
                    <a:gd name="T13" fmla="*/ 129 h 152"/>
                    <a:gd name="T14" fmla="*/ 35 w 125"/>
                    <a:gd name="T15" fmla="*/ 76 h 152"/>
                    <a:gd name="T16" fmla="*/ 62 w 125"/>
                    <a:gd name="T17" fmla="*/ 23 h 152"/>
                    <a:gd name="T18" fmla="*/ 90 w 125"/>
                    <a:gd name="T19" fmla="*/ 76 h 152"/>
                    <a:gd name="T20" fmla="*/ 30 w 125"/>
                    <a:gd name="T21" fmla="*/ 20 h 152"/>
                    <a:gd name="T22" fmla="*/ 15 w 125"/>
                    <a:gd name="T23" fmla="*/ 76 h 152"/>
                    <a:gd name="T24" fmla="*/ 29 w 125"/>
                    <a:gd name="T25" fmla="*/ 130 h 152"/>
                    <a:gd name="T26" fmla="*/ 10 w 125"/>
                    <a:gd name="T27" fmla="*/ 76 h 152"/>
                    <a:gd name="T28" fmla="*/ 30 w 125"/>
                    <a:gd name="T29" fmla="*/ 20 h 152"/>
                    <a:gd name="T30" fmla="*/ 105 w 125"/>
                    <a:gd name="T31" fmla="*/ 76 h 152"/>
                    <a:gd name="T32" fmla="*/ 87 w 125"/>
                    <a:gd name="T33" fmla="*/ 130 h 152"/>
                    <a:gd name="T34" fmla="*/ 100 w 125"/>
                    <a:gd name="T35" fmla="*/ 76 h 152"/>
                    <a:gd name="T36" fmla="*/ 86 w 125"/>
                    <a:gd name="T37" fmla="*/ 22 h 152"/>
                    <a:gd name="T38" fmla="*/ 105 w 125"/>
                    <a:gd name="T39" fmla="*/ 76 h 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25" h="152">
                      <a:moveTo>
                        <a:pt x="125" y="76"/>
                      </a:moveTo>
                      <a:cubicBezTo>
                        <a:pt x="125" y="32"/>
                        <a:pt x="108" y="0"/>
                        <a:pt x="62" y="0"/>
                      </a:cubicBezTo>
                      <a:cubicBezTo>
                        <a:pt x="17" y="0"/>
                        <a:pt x="0" y="32"/>
                        <a:pt x="0" y="76"/>
                      </a:cubicBezTo>
                      <a:cubicBezTo>
                        <a:pt x="0" y="121"/>
                        <a:pt x="18" y="152"/>
                        <a:pt x="62" y="152"/>
                      </a:cubicBezTo>
                      <a:cubicBezTo>
                        <a:pt x="106" y="152"/>
                        <a:pt x="125" y="121"/>
                        <a:pt x="125" y="76"/>
                      </a:cubicBezTo>
                      <a:close/>
                      <a:moveTo>
                        <a:pt x="90" y="76"/>
                      </a:moveTo>
                      <a:cubicBezTo>
                        <a:pt x="90" y="96"/>
                        <a:pt x="89" y="129"/>
                        <a:pt x="62" y="129"/>
                      </a:cubicBezTo>
                      <a:cubicBezTo>
                        <a:pt x="36" y="129"/>
                        <a:pt x="35" y="95"/>
                        <a:pt x="35" y="76"/>
                      </a:cubicBezTo>
                      <a:cubicBezTo>
                        <a:pt x="35" y="57"/>
                        <a:pt x="36" y="23"/>
                        <a:pt x="62" y="23"/>
                      </a:cubicBezTo>
                      <a:cubicBezTo>
                        <a:pt x="89" y="23"/>
                        <a:pt x="90" y="57"/>
                        <a:pt x="90" y="76"/>
                      </a:cubicBezTo>
                      <a:close/>
                      <a:moveTo>
                        <a:pt x="30" y="20"/>
                      </a:moveTo>
                      <a:cubicBezTo>
                        <a:pt x="17" y="35"/>
                        <a:pt x="15" y="58"/>
                        <a:pt x="15" y="76"/>
                      </a:cubicBezTo>
                      <a:cubicBezTo>
                        <a:pt x="15" y="94"/>
                        <a:pt x="17" y="115"/>
                        <a:pt x="29" y="130"/>
                      </a:cubicBezTo>
                      <a:cubicBezTo>
                        <a:pt x="13" y="118"/>
                        <a:pt x="10" y="95"/>
                        <a:pt x="10" y="76"/>
                      </a:cubicBezTo>
                      <a:cubicBezTo>
                        <a:pt x="10" y="51"/>
                        <a:pt x="16" y="30"/>
                        <a:pt x="30" y="20"/>
                      </a:cubicBezTo>
                      <a:close/>
                      <a:moveTo>
                        <a:pt x="105" y="76"/>
                      </a:moveTo>
                      <a:cubicBezTo>
                        <a:pt x="105" y="95"/>
                        <a:pt x="102" y="119"/>
                        <a:pt x="87" y="130"/>
                      </a:cubicBezTo>
                      <a:cubicBezTo>
                        <a:pt x="98" y="116"/>
                        <a:pt x="100" y="94"/>
                        <a:pt x="100" y="76"/>
                      </a:cubicBezTo>
                      <a:cubicBezTo>
                        <a:pt x="100" y="58"/>
                        <a:pt x="98" y="37"/>
                        <a:pt x="86" y="22"/>
                      </a:cubicBezTo>
                      <a:cubicBezTo>
                        <a:pt x="103" y="34"/>
                        <a:pt x="105" y="57"/>
                        <a:pt x="105" y="7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48" name="Freeform 25"/>
                <p:cNvSpPr>
                  <a:spLocks noEditPoints="1"/>
                </p:cNvSpPr>
                <p:nvPr/>
              </p:nvSpPr>
              <p:spPr bwMode="auto">
                <a:xfrm>
                  <a:off x="9909175" y="2573338"/>
                  <a:ext cx="149225" cy="176212"/>
                </a:xfrm>
                <a:custGeom>
                  <a:avLst/>
                  <a:gdLst>
                    <a:gd name="T0" fmla="*/ 15 w 127"/>
                    <a:gd name="T1" fmla="*/ 17 h 150"/>
                    <a:gd name="T2" fmla="*/ 15 w 127"/>
                    <a:gd name="T3" fmla="*/ 133 h 150"/>
                    <a:gd name="T4" fmla="*/ 0 w 127"/>
                    <a:gd name="T5" fmla="*/ 134 h 150"/>
                    <a:gd name="T6" fmla="*/ 0 w 127"/>
                    <a:gd name="T7" fmla="*/ 149 h 150"/>
                    <a:gd name="T8" fmla="*/ 32 w 127"/>
                    <a:gd name="T9" fmla="*/ 150 h 150"/>
                    <a:gd name="T10" fmla="*/ 62 w 127"/>
                    <a:gd name="T11" fmla="*/ 150 h 150"/>
                    <a:gd name="T12" fmla="*/ 127 w 127"/>
                    <a:gd name="T13" fmla="*/ 75 h 150"/>
                    <a:gd name="T14" fmla="*/ 62 w 127"/>
                    <a:gd name="T15" fmla="*/ 0 h 150"/>
                    <a:gd name="T16" fmla="*/ 32 w 127"/>
                    <a:gd name="T17" fmla="*/ 0 h 150"/>
                    <a:gd name="T18" fmla="*/ 0 w 127"/>
                    <a:gd name="T19" fmla="*/ 2 h 150"/>
                    <a:gd name="T20" fmla="*/ 0 w 127"/>
                    <a:gd name="T21" fmla="*/ 16 h 150"/>
                    <a:gd name="T22" fmla="*/ 15 w 127"/>
                    <a:gd name="T23" fmla="*/ 17 h 150"/>
                    <a:gd name="T24" fmla="*/ 60 w 127"/>
                    <a:gd name="T25" fmla="*/ 126 h 150"/>
                    <a:gd name="T26" fmla="*/ 48 w 127"/>
                    <a:gd name="T27" fmla="*/ 126 h 150"/>
                    <a:gd name="T28" fmla="*/ 48 w 127"/>
                    <a:gd name="T29" fmla="*/ 24 h 150"/>
                    <a:gd name="T30" fmla="*/ 60 w 127"/>
                    <a:gd name="T31" fmla="*/ 24 h 150"/>
                    <a:gd name="T32" fmla="*/ 90 w 127"/>
                    <a:gd name="T33" fmla="*/ 75 h 150"/>
                    <a:gd name="T34" fmla="*/ 60 w 127"/>
                    <a:gd name="T35" fmla="*/ 126 h 150"/>
                    <a:gd name="T36" fmla="*/ 25 w 127"/>
                    <a:gd name="T37" fmla="*/ 17 h 150"/>
                    <a:gd name="T38" fmla="*/ 29 w 127"/>
                    <a:gd name="T39" fmla="*/ 17 h 150"/>
                    <a:gd name="T40" fmla="*/ 29 w 127"/>
                    <a:gd name="T41" fmla="*/ 133 h 150"/>
                    <a:gd name="T42" fmla="*/ 25 w 127"/>
                    <a:gd name="T43" fmla="*/ 133 h 150"/>
                    <a:gd name="T44" fmla="*/ 25 w 127"/>
                    <a:gd name="T45" fmla="*/ 17 h 150"/>
                    <a:gd name="T46" fmla="*/ 107 w 127"/>
                    <a:gd name="T47" fmla="*/ 75 h 150"/>
                    <a:gd name="T48" fmla="*/ 84 w 127"/>
                    <a:gd name="T49" fmla="*/ 130 h 150"/>
                    <a:gd name="T50" fmla="*/ 102 w 127"/>
                    <a:gd name="T51" fmla="*/ 75 h 150"/>
                    <a:gd name="T52" fmla="*/ 83 w 127"/>
                    <a:gd name="T53" fmla="*/ 19 h 150"/>
                    <a:gd name="T54" fmla="*/ 107 w 127"/>
                    <a:gd name="T55" fmla="*/ 75 h 1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27" h="150">
                      <a:moveTo>
                        <a:pt x="15" y="17"/>
                      </a:moveTo>
                      <a:cubicBezTo>
                        <a:pt x="15" y="133"/>
                        <a:pt x="15" y="133"/>
                        <a:pt x="15" y="133"/>
                      </a:cubicBezTo>
                      <a:cubicBezTo>
                        <a:pt x="10" y="133"/>
                        <a:pt x="4" y="133"/>
                        <a:pt x="0" y="134"/>
                      </a:cubicBezTo>
                      <a:cubicBezTo>
                        <a:pt x="0" y="149"/>
                        <a:pt x="0" y="149"/>
                        <a:pt x="0" y="149"/>
                      </a:cubicBezTo>
                      <a:cubicBezTo>
                        <a:pt x="11" y="150"/>
                        <a:pt x="21" y="150"/>
                        <a:pt x="32" y="150"/>
                      </a:cubicBezTo>
                      <a:cubicBezTo>
                        <a:pt x="62" y="150"/>
                        <a:pt x="62" y="150"/>
                        <a:pt x="62" y="150"/>
                      </a:cubicBezTo>
                      <a:cubicBezTo>
                        <a:pt x="107" y="150"/>
                        <a:pt x="127" y="117"/>
                        <a:pt x="127" y="75"/>
                      </a:cubicBezTo>
                      <a:cubicBezTo>
                        <a:pt x="127" y="33"/>
                        <a:pt x="108" y="0"/>
                        <a:pt x="62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1" y="0"/>
                        <a:pt x="10" y="0"/>
                        <a:pt x="0" y="2"/>
                      </a:cubicBezTo>
                      <a:cubicBezTo>
                        <a:pt x="0" y="16"/>
                        <a:pt x="0" y="16"/>
                        <a:pt x="0" y="16"/>
                      </a:cubicBezTo>
                      <a:cubicBezTo>
                        <a:pt x="4" y="17"/>
                        <a:pt x="10" y="17"/>
                        <a:pt x="15" y="17"/>
                      </a:cubicBezTo>
                      <a:close/>
                      <a:moveTo>
                        <a:pt x="60" y="126"/>
                      </a:moveTo>
                      <a:cubicBezTo>
                        <a:pt x="48" y="126"/>
                        <a:pt x="48" y="126"/>
                        <a:pt x="48" y="126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cubicBezTo>
                        <a:pt x="60" y="24"/>
                        <a:pt x="60" y="24"/>
                        <a:pt x="60" y="24"/>
                      </a:cubicBezTo>
                      <a:cubicBezTo>
                        <a:pt x="87" y="24"/>
                        <a:pt x="90" y="57"/>
                        <a:pt x="90" y="75"/>
                      </a:cubicBezTo>
                      <a:cubicBezTo>
                        <a:pt x="90" y="94"/>
                        <a:pt x="87" y="126"/>
                        <a:pt x="60" y="126"/>
                      </a:cubicBezTo>
                      <a:close/>
                      <a:moveTo>
                        <a:pt x="25" y="17"/>
                      </a:moveTo>
                      <a:cubicBezTo>
                        <a:pt x="29" y="17"/>
                        <a:pt x="29" y="17"/>
                        <a:pt x="29" y="17"/>
                      </a:cubicBezTo>
                      <a:cubicBezTo>
                        <a:pt x="29" y="133"/>
                        <a:pt x="29" y="133"/>
                        <a:pt x="29" y="133"/>
                      </a:cubicBezTo>
                      <a:cubicBezTo>
                        <a:pt x="25" y="133"/>
                        <a:pt x="25" y="133"/>
                        <a:pt x="25" y="133"/>
                      </a:cubicBezTo>
                      <a:cubicBezTo>
                        <a:pt x="25" y="17"/>
                        <a:pt x="25" y="17"/>
                        <a:pt x="25" y="17"/>
                      </a:cubicBezTo>
                      <a:close/>
                      <a:moveTo>
                        <a:pt x="107" y="75"/>
                      </a:moveTo>
                      <a:cubicBezTo>
                        <a:pt x="107" y="95"/>
                        <a:pt x="103" y="117"/>
                        <a:pt x="84" y="130"/>
                      </a:cubicBezTo>
                      <a:cubicBezTo>
                        <a:pt x="99" y="117"/>
                        <a:pt x="102" y="94"/>
                        <a:pt x="102" y="75"/>
                      </a:cubicBezTo>
                      <a:cubicBezTo>
                        <a:pt x="102" y="57"/>
                        <a:pt x="98" y="29"/>
                        <a:pt x="83" y="19"/>
                      </a:cubicBezTo>
                      <a:cubicBezTo>
                        <a:pt x="102" y="27"/>
                        <a:pt x="107" y="56"/>
                        <a:pt x="107" y="7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49" name="Freeform 26"/>
                <p:cNvSpPr>
                  <a:spLocks noEditPoints="1"/>
                </p:cNvSpPr>
                <p:nvPr/>
              </p:nvSpPr>
              <p:spPr bwMode="auto">
                <a:xfrm>
                  <a:off x="9515475" y="2776538"/>
                  <a:ext cx="74613" cy="100012"/>
                </a:xfrm>
                <a:custGeom>
                  <a:avLst/>
                  <a:gdLst>
                    <a:gd name="T0" fmla="*/ 0 w 64"/>
                    <a:gd name="T1" fmla="*/ 43 h 85"/>
                    <a:gd name="T2" fmla="*/ 33 w 64"/>
                    <a:gd name="T3" fmla="*/ 85 h 85"/>
                    <a:gd name="T4" fmla="*/ 53 w 64"/>
                    <a:gd name="T5" fmla="*/ 77 h 85"/>
                    <a:gd name="T6" fmla="*/ 56 w 64"/>
                    <a:gd name="T7" fmla="*/ 84 h 85"/>
                    <a:gd name="T8" fmla="*/ 64 w 64"/>
                    <a:gd name="T9" fmla="*/ 84 h 85"/>
                    <a:gd name="T10" fmla="*/ 64 w 64"/>
                    <a:gd name="T11" fmla="*/ 40 h 85"/>
                    <a:gd name="T12" fmla="*/ 31 w 64"/>
                    <a:gd name="T13" fmla="*/ 40 h 85"/>
                    <a:gd name="T14" fmla="*/ 31 w 64"/>
                    <a:gd name="T15" fmla="*/ 48 h 85"/>
                    <a:gd name="T16" fmla="*/ 47 w 64"/>
                    <a:gd name="T17" fmla="*/ 51 h 85"/>
                    <a:gd name="T18" fmla="*/ 47 w 64"/>
                    <a:gd name="T19" fmla="*/ 54 h 85"/>
                    <a:gd name="T20" fmla="*/ 35 w 64"/>
                    <a:gd name="T21" fmla="*/ 72 h 85"/>
                    <a:gd name="T22" fmla="*/ 20 w 64"/>
                    <a:gd name="T23" fmla="*/ 43 h 85"/>
                    <a:gd name="T24" fmla="*/ 35 w 64"/>
                    <a:gd name="T25" fmla="*/ 13 h 85"/>
                    <a:gd name="T26" fmla="*/ 48 w 64"/>
                    <a:gd name="T27" fmla="*/ 28 h 85"/>
                    <a:gd name="T28" fmla="*/ 63 w 64"/>
                    <a:gd name="T29" fmla="*/ 28 h 85"/>
                    <a:gd name="T30" fmla="*/ 62 w 64"/>
                    <a:gd name="T31" fmla="*/ 10 h 85"/>
                    <a:gd name="T32" fmla="*/ 36 w 64"/>
                    <a:gd name="T33" fmla="*/ 0 h 85"/>
                    <a:gd name="T34" fmla="*/ 0 w 64"/>
                    <a:gd name="T35" fmla="*/ 43 h 85"/>
                    <a:gd name="T36" fmla="*/ 46 w 64"/>
                    <a:gd name="T37" fmla="*/ 10 h 85"/>
                    <a:gd name="T38" fmla="*/ 53 w 64"/>
                    <a:gd name="T39" fmla="*/ 14 h 85"/>
                    <a:gd name="T40" fmla="*/ 53 w 64"/>
                    <a:gd name="T41" fmla="*/ 23 h 85"/>
                    <a:gd name="T42" fmla="*/ 52 w 64"/>
                    <a:gd name="T43" fmla="*/ 23 h 85"/>
                    <a:gd name="T44" fmla="*/ 46 w 64"/>
                    <a:gd name="T45" fmla="*/ 10 h 85"/>
                    <a:gd name="T46" fmla="*/ 46 w 64"/>
                    <a:gd name="T47" fmla="*/ 73 h 85"/>
                    <a:gd name="T48" fmla="*/ 51 w 64"/>
                    <a:gd name="T49" fmla="*/ 54 h 85"/>
                    <a:gd name="T50" fmla="*/ 51 w 64"/>
                    <a:gd name="T51" fmla="*/ 51 h 85"/>
                    <a:gd name="T52" fmla="*/ 54 w 64"/>
                    <a:gd name="T53" fmla="*/ 51 h 85"/>
                    <a:gd name="T54" fmla="*/ 54 w 64"/>
                    <a:gd name="T55" fmla="*/ 54 h 85"/>
                    <a:gd name="T56" fmla="*/ 46 w 64"/>
                    <a:gd name="T57" fmla="*/ 73 h 85"/>
                    <a:gd name="T58" fmla="*/ 18 w 64"/>
                    <a:gd name="T59" fmla="*/ 11 h 85"/>
                    <a:gd name="T60" fmla="*/ 9 w 64"/>
                    <a:gd name="T61" fmla="*/ 43 h 85"/>
                    <a:gd name="T62" fmla="*/ 17 w 64"/>
                    <a:gd name="T63" fmla="*/ 73 h 85"/>
                    <a:gd name="T64" fmla="*/ 6 w 64"/>
                    <a:gd name="T65" fmla="*/ 43 h 85"/>
                    <a:gd name="T66" fmla="*/ 18 w 64"/>
                    <a:gd name="T67" fmla="*/ 11 h 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64" h="85">
                      <a:moveTo>
                        <a:pt x="0" y="43"/>
                      </a:moveTo>
                      <a:cubicBezTo>
                        <a:pt x="0" y="71"/>
                        <a:pt x="10" y="85"/>
                        <a:pt x="33" y="85"/>
                      </a:cubicBezTo>
                      <a:cubicBezTo>
                        <a:pt x="41" y="85"/>
                        <a:pt x="48" y="82"/>
                        <a:pt x="53" y="77"/>
                      </a:cubicBezTo>
                      <a:cubicBezTo>
                        <a:pt x="54" y="79"/>
                        <a:pt x="55" y="82"/>
                        <a:pt x="56" y="84"/>
                      </a:cubicBezTo>
                      <a:cubicBezTo>
                        <a:pt x="64" y="84"/>
                        <a:pt x="64" y="84"/>
                        <a:pt x="64" y="84"/>
                      </a:cubicBezTo>
                      <a:cubicBezTo>
                        <a:pt x="64" y="40"/>
                        <a:pt x="64" y="40"/>
                        <a:pt x="64" y="40"/>
                      </a:cubicBezTo>
                      <a:cubicBezTo>
                        <a:pt x="53" y="39"/>
                        <a:pt x="41" y="39"/>
                        <a:pt x="31" y="40"/>
                      </a:cubicBez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6" y="49"/>
                        <a:pt x="41" y="50"/>
                        <a:pt x="47" y="51"/>
                      </a:cubicBezTo>
                      <a:cubicBezTo>
                        <a:pt x="47" y="54"/>
                        <a:pt x="47" y="54"/>
                        <a:pt x="47" y="54"/>
                      </a:cubicBezTo>
                      <a:cubicBezTo>
                        <a:pt x="47" y="65"/>
                        <a:pt x="42" y="72"/>
                        <a:pt x="35" y="72"/>
                      </a:cubicBezTo>
                      <a:cubicBezTo>
                        <a:pt x="21" y="73"/>
                        <a:pt x="20" y="53"/>
                        <a:pt x="20" y="43"/>
                      </a:cubicBezTo>
                      <a:cubicBezTo>
                        <a:pt x="20" y="32"/>
                        <a:pt x="22" y="12"/>
                        <a:pt x="35" y="13"/>
                      </a:cubicBezTo>
                      <a:cubicBezTo>
                        <a:pt x="43" y="13"/>
                        <a:pt x="47" y="17"/>
                        <a:pt x="48" y="28"/>
                      </a:cubicBezTo>
                      <a:cubicBezTo>
                        <a:pt x="53" y="29"/>
                        <a:pt x="57" y="29"/>
                        <a:pt x="63" y="28"/>
                      </a:cubicBezTo>
                      <a:cubicBezTo>
                        <a:pt x="63" y="21"/>
                        <a:pt x="63" y="17"/>
                        <a:pt x="62" y="10"/>
                      </a:cubicBezTo>
                      <a:cubicBezTo>
                        <a:pt x="56" y="3"/>
                        <a:pt x="47" y="0"/>
                        <a:pt x="36" y="0"/>
                      </a:cubicBezTo>
                      <a:cubicBezTo>
                        <a:pt x="11" y="0"/>
                        <a:pt x="0" y="14"/>
                        <a:pt x="0" y="43"/>
                      </a:cubicBezTo>
                      <a:close/>
                      <a:moveTo>
                        <a:pt x="46" y="10"/>
                      </a:moveTo>
                      <a:cubicBezTo>
                        <a:pt x="48" y="11"/>
                        <a:pt x="51" y="12"/>
                        <a:pt x="53" y="14"/>
                      </a:cubicBezTo>
                      <a:cubicBezTo>
                        <a:pt x="53" y="17"/>
                        <a:pt x="53" y="20"/>
                        <a:pt x="53" y="23"/>
                      </a:cubicBezTo>
                      <a:cubicBezTo>
                        <a:pt x="52" y="23"/>
                        <a:pt x="52" y="23"/>
                        <a:pt x="52" y="23"/>
                      </a:cubicBezTo>
                      <a:cubicBezTo>
                        <a:pt x="51" y="18"/>
                        <a:pt x="50" y="14"/>
                        <a:pt x="46" y="10"/>
                      </a:cubicBezTo>
                      <a:close/>
                      <a:moveTo>
                        <a:pt x="46" y="73"/>
                      </a:moveTo>
                      <a:cubicBezTo>
                        <a:pt x="51" y="67"/>
                        <a:pt x="51" y="61"/>
                        <a:pt x="51" y="54"/>
                      </a:cubicBezTo>
                      <a:cubicBezTo>
                        <a:pt x="51" y="51"/>
                        <a:pt x="51" y="51"/>
                        <a:pt x="51" y="51"/>
                      </a:cubicBezTo>
                      <a:cubicBezTo>
                        <a:pt x="54" y="51"/>
                        <a:pt x="54" y="51"/>
                        <a:pt x="54" y="51"/>
                      </a:cubicBezTo>
                      <a:cubicBezTo>
                        <a:pt x="54" y="54"/>
                        <a:pt x="54" y="54"/>
                        <a:pt x="54" y="54"/>
                      </a:cubicBezTo>
                      <a:cubicBezTo>
                        <a:pt x="54" y="62"/>
                        <a:pt x="52" y="68"/>
                        <a:pt x="46" y="73"/>
                      </a:cubicBezTo>
                      <a:close/>
                      <a:moveTo>
                        <a:pt x="18" y="11"/>
                      </a:moveTo>
                      <a:cubicBezTo>
                        <a:pt x="10" y="20"/>
                        <a:pt x="9" y="32"/>
                        <a:pt x="9" y="43"/>
                      </a:cubicBezTo>
                      <a:cubicBezTo>
                        <a:pt x="9" y="53"/>
                        <a:pt x="10" y="65"/>
                        <a:pt x="17" y="73"/>
                      </a:cubicBezTo>
                      <a:cubicBezTo>
                        <a:pt x="8" y="66"/>
                        <a:pt x="6" y="53"/>
                        <a:pt x="6" y="43"/>
                      </a:cubicBezTo>
                      <a:cubicBezTo>
                        <a:pt x="6" y="28"/>
                        <a:pt x="9" y="16"/>
                        <a:pt x="18" y="1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50" name="Freeform 27"/>
                <p:cNvSpPr>
                  <a:spLocks noEditPoints="1"/>
                </p:cNvSpPr>
                <p:nvPr/>
              </p:nvSpPr>
              <p:spPr bwMode="auto">
                <a:xfrm>
                  <a:off x="9855200" y="2778125"/>
                  <a:ext cx="85725" cy="98425"/>
                </a:xfrm>
                <a:custGeom>
                  <a:avLst/>
                  <a:gdLst>
                    <a:gd name="T0" fmla="*/ 49 w 74"/>
                    <a:gd name="T1" fmla="*/ 73 h 84"/>
                    <a:gd name="T2" fmla="*/ 41 w 74"/>
                    <a:gd name="T3" fmla="*/ 74 h 84"/>
                    <a:gd name="T4" fmla="*/ 41 w 74"/>
                    <a:gd name="T5" fmla="*/ 82 h 84"/>
                    <a:gd name="T6" fmla="*/ 74 w 74"/>
                    <a:gd name="T7" fmla="*/ 82 h 84"/>
                    <a:gd name="T8" fmla="*/ 74 w 74"/>
                    <a:gd name="T9" fmla="*/ 74 h 84"/>
                    <a:gd name="T10" fmla="*/ 68 w 74"/>
                    <a:gd name="T11" fmla="*/ 73 h 84"/>
                    <a:gd name="T12" fmla="*/ 46 w 74"/>
                    <a:gd name="T13" fmla="*/ 0 h 84"/>
                    <a:gd name="T14" fmla="*/ 16 w 74"/>
                    <a:gd name="T15" fmla="*/ 1 h 84"/>
                    <a:gd name="T16" fmla="*/ 16 w 74"/>
                    <a:gd name="T17" fmla="*/ 9 h 84"/>
                    <a:gd name="T18" fmla="*/ 25 w 74"/>
                    <a:gd name="T19" fmla="*/ 10 h 84"/>
                    <a:gd name="T20" fmla="*/ 7 w 74"/>
                    <a:gd name="T21" fmla="*/ 73 h 84"/>
                    <a:gd name="T22" fmla="*/ 0 w 74"/>
                    <a:gd name="T23" fmla="*/ 74 h 84"/>
                    <a:gd name="T24" fmla="*/ 0 w 74"/>
                    <a:gd name="T25" fmla="*/ 82 h 84"/>
                    <a:gd name="T26" fmla="*/ 28 w 74"/>
                    <a:gd name="T27" fmla="*/ 82 h 84"/>
                    <a:gd name="T28" fmla="*/ 28 w 74"/>
                    <a:gd name="T29" fmla="*/ 74 h 84"/>
                    <a:gd name="T30" fmla="*/ 20 w 74"/>
                    <a:gd name="T31" fmla="*/ 73 h 84"/>
                    <a:gd name="T32" fmla="*/ 23 w 74"/>
                    <a:gd name="T33" fmla="*/ 60 h 84"/>
                    <a:gd name="T34" fmla="*/ 46 w 74"/>
                    <a:gd name="T35" fmla="*/ 60 h 84"/>
                    <a:gd name="T36" fmla="*/ 49 w 74"/>
                    <a:gd name="T37" fmla="*/ 73 h 84"/>
                    <a:gd name="T38" fmla="*/ 26 w 74"/>
                    <a:gd name="T39" fmla="*/ 49 h 84"/>
                    <a:gd name="T40" fmla="*/ 34 w 74"/>
                    <a:gd name="T41" fmla="*/ 20 h 84"/>
                    <a:gd name="T42" fmla="*/ 42 w 74"/>
                    <a:gd name="T43" fmla="*/ 49 h 84"/>
                    <a:gd name="T44" fmla="*/ 26 w 74"/>
                    <a:gd name="T45" fmla="*/ 49 h 84"/>
                    <a:gd name="T46" fmla="*/ 55 w 74"/>
                    <a:gd name="T47" fmla="*/ 73 h 84"/>
                    <a:gd name="T48" fmla="*/ 37 w 74"/>
                    <a:gd name="T49" fmla="*/ 10 h 84"/>
                    <a:gd name="T50" fmla="*/ 40 w 74"/>
                    <a:gd name="T51" fmla="*/ 10 h 84"/>
                    <a:gd name="T52" fmla="*/ 57 w 74"/>
                    <a:gd name="T53" fmla="*/ 73 h 84"/>
                    <a:gd name="T54" fmla="*/ 55 w 74"/>
                    <a:gd name="T55" fmla="*/ 73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74" h="84">
                      <a:moveTo>
                        <a:pt x="49" y="73"/>
                      </a:moveTo>
                      <a:cubicBezTo>
                        <a:pt x="47" y="73"/>
                        <a:pt x="44" y="74"/>
                        <a:pt x="41" y="74"/>
                      </a:cubicBezTo>
                      <a:cubicBezTo>
                        <a:pt x="41" y="82"/>
                        <a:pt x="41" y="82"/>
                        <a:pt x="41" y="82"/>
                      </a:cubicBezTo>
                      <a:cubicBezTo>
                        <a:pt x="53" y="84"/>
                        <a:pt x="62" y="84"/>
                        <a:pt x="74" y="82"/>
                      </a:cubicBezTo>
                      <a:cubicBezTo>
                        <a:pt x="74" y="74"/>
                        <a:pt x="74" y="74"/>
                        <a:pt x="74" y="74"/>
                      </a:cubicBezTo>
                      <a:cubicBezTo>
                        <a:pt x="71" y="74"/>
                        <a:pt x="70" y="73"/>
                        <a:pt x="68" y="73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36" y="0"/>
                        <a:pt x="27" y="0"/>
                        <a:pt x="16" y="1"/>
                      </a:cubicBezTo>
                      <a:cubicBezTo>
                        <a:pt x="16" y="9"/>
                        <a:pt x="16" y="9"/>
                        <a:pt x="16" y="9"/>
                      </a:cubicBezTo>
                      <a:cubicBezTo>
                        <a:pt x="19" y="9"/>
                        <a:pt x="22" y="10"/>
                        <a:pt x="25" y="10"/>
                      </a:cubicBezTo>
                      <a:cubicBezTo>
                        <a:pt x="7" y="73"/>
                        <a:pt x="7" y="73"/>
                        <a:pt x="7" y="73"/>
                      </a:cubicBezTo>
                      <a:cubicBezTo>
                        <a:pt x="5" y="73"/>
                        <a:pt x="3" y="74"/>
                        <a:pt x="0" y="74"/>
                      </a:cubicBezTo>
                      <a:cubicBezTo>
                        <a:pt x="0" y="82"/>
                        <a:pt x="0" y="82"/>
                        <a:pt x="0" y="82"/>
                      </a:cubicBezTo>
                      <a:cubicBezTo>
                        <a:pt x="12" y="84"/>
                        <a:pt x="16" y="84"/>
                        <a:pt x="28" y="82"/>
                      </a:cubicBezTo>
                      <a:cubicBezTo>
                        <a:pt x="28" y="74"/>
                        <a:pt x="28" y="74"/>
                        <a:pt x="28" y="74"/>
                      </a:cubicBezTo>
                      <a:cubicBezTo>
                        <a:pt x="25" y="74"/>
                        <a:pt x="22" y="73"/>
                        <a:pt x="20" y="73"/>
                      </a:cubicBezTo>
                      <a:cubicBezTo>
                        <a:pt x="23" y="60"/>
                        <a:pt x="23" y="60"/>
                        <a:pt x="23" y="60"/>
                      </a:cubicBezTo>
                      <a:cubicBezTo>
                        <a:pt x="46" y="60"/>
                        <a:pt x="46" y="60"/>
                        <a:pt x="46" y="60"/>
                      </a:cubicBezTo>
                      <a:cubicBezTo>
                        <a:pt x="49" y="73"/>
                        <a:pt x="49" y="73"/>
                        <a:pt x="49" y="73"/>
                      </a:cubicBezTo>
                      <a:close/>
                      <a:moveTo>
                        <a:pt x="26" y="49"/>
                      </a:moveTo>
                      <a:cubicBezTo>
                        <a:pt x="34" y="20"/>
                        <a:pt x="34" y="20"/>
                        <a:pt x="34" y="20"/>
                      </a:cubicBezTo>
                      <a:cubicBezTo>
                        <a:pt x="42" y="49"/>
                        <a:pt x="42" y="49"/>
                        <a:pt x="42" y="49"/>
                      </a:cubicBezTo>
                      <a:cubicBezTo>
                        <a:pt x="26" y="49"/>
                        <a:pt x="26" y="49"/>
                        <a:pt x="26" y="49"/>
                      </a:cubicBezTo>
                      <a:close/>
                      <a:moveTo>
                        <a:pt x="55" y="73"/>
                      </a:move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40" y="10"/>
                        <a:pt x="40" y="10"/>
                        <a:pt x="40" y="10"/>
                      </a:cubicBezTo>
                      <a:cubicBezTo>
                        <a:pt x="57" y="73"/>
                        <a:pt x="57" y="73"/>
                        <a:pt x="57" y="73"/>
                      </a:cubicBezTo>
                      <a:cubicBezTo>
                        <a:pt x="55" y="73"/>
                        <a:pt x="55" y="73"/>
                        <a:pt x="55" y="7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51" name="Freeform 28"/>
                <p:cNvSpPr>
                  <a:spLocks noEditPoints="1"/>
                </p:cNvSpPr>
                <p:nvPr/>
              </p:nvSpPr>
              <p:spPr bwMode="auto">
                <a:xfrm>
                  <a:off x="9944100" y="2778125"/>
                  <a:ext cx="73025" cy="98425"/>
                </a:xfrm>
                <a:custGeom>
                  <a:avLst/>
                  <a:gdLst>
                    <a:gd name="T0" fmla="*/ 41 w 63"/>
                    <a:gd name="T1" fmla="*/ 73 h 84"/>
                    <a:gd name="T2" fmla="*/ 41 w 63"/>
                    <a:gd name="T3" fmla="*/ 13 h 84"/>
                    <a:gd name="T4" fmla="*/ 49 w 63"/>
                    <a:gd name="T5" fmla="*/ 13 h 84"/>
                    <a:gd name="T6" fmla="*/ 53 w 63"/>
                    <a:gd name="T7" fmla="*/ 27 h 84"/>
                    <a:gd name="T8" fmla="*/ 62 w 63"/>
                    <a:gd name="T9" fmla="*/ 27 h 84"/>
                    <a:gd name="T10" fmla="*/ 62 w 63"/>
                    <a:gd name="T11" fmla="*/ 1 h 84"/>
                    <a:gd name="T12" fmla="*/ 49 w 63"/>
                    <a:gd name="T13" fmla="*/ 0 h 84"/>
                    <a:gd name="T14" fmla="*/ 13 w 63"/>
                    <a:gd name="T15" fmla="*/ 0 h 84"/>
                    <a:gd name="T16" fmla="*/ 0 w 63"/>
                    <a:gd name="T17" fmla="*/ 1 h 84"/>
                    <a:gd name="T18" fmla="*/ 1 w 63"/>
                    <a:gd name="T19" fmla="*/ 27 h 84"/>
                    <a:gd name="T20" fmla="*/ 9 w 63"/>
                    <a:gd name="T21" fmla="*/ 27 h 84"/>
                    <a:gd name="T22" fmla="*/ 13 w 63"/>
                    <a:gd name="T23" fmla="*/ 13 h 84"/>
                    <a:gd name="T24" fmla="*/ 22 w 63"/>
                    <a:gd name="T25" fmla="*/ 13 h 84"/>
                    <a:gd name="T26" fmla="*/ 22 w 63"/>
                    <a:gd name="T27" fmla="*/ 73 h 84"/>
                    <a:gd name="T28" fmla="*/ 14 w 63"/>
                    <a:gd name="T29" fmla="*/ 74 h 84"/>
                    <a:gd name="T30" fmla="*/ 14 w 63"/>
                    <a:gd name="T31" fmla="*/ 82 h 84"/>
                    <a:gd name="T32" fmla="*/ 49 w 63"/>
                    <a:gd name="T33" fmla="*/ 82 h 84"/>
                    <a:gd name="T34" fmla="*/ 49 w 63"/>
                    <a:gd name="T35" fmla="*/ 74 h 84"/>
                    <a:gd name="T36" fmla="*/ 41 w 63"/>
                    <a:gd name="T37" fmla="*/ 73 h 84"/>
                    <a:gd name="T38" fmla="*/ 28 w 63"/>
                    <a:gd name="T39" fmla="*/ 13 h 84"/>
                    <a:gd name="T40" fmla="*/ 30 w 63"/>
                    <a:gd name="T41" fmla="*/ 13 h 84"/>
                    <a:gd name="T42" fmla="*/ 30 w 63"/>
                    <a:gd name="T43" fmla="*/ 73 h 84"/>
                    <a:gd name="T44" fmla="*/ 28 w 63"/>
                    <a:gd name="T45" fmla="*/ 73 h 84"/>
                    <a:gd name="T46" fmla="*/ 28 w 63"/>
                    <a:gd name="T47" fmla="*/ 13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63" h="84">
                      <a:moveTo>
                        <a:pt x="41" y="73"/>
                      </a:moveTo>
                      <a:cubicBezTo>
                        <a:pt x="41" y="13"/>
                        <a:pt x="41" y="13"/>
                        <a:pt x="41" y="13"/>
                      </a:cubicBezTo>
                      <a:cubicBezTo>
                        <a:pt x="49" y="13"/>
                        <a:pt x="49" y="13"/>
                        <a:pt x="49" y="13"/>
                      </a:cubicBezTo>
                      <a:cubicBezTo>
                        <a:pt x="50" y="18"/>
                        <a:pt x="52" y="24"/>
                        <a:pt x="53" y="27"/>
                      </a:cubicBezTo>
                      <a:cubicBezTo>
                        <a:pt x="62" y="27"/>
                        <a:pt x="62" y="27"/>
                        <a:pt x="62" y="27"/>
                      </a:cubicBezTo>
                      <a:cubicBezTo>
                        <a:pt x="63" y="19"/>
                        <a:pt x="63" y="10"/>
                        <a:pt x="62" y="1"/>
                      </a:cubicBezTo>
                      <a:cubicBezTo>
                        <a:pt x="58" y="1"/>
                        <a:pt x="54" y="0"/>
                        <a:pt x="49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9" y="0"/>
                        <a:pt x="5" y="1"/>
                        <a:pt x="0" y="1"/>
                      </a:cubicBezTo>
                      <a:cubicBezTo>
                        <a:pt x="0" y="10"/>
                        <a:pt x="0" y="19"/>
                        <a:pt x="1" y="27"/>
                      </a:cubicBezTo>
                      <a:cubicBezTo>
                        <a:pt x="9" y="27"/>
                        <a:pt x="9" y="27"/>
                        <a:pt x="9" y="27"/>
                      </a:cubicBezTo>
                      <a:cubicBezTo>
                        <a:pt x="11" y="24"/>
                        <a:pt x="13" y="18"/>
                        <a:pt x="13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22" y="73"/>
                        <a:pt x="22" y="73"/>
                        <a:pt x="22" y="73"/>
                      </a:cubicBezTo>
                      <a:cubicBezTo>
                        <a:pt x="19" y="73"/>
                        <a:pt x="16" y="74"/>
                        <a:pt x="14" y="74"/>
                      </a:cubicBezTo>
                      <a:cubicBezTo>
                        <a:pt x="14" y="82"/>
                        <a:pt x="14" y="82"/>
                        <a:pt x="14" y="82"/>
                      </a:cubicBezTo>
                      <a:cubicBezTo>
                        <a:pt x="25" y="84"/>
                        <a:pt x="37" y="84"/>
                        <a:pt x="49" y="82"/>
                      </a:cubicBezTo>
                      <a:cubicBezTo>
                        <a:pt x="49" y="74"/>
                        <a:pt x="49" y="74"/>
                        <a:pt x="49" y="74"/>
                      </a:cubicBezTo>
                      <a:cubicBezTo>
                        <a:pt x="46" y="74"/>
                        <a:pt x="43" y="73"/>
                        <a:pt x="41" y="73"/>
                      </a:cubicBezTo>
                      <a:close/>
                      <a:moveTo>
                        <a:pt x="28" y="13"/>
                      </a:moveTo>
                      <a:cubicBezTo>
                        <a:pt x="30" y="13"/>
                        <a:pt x="30" y="13"/>
                        <a:pt x="30" y="13"/>
                      </a:cubicBezTo>
                      <a:cubicBezTo>
                        <a:pt x="30" y="73"/>
                        <a:pt x="30" y="73"/>
                        <a:pt x="30" y="73"/>
                      </a:cubicBezTo>
                      <a:cubicBezTo>
                        <a:pt x="28" y="73"/>
                        <a:pt x="28" y="73"/>
                        <a:pt x="28" y="73"/>
                      </a:cubicBezTo>
                      <a:cubicBezTo>
                        <a:pt x="28" y="13"/>
                        <a:pt x="28" y="13"/>
                        <a:pt x="28" y="1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  <p:sp>
              <p:nvSpPr>
                <p:cNvPr id="52" name="Freeform 29"/>
                <p:cNvSpPr>
                  <a:spLocks/>
                </p:cNvSpPr>
                <p:nvPr/>
              </p:nvSpPr>
              <p:spPr bwMode="auto">
                <a:xfrm>
                  <a:off x="9613900" y="2543175"/>
                  <a:ext cx="277813" cy="333375"/>
                </a:xfrm>
                <a:custGeom>
                  <a:avLst/>
                  <a:gdLst>
                    <a:gd name="T0" fmla="*/ 95 w 237"/>
                    <a:gd name="T1" fmla="*/ 177 h 285"/>
                    <a:gd name="T2" fmla="*/ 66 w 237"/>
                    <a:gd name="T3" fmla="*/ 161 h 285"/>
                    <a:gd name="T4" fmla="*/ 55 w 237"/>
                    <a:gd name="T5" fmla="*/ 122 h 285"/>
                    <a:gd name="T6" fmla="*/ 63 w 237"/>
                    <a:gd name="T7" fmla="*/ 76 h 285"/>
                    <a:gd name="T8" fmla="*/ 85 w 237"/>
                    <a:gd name="T9" fmla="*/ 37 h 285"/>
                    <a:gd name="T10" fmla="*/ 116 w 237"/>
                    <a:gd name="T11" fmla="*/ 10 h 285"/>
                    <a:gd name="T12" fmla="*/ 152 w 237"/>
                    <a:gd name="T13" fmla="*/ 0 h 285"/>
                    <a:gd name="T14" fmla="*/ 185 w 237"/>
                    <a:gd name="T15" fmla="*/ 6 h 285"/>
                    <a:gd name="T16" fmla="*/ 212 w 237"/>
                    <a:gd name="T17" fmla="*/ 25 h 285"/>
                    <a:gd name="T18" fmla="*/ 230 w 237"/>
                    <a:gd name="T19" fmla="*/ 56 h 285"/>
                    <a:gd name="T20" fmla="*/ 237 w 237"/>
                    <a:gd name="T21" fmla="*/ 100 h 285"/>
                    <a:gd name="T22" fmla="*/ 230 w 237"/>
                    <a:gd name="T23" fmla="*/ 153 h 285"/>
                    <a:gd name="T24" fmla="*/ 208 w 237"/>
                    <a:gd name="T25" fmla="*/ 204 h 285"/>
                    <a:gd name="T26" fmla="*/ 176 w 237"/>
                    <a:gd name="T27" fmla="*/ 246 h 285"/>
                    <a:gd name="T28" fmla="*/ 134 w 237"/>
                    <a:gd name="T29" fmla="*/ 275 h 285"/>
                    <a:gd name="T30" fmla="*/ 85 w 237"/>
                    <a:gd name="T31" fmla="*/ 285 h 285"/>
                    <a:gd name="T32" fmla="*/ 22 w 237"/>
                    <a:gd name="T33" fmla="*/ 260 h 285"/>
                    <a:gd name="T34" fmla="*/ 0 w 237"/>
                    <a:gd name="T35" fmla="*/ 188 h 285"/>
                    <a:gd name="T36" fmla="*/ 25 w 237"/>
                    <a:gd name="T37" fmla="*/ 93 h 285"/>
                    <a:gd name="T38" fmla="*/ 55 w 237"/>
                    <a:gd name="T39" fmla="*/ 57 h 285"/>
                    <a:gd name="T40" fmla="*/ 60 w 237"/>
                    <a:gd name="T41" fmla="*/ 64 h 285"/>
                    <a:gd name="T42" fmla="*/ 38 w 237"/>
                    <a:gd name="T43" fmla="*/ 116 h 285"/>
                    <a:gd name="T44" fmla="*/ 30 w 237"/>
                    <a:gd name="T45" fmla="*/ 172 h 285"/>
                    <a:gd name="T46" fmla="*/ 33 w 237"/>
                    <a:gd name="T47" fmla="*/ 214 h 285"/>
                    <a:gd name="T48" fmla="*/ 44 w 237"/>
                    <a:gd name="T49" fmla="*/ 244 h 285"/>
                    <a:gd name="T50" fmla="*/ 92 w 237"/>
                    <a:gd name="T51" fmla="*/ 273 h 285"/>
                    <a:gd name="T52" fmla="*/ 170 w 237"/>
                    <a:gd name="T53" fmla="*/ 215 h 285"/>
                    <a:gd name="T54" fmla="*/ 197 w 237"/>
                    <a:gd name="T55" fmla="*/ 139 h 285"/>
                    <a:gd name="T56" fmla="*/ 201 w 237"/>
                    <a:gd name="T57" fmla="*/ 100 h 285"/>
                    <a:gd name="T58" fmla="*/ 198 w 237"/>
                    <a:gd name="T59" fmla="*/ 66 h 285"/>
                    <a:gd name="T60" fmla="*/ 188 w 237"/>
                    <a:gd name="T61" fmla="*/ 39 h 285"/>
                    <a:gd name="T62" fmla="*/ 147 w 237"/>
                    <a:gd name="T63" fmla="*/ 14 h 285"/>
                    <a:gd name="T64" fmla="*/ 108 w 237"/>
                    <a:gd name="T65" fmla="*/ 30 h 285"/>
                    <a:gd name="T66" fmla="*/ 81 w 237"/>
                    <a:gd name="T67" fmla="*/ 71 h 285"/>
                    <a:gd name="T68" fmla="*/ 71 w 237"/>
                    <a:gd name="T69" fmla="*/ 120 h 285"/>
                    <a:gd name="T70" fmla="*/ 78 w 237"/>
                    <a:gd name="T71" fmla="*/ 154 h 285"/>
                    <a:gd name="T72" fmla="*/ 96 w 237"/>
                    <a:gd name="T73" fmla="*/ 165 h 285"/>
                    <a:gd name="T74" fmla="*/ 118 w 237"/>
                    <a:gd name="T75" fmla="*/ 156 h 285"/>
                    <a:gd name="T76" fmla="*/ 137 w 237"/>
                    <a:gd name="T77" fmla="*/ 133 h 285"/>
                    <a:gd name="T78" fmla="*/ 145 w 237"/>
                    <a:gd name="T79" fmla="*/ 102 h 285"/>
                    <a:gd name="T80" fmla="*/ 161 w 237"/>
                    <a:gd name="T81" fmla="*/ 99 h 285"/>
                    <a:gd name="T82" fmla="*/ 152 w 237"/>
                    <a:gd name="T83" fmla="*/ 137 h 285"/>
                    <a:gd name="T84" fmla="*/ 128 w 237"/>
                    <a:gd name="T85" fmla="*/ 166 h 285"/>
                    <a:gd name="T86" fmla="*/ 95 w 237"/>
                    <a:gd name="T87" fmla="*/ 177 h 2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237" h="285">
                      <a:moveTo>
                        <a:pt x="95" y="177"/>
                      </a:moveTo>
                      <a:cubicBezTo>
                        <a:pt x="83" y="177"/>
                        <a:pt x="73" y="172"/>
                        <a:pt x="66" y="161"/>
                      </a:cubicBezTo>
                      <a:cubicBezTo>
                        <a:pt x="59" y="150"/>
                        <a:pt x="55" y="137"/>
                        <a:pt x="55" y="122"/>
                      </a:cubicBezTo>
                      <a:cubicBezTo>
                        <a:pt x="55" y="106"/>
                        <a:pt x="58" y="91"/>
                        <a:pt x="63" y="76"/>
                      </a:cubicBezTo>
                      <a:cubicBezTo>
                        <a:pt x="69" y="62"/>
                        <a:pt x="76" y="49"/>
                        <a:pt x="85" y="37"/>
                      </a:cubicBezTo>
                      <a:cubicBezTo>
                        <a:pt x="94" y="26"/>
                        <a:pt x="104" y="17"/>
                        <a:pt x="116" y="10"/>
                      </a:cubicBezTo>
                      <a:cubicBezTo>
                        <a:pt x="128" y="3"/>
                        <a:pt x="140" y="0"/>
                        <a:pt x="152" y="0"/>
                      </a:cubicBezTo>
                      <a:cubicBezTo>
                        <a:pt x="164" y="0"/>
                        <a:pt x="175" y="2"/>
                        <a:pt x="185" y="6"/>
                      </a:cubicBezTo>
                      <a:cubicBezTo>
                        <a:pt x="195" y="11"/>
                        <a:pt x="204" y="17"/>
                        <a:pt x="212" y="25"/>
                      </a:cubicBezTo>
                      <a:cubicBezTo>
                        <a:pt x="220" y="33"/>
                        <a:pt x="226" y="43"/>
                        <a:pt x="230" y="56"/>
                      </a:cubicBezTo>
                      <a:cubicBezTo>
                        <a:pt x="235" y="68"/>
                        <a:pt x="237" y="83"/>
                        <a:pt x="237" y="100"/>
                      </a:cubicBezTo>
                      <a:cubicBezTo>
                        <a:pt x="237" y="116"/>
                        <a:pt x="235" y="134"/>
                        <a:pt x="230" y="153"/>
                      </a:cubicBezTo>
                      <a:cubicBezTo>
                        <a:pt x="225" y="171"/>
                        <a:pt x="218" y="188"/>
                        <a:pt x="208" y="204"/>
                      </a:cubicBezTo>
                      <a:cubicBezTo>
                        <a:pt x="199" y="220"/>
                        <a:pt x="188" y="234"/>
                        <a:pt x="176" y="246"/>
                      </a:cubicBezTo>
                      <a:cubicBezTo>
                        <a:pt x="164" y="258"/>
                        <a:pt x="150" y="268"/>
                        <a:pt x="134" y="275"/>
                      </a:cubicBezTo>
                      <a:cubicBezTo>
                        <a:pt x="118" y="282"/>
                        <a:pt x="102" y="285"/>
                        <a:pt x="85" y="285"/>
                      </a:cubicBezTo>
                      <a:cubicBezTo>
                        <a:pt x="58" y="285"/>
                        <a:pt x="37" y="277"/>
                        <a:pt x="22" y="260"/>
                      </a:cubicBezTo>
                      <a:cubicBezTo>
                        <a:pt x="8" y="243"/>
                        <a:pt x="0" y="219"/>
                        <a:pt x="0" y="188"/>
                      </a:cubicBezTo>
                      <a:cubicBezTo>
                        <a:pt x="0" y="154"/>
                        <a:pt x="9" y="122"/>
                        <a:pt x="25" y="93"/>
                      </a:cubicBezTo>
                      <a:cubicBezTo>
                        <a:pt x="34" y="79"/>
                        <a:pt x="44" y="67"/>
                        <a:pt x="55" y="57"/>
                      </a:cubicBezTo>
                      <a:cubicBezTo>
                        <a:pt x="60" y="64"/>
                        <a:pt x="60" y="64"/>
                        <a:pt x="60" y="64"/>
                      </a:cubicBezTo>
                      <a:cubicBezTo>
                        <a:pt x="51" y="78"/>
                        <a:pt x="43" y="95"/>
                        <a:pt x="38" y="116"/>
                      </a:cubicBezTo>
                      <a:cubicBezTo>
                        <a:pt x="32" y="137"/>
                        <a:pt x="30" y="155"/>
                        <a:pt x="30" y="172"/>
                      </a:cubicBezTo>
                      <a:cubicBezTo>
                        <a:pt x="30" y="189"/>
                        <a:pt x="31" y="203"/>
                        <a:pt x="33" y="214"/>
                      </a:cubicBezTo>
                      <a:cubicBezTo>
                        <a:pt x="36" y="225"/>
                        <a:pt x="39" y="235"/>
                        <a:pt x="44" y="244"/>
                      </a:cubicBezTo>
                      <a:cubicBezTo>
                        <a:pt x="55" y="264"/>
                        <a:pt x="70" y="273"/>
                        <a:pt x="92" y="273"/>
                      </a:cubicBezTo>
                      <a:cubicBezTo>
                        <a:pt x="122" y="273"/>
                        <a:pt x="148" y="254"/>
                        <a:pt x="170" y="215"/>
                      </a:cubicBezTo>
                      <a:cubicBezTo>
                        <a:pt x="183" y="193"/>
                        <a:pt x="192" y="168"/>
                        <a:pt x="197" y="139"/>
                      </a:cubicBezTo>
                      <a:cubicBezTo>
                        <a:pt x="200" y="125"/>
                        <a:pt x="201" y="112"/>
                        <a:pt x="201" y="100"/>
                      </a:cubicBezTo>
                      <a:cubicBezTo>
                        <a:pt x="201" y="88"/>
                        <a:pt x="200" y="76"/>
                        <a:pt x="198" y="66"/>
                      </a:cubicBezTo>
                      <a:cubicBezTo>
                        <a:pt x="196" y="56"/>
                        <a:pt x="193" y="47"/>
                        <a:pt x="188" y="39"/>
                      </a:cubicBezTo>
                      <a:cubicBezTo>
                        <a:pt x="179" y="23"/>
                        <a:pt x="166" y="14"/>
                        <a:pt x="147" y="14"/>
                      </a:cubicBezTo>
                      <a:cubicBezTo>
                        <a:pt x="132" y="14"/>
                        <a:pt x="120" y="20"/>
                        <a:pt x="108" y="30"/>
                      </a:cubicBezTo>
                      <a:cubicBezTo>
                        <a:pt x="96" y="41"/>
                        <a:pt x="87" y="54"/>
                        <a:pt x="81" y="71"/>
                      </a:cubicBezTo>
                      <a:cubicBezTo>
                        <a:pt x="75" y="87"/>
                        <a:pt x="71" y="104"/>
                        <a:pt x="71" y="120"/>
                      </a:cubicBezTo>
                      <a:cubicBezTo>
                        <a:pt x="71" y="136"/>
                        <a:pt x="74" y="147"/>
                        <a:pt x="78" y="154"/>
                      </a:cubicBezTo>
                      <a:cubicBezTo>
                        <a:pt x="83" y="161"/>
                        <a:pt x="89" y="165"/>
                        <a:pt x="96" y="165"/>
                      </a:cubicBezTo>
                      <a:cubicBezTo>
                        <a:pt x="103" y="165"/>
                        <a:pt x="110" y="162"/>
                        <a:pt x="118" y="156"/>
                      </a:cubicBezTo>
                      <a:cubicBezTo>
                        <a:pt x="125" y="150"/>
                        <a:pt x="132" y="143"/>
                        <a:pt x="137" y="133"/>
                      </a:cubicBezTo>
                      <a:cubicBezTo>
                        <a:pt x="142" y="123"/>
                        <a:pt x="145" y="113"/>
                        <a:pt x="145" y="102"/>
                      </a:cubicBezTo>
                      <a:cubicBezTo>
                        <a:pt x="161" y="99"/>
                        <a:pt x="161" y="99"/>
                        <a:pt x="161" y="99"/>
                      </a:cubicBezTo>
                      <a:cubicBezTo>
                        <a:pt x="161" y="112"/>
                        <a:pt x="158" y="125"/>
                        <a:pt x="152" y="137"/>
                      </a:cubicBezTo>
                      <a:cubicBezTo>
                        <a:pt x="146" y="149"/>
                        <a:pt x="138" y="159"/>
                        <a:pt x="128" y="166"/>
                      </a:cubicBezTo>
                      <a:cubicBezTo>
                        <a:pt x="118" y="174"/>
                        <a:pt x="107" y="177"/>
                        <a:pt x="95" y="177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2" name="组合 1"/>
            <p:cNvGrpSpPr/>
            <p:nvPr/>
          </p:nvGrpSpPr>
          <p:grpSpPr>
            <a:xfrm>
              <a:off x="3143672" y="2741761"/>
              <a:ext cx="5070346" cy="1569661"/>
              <a:chOff x="2636128" y="2287362"/>
              <a:chExt cx="5070346" cy="1569661"/>
            </a:xfrm>
          </p:grpSpPr>
          <p:sp>
            <p:nvSpPr>
              <p:cNvPr id="29" name="TextBox 63"/>
              <p:cNvSpPr txBox="1">
                <a:spLocks noChangeArrowheads="1"/>
              </p:cNvSpPr>
              <p:nvPr/>
            </p:nvSpPr>
            <p:spPr bwMode="auto">
              <a:xfrm>
                <a:off x="2636128" y="2287362"/>
                <a:ext cx="5070346" cy="1200329"/>
              </a:xfrm>
              <a:prstGeom prst="rect">
                <a:avLst/>
              </a:prstGeom>
              <a:noFill/>
              <a:effectLst/>
              <a:extLst/>
            </p:spPr>
            <p:txBody>
              <a:bodyPr wrap="square" rtlCol="0">
                <a:spAutoFit/>
              </a:bodyPr>
              <a:lstStyle>
                <a:defPPr>
                  <a:defRPr lang="zh-CN"/>
                </a:defPPr>
                <a:lvl1pPr algn="ctr">
                  <a:defRPr sz="7200" b="1">
                    <a:ln w="19050">
                      <a:solidFill>
                        <a:schemeClr val="bg1">
                          <a:lumMod val="65000"/>
                        </a:schemeClr>
                      </a:solidFill>
                    </a:ln>
                    <a:solidFill>
                      <a:srgbClr val="C00000"/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defRPr>
                </a:lvl1pPr>
              </a:lstStyle>
              <a:p>
                <a:r>
                  <a:rPr lang="zh-CN" altLang="en-US" dirty="0">
                    <a:ln w="19050">
                      <a:noFill/>
                    </a:ln>
                    <a:solidFill>
                      <a:srgbClr val="9A0000"/>
                    </a:solidFill>
                  </a:rPr>
                  <a:t>谢谢</a:t>
                </a:r>
                <a:r>
                  <a:rPr lang="zh-CN" altLang="en-US" dirty="0" smtClean="0">
                    <a:ln w="19050">
                      <a:noFill/>
                    </a:ln>
                    <a:solidFill>
                      <a:srgbClr val="9A0000"/>
                    </a:solidFill>
                  </a:rPr>
                  <a:t>观看</a:t>
                </a:r>
                <a:endParaRPr lang="zh-CN" altLang="en-US" dirty="0">
                  <a:ln w="19050">
                    <a:noFill/>
                  </a:ln>
                  <a:solidFill>
                    <a:srgbClr val="9A0000"/>
                  </a:solidFill>
                </a:endParaRPr>
              </a:p>
            </p:txBody>
          </p:sp>
          <p:sp>
            <p:nvSpPr>
              <p:cNvPr id="30" name="TextBox 22"/>
              <p:cNvSpPr txBox="1">
                <a:spLocks noChangeArrowheads="1"/>
              </p:cNvSpPr>
              <p:nvPr/>
            </p:nvSpPr>
            <p:spPr bwMode="auto">
              <a:xfrm>
                <a:off x="3590435" y="3395358"/>
                <a:ext cx="3161732" cy="461665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>
                <a:spAutoFit/>
                <a:scene3d>
                  <a:camera prst="orthographicFront"/>
                  <a:lightRig rig="flood" dir="t"/>
                </a:scene3d>
                <a:sp3d extrusionH="114300">
                  <a:extrusionClr>
                    <a:srgbClr val="00B0F0"/>
                  </a:extrusionClr>
                  <a:contourClr>
                    <a:schemeClr val="bg1"/>
                  </a:contourClr>
                </a:sp3d>
              </a:bodyPr>
              <a:lstStyle>
                <a:defPPr>
                  <a:defRPr lang="zh-CN"/>
                </a:defPPr>
                <a:lvl1pPr algn="dist">
                  <a:defRPr sz="4400" b="1">
                    <a:pattFill prst="pct90">
                      <a:fgClr>
                        <a:srgbClr val="6A3906"/>
                      </a:fgClr>
                      <a:bgClr>
                        <a:srgbClr val="00A297"/>
                      </a:bgClr>
                    </a:pattFill>
                    <a:latin typeface="DFPMaruGothic-SB" pitchFamily="50" charset="-128"/>
                    <a:ea typeface="DFPMaruGothic-SB" pitchFamily="50" charset="-128"/>
                  </a:defRPr>
                </a:lvl1pPr>
                <a:lvl2pPr marL="742950" indent="-285750" eaLnBrk="0" hangingPunct="0">
                  <a:defRPr>
                    <a:latin typeface="Calibri" pitchFamily="34" charset="0"/>
                    <a:ea typeface="宋体" charset="-122"/>
                  </a:defRPr>
                </a:lvl2pPr>
                <a:lvl3pPr marL="1143000" indent="-228600" eaLnBrk="0" hangingPunct="0">
                  <a:defRPr>
                    <a:latin typeface="Calibri" pitchFamily="34" charset="0"/>
                    <a:ea typeface="宋体" charset="-122"/>
                  </a:defRPr>
                </a:lvl3pPr>
                <a:lvl4pPr marL="1600200" indent="-228600" eaLnBrk="0" hangingPunct="0">
                  <a:defRPr>
                    <a:latin typeface="Calibri" pitchFamily="34" charset="0"/>
                    <a:ea typeface="宋体" charset="-122"/>
                  </a:defRPr>
                </a:lvl4pPr>
                <a:lvl5pPr marL="2057400" indent="-228600" eaLnBrk="0" hangingPunct="0">
                  <a:defRPr>
                    <a:latin typeface="Calibri" pitchFamily="34" charset="0"/>
                    <a:ea typeface="宋体" charset="-122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charset="-122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charset="-122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charset="-122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charset="-122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zh-CN" sz="2400" b="0" dirty="0">
                    <a:solidFill>
                      <a:schemeClr val="bg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THANK YOU </a:t>
                </a:r>
                <a:endParaRPr lang="zh-CN" altLang="en-US" sz="2400" b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="" val="2030287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14:window dir="ver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1721811" y="908720"/>
            <a:ext cx="3572887" cy="2680369"/>
            <a:chOff x="1721811" y="908720"/>
            <a:chExt cx="3572887" cy="2680369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4171308" y="2564242"/>
              <a:ext cx="1123390" cy="574365"/>
            </a:xfrm>
            <a:custGeom>
              <a:avLst/>
              <a:gdLst>
                <a:gd name="T0" fmla="*/ 272 w 337"/>
                <a:gd name="T1" fmla="*/ 84 h 172"/>
                <a:gd name="T2" fmla="*/ 202 w 337"/>
                <a:gd name="T3" fmla="*/ 79 h 172"/>
                <a:gd name="T4" fmla="*/ 189 w 337"/>
                <a:gd name="T5" fmla="*/ 60 h 172"/>
                <a:gd name="T6" fmla="*/ 159 w 337"/>
                <a:gd name="T7" fmla="*/ 44 h 172"/>
                <a:gd name="T8" fmla="*/ 103 w 337"/>
                <a:gd name="T9" fmla="*/ 0 h 172"/>
                <a:gd name="T10" fmla="*/ 65 w 337"/>
                <a:gd name="T11" fmla="*/ 15 h 172"/>
                <a:gd name="T12" fmla="*/ 0 w 337"/>
                <a:gd name="T13" fmla="*/ 76 h 172"/>
                <a:gd name="T14" fmla="*/ 25 w 337"/>
                <a:gd name="T15" fmla="*/ 131 h 172"/>
                <a:gd name="T16" fmla="*/ 107 w 337"/>
                <a:gd name="T17" fmla="*/ 160 h 172"/>
                <a:gd name="T18" fmla="*/ 170 w 337"/>
                <a:gd name="T19" fmla="*/ 125 h 172"/>
                <a:gd name="T20" fmla="*/ 169 w 337"/>
                <a:gd name="T21" fmla="*/ 88 h 172"/>
                <a:gd name="T22" fmla="*/ 127 w 337"/>
                <a:gd name="T23" fmla="*/ 59 h 172"/>
                <a:gd name="T24" fmla="*/ 97 w 337"/>
                <a:gd name="T25" fmla="*/ 48 h 172"/>
                <a:gd name="T26" fmla="*/ 50 w 337"/>
                <a:gd name="T27" fmla="*/ 102 h 172"/>
                <a:gd name="T28" fmla="*/ 113 w 337"/>
                <a:gd name="T29" fmla="*/ 122 h 172"/>
                <a:gd name="T30" fmla="*/ 122 w 337"/>
                <a:gd name="T31" fmla="*/ 103 h 172"/>
                <a:gd name="T32" fmla="*/ 78 w 337"/>
                <a:gd name="T33" fmla="*/ 88 h 172"/>
                <a:gd name="T34" fmla="*/ 112 w 337"/>
                <a:gd name="T35" fmla="*/ 112 h 172"/>
                <a:gd name="T36" fmla="*/ 172 w 337"/>
                <a:gd name="T37" fmla="*/ 115 h 172"/>
                <a:gd name="T38" fmla="*/ 240 w 337"/>
                <a:gd name="T39" fmla="*/ 98 h 172"/>
                <a:gd name="T40" fmla="*/ 327 w 337"/>
                <a:gd name="T41" fmla="*/ 128 h 172"/>
                <a:gd name="T42" fmla="*/ 325 w 337"/>
                <a:gd name="T43" fmla="*/ 124 h 172"/>
                <a:gd name="T44" fmla="*/ 323 w 337"/>
                <a:gd name="T45" fmla="*/ 124 h 172"/>
                <a:gd name="T46" fmla="*/ 306 w 337"/>
                <a:gd name="T47" fmla="*/ 119 h 172"/>
                <a:gd name="T48" fmla="*/ 326 w 337"/>
                <a:gd name="T49" fmla="*/ 126 h 172"/>
                <a:gd name="T50" fmla="*/ 264 w 337"/>
                <a:gd name="T51" fmla="*/ 102 h 172"/>
                <a:gd name="T52" fmla="*/ 181 w 337"/>
                <a:gd name="T53" fmla="*/ 109 h 172"/>
                <a:gd name="T54" fmla="*/ 115 w 337"/>
                <a:gd name="T55" fmla="*/ 109 h 172"/>
                <a:gd name="T56" fmla="*/ 95 w 337"/>
                <a:gd name="T57" fmla="*/ 117 h 172"/>
                <a:gd name="T58" fmla="*/ 91 w 337"/>
                <a:gd name="T59" fmla="*/ 82 h 172"/>
                <a:gd name="T60" fmla="*/ 120 w 337"/>
                <a:gd name="T61" fmla="*/ 103 h 172"/>
                <a:gd name="T62" fmla="*/ 92 w 337"/>
                <a:gd name="T63" fmla="*/ 128 h 172"/>
                <a:gd name="T64" fmla="*/ 54 w 337"/>
                <a:gd name="T65" fmla="*/ 97 h 172"/>
                <a:gd name="T66" fmla="*/ 117 w 337"/>
                <a:gd name="T67" fmla="*/ 57 h 172"/>
                <a:gd name="T68" fmla="*/ 127 w 337"/>
                <a:gd name="T69" fmla="*/ 63 h 172"/>
                <a:gd name="T70" fmla="*/ 163 w 337"/>
                <a:gd name="T71" fmla="*/ 78 h 172"/>
                <a:gd name="T72" fmla="*/ 162 w 337"/>
                <a:gd name="T73" fmla="*/ 106 h 172"/>
                <a:gd name="T74" fmla="*/ 162 w 337"/>
                <a:gd name="T75" fmla="*/ 109 h 172"/>
                <a:gd name="T76" fmla="*/ 113 w 337"/>
                <a:gd name="T77" fmla="*/ 160 h 172"/>
                <a:gd name="T78" fmla="*/ 107 w 337"/>
                <a:gd name="T79" fmla="*/ 158 h 172"/>
                <a:gd name="T80" fmla="*/ 29 w 337"/>
                <a:gd name="T81" fmla="*/ 130 h 172"/>
                <a:gd name="T82" fmla="*/ 27 w 337"/>
                <a:gd name="T83" fmla="*/ 116 h 172"/>
                <a:gd name="T84" fmla="*/ 4 w 337"/>
                <a:gd name="T85" fmla="*/ 72 h 172"/>
                <a:gd name="T86" fmla="*/ 64 w 337"/>
                <a:gd name="T87" fmla="*/ 19 h 172"/>
                <a:gd name="T88" fmla="*/ 67 w 337"/>
                <a:gd name="T89" fmla="*/ 19 h 172"/>
                <a:gd name="T90" fmla="*/ 155 w 337"/>
                <a:gd name="T91" fmla="*/ 40 h 172"/>
                <a:gd name="T92" fmla="*/ 158 w 337"/>
                <a:gd name="T93" fmla="*/ 46 h 172"/>
                <a:gd name="T94" fmla="*/ 186 w 337"/>
                <a:gd name="T95" fmla="*/ 62 h 172"/>
                <a:gd name="T96" fmla="*/ 202 w 337"/>
                <a:gd name="T97" fmla="*/ 83 h 172"/>
                <a:gd name="T98" fmla="*/ 270 w 337"/>
                <a:gd name="T99" fmla="*/ 88 h 172"/>
                <a:gd name="T100" fmla="*/ 305 w 337"/>
                <a:gd name="T101" fmla="*/ 121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7" h="172">
                  <a:moveTo>
                    <a:pt x="306" y="119"/>
                  </a:moveTo>
                  <a:cubicBezTo>
                    <a:pt x="308" y="118"/>
                    <a:pt x="308" y="118"/>
                    <a:pt x="308" y="118"/>
                  </a:cubicBezTo>
                  <a:cubicBezTo>
                    <a:pt x="308" y="118"/>
                    <a:pt x="303" y="112"/>
                    <a:pt x="296" y="105"/>
                  </a:cubicBezTo>
                  <a:cubicBezTo>
                    <a:pt x="289" y="98"/>
                    <a:pt x="281" y="89"/>
                    <a:pt x="272" y="84"/>
                  </a:cubicBezTo>
                  <a:cubicBezTo>
                    <a:pt x="261" y="78"/>
                    <a:pt x="249" y="77"/>
                    <a:pt x="240" y="77"/>
                  </a:cubicBezTo>
                  <a:cubicBezTo>
                    <a:pt x="234" y="77"/>
                    <a:pt x="229" y="77"/>
                    <a:pt x="226" y="78"/>
                  </a:cubicBezTo>
                  <a:cubicBezTo>
                    <a:pt x="222" y="79"/>
                    <a:pt x="216" y="79"/>
                    <a:pt x="211" y="79"/>
                  </a:cubicBezTo>
                  <a:cubicBezTo>
                    <a:pt x="208" y="79"/>
                    <a:pt x="205" y="79"/>
                    <a:pt x="202" y="79"/>
                  </a:cubicBezTo>
                  <a:cubicBezTo>
                    <a:pt x="200" y="78"/>
                    <a:pt x="198" y="78"/>
                    <a:pt x="198" y="77"/>
                  </a:cubicBezTo>
                  <a:cubicBezTo>
                    <a:pt x="196" y="76"/>
                    <a:pt x="195" y="73"/>
                    <a:pt x="194" y="69"/>
                  </a:cubicBezTo>
                  <a:cubicBezTo>
                    <a:pt x="193" y="68"/>
                    <a:pt x="192" y="66"/>
                    <a:pt x="192" y="64"/>
                  </a:cubicBezTo>
                  <a:cubicBezTo>
                    <a:pt x="191" y="63"/>
                    <a:pt x="190" y="61"/>
                    <a:pt x="189" y="60"/>
                  </a:cubicBezTo>
                  <a:cubicBezTo>
                    <a:pt x="188" y="58"/>
                    <a:pt x="184" y="53"/>
                    <a:pt x="179" y="49"/>
                  </a:cubicBezTo>
                  <a:cubicBezTo>
                    <a:pt x="174" y="45"/>
                    <a:pt x="168" y="42"/>
                    <a:pt x="162" y="42"/>
                  </a:cubicBezTo>
                  <a:cubicBezTo>
                    <a:pt x="161" y="42"/>
                    <a:pt x="160" y="42"/>
                    <a:pt x="159" y="42"/>
                  </a:cubicBezTo>
                  <a:cubicBezTo>
                    <a:pt x="159" y="44"/>
                    <a:pt x="159" y="44"/>
                    <a:pt x="159" y="44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1" y="43"/>
                    <a:pt x="157" y="35"/>
                    <a:pt x="150" y="26"/>
                  </a:cubicBezTo>
                  <a:cubicBezTo>
                    <a:pt x="143" y="17"/>
                    <a:pt x="132" y="7"/>
                    <a:pt x="117" y="2"/>
                  </a:cubicBezTo>
                  <a:cubicBezTo>
                    <a:pt x="112" y="0"/>
                    <a:pt x="107" y="0"/>
                    <a:pt x="103" y="0"/>
                  </a:cubicBezTo>
                  <a:cubicBezTo>
                    <a:pt x="91" y="0"/>
                    <a:pt x="82" y="4"/>
                    <a:pt x="75" y="8"/>
                  </a:cubicBezTo>
                  <a:cubicBezTo>
                    <a:pt x="68" y="12"/>
                    <a:pt x="64" y="16"/>
                    <a:pt x="64" y="16"/>
                  </a:cubicBezTo>
                  <a:cubicBezTo>
                    <a:pt x="65" y="17"/>
                    <a:pt x="65" y="17"/>
                    <a:pt x="65" y="1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5" y="15"/>
                    <a:pt x="63" y="15"/>
                    <a:pt x="60" y="15"/>
                  </a:cubicBezTo>
                  <a:cubicBezTo>
                    <a:pt x="52" y="15"/>
                    <a:pt x="38" y="17"/>
                    <a:pt x="26" y="26"/>
                  </a:cubicBezTo>
                  <a:cubicBezTo>
                    <a:pt x="10" y="39"/>
                    <a:pt x="2" y="56"/>
                    <a:pt x="0" y="72"/>
                  </a:cubicBezTo>
                  <a:cubicBezTo>
                    <a:pt x="0" y="73"/>
                    <a:pt x="0" y="74"/>
                    <a:pt x="0" y="76"/>
                  </a:cubicBezTo>
                  <a:cubicBezTo>
                    <a:pt x="0" y="91"/>
                    <a:pt x="8" y="108"/>
                    <a:pt x="24" y="118"/>
                  </a:cubicBezTo>
                  <a:cubicBezTo>
                    <a:pt x="25" y="116"/>
                    <a:pt x="25" y="116"/>
                    <a:pt x="25" y="116"/>
                  </a:cubicBezTo>
                  <a:cubicBezTo>
                    <a:pt x="23" y="116"/>
                    <a:pt x="23" y="116"/>
                    <a:pt x="23" y="116"/>
                  </a:cubicBezTo>
                  <a:cubicBezTo>
                    <a:pt x="23" y="117"/>
                    <a:pt x="23" y="123"/>
                    <a:pt x="25" y="131"/>
                  </a:cubicBezTo>
                  <a:cubicBezTo>
                    <a:pt x="28" y="139"/>
                    <a:pt x="33" y="150"/>
                    <a:pt x="41" y="158"/>
                  </a:cubicBezTo>
                  <a:cubicBezTo>
                    <a:pt x="51" y="167"/>
                    <a:pt x="64" y="172"/>
                    <a:pt x="77" y="172"/>
                  </a:cubicBezTo>
                  <a:cubicBezTo>
                    <a:pt x="88" y="172"/>
                    <a:pt x="98" y="169"/>
                    <a:pt x="108" y="162"/>
                  </a:cubicBezTo>
                  <a:cubicBezTo>
                    <a:pt x="107" y="160"/>
                    <a:pt x="107" y="160"/>
                    <a:pt x="107" y="160"/>
                  </a:cubicBezTo>
                  <a:cubicBezTo>
                    <a:pt x="106" y="162"/>
                    <a:pt x="106" y="162"/>
                    <a:pt x="106" y="162"/>
                  </a:cubicBezTo>
                  <a:cubicBezTo>
                    <a:pt x="106" y="162"/>
                    <a:pt x="114" y="165"/>
                    <a:pt x="125" y="165"/>
                  </a:cubicBezTo>
                  <a:cubicBezTo>
                    <a:pt x="135" y="165"/>
                    <a:pt x="147" y="163"/>
                    <a:pt x="158" y="153"/>
                  </a:cubicBezTo>
                  <a:cubicBezTo>
                    <a:pt x="167" y="143"/>
                    <a:pt x="170" y="133"/>
                    <a:pt x="170" y="125"/>
                  </a:cubicBezTo>
                  <a:cubicBezTo>
                    <a:pt x="170" y="114"/>
                    <a:pt x="165" y="107"/>
                    <a:pt x="165" y="107"/>
                  </a:cubicBezTo>
                  <a:cubicBezTo>
                    <a:pt x="163" y="108"/>
                    <a:pt x="163" y="108"/>
                    <a:pt x="163" y="108"/>
                  </a:cubicBezTo>
                  <a:cubicBezTo>
                    <a:pt x="165" y="108"/>
                    <a:pt x="165" y="108"/>
                    <a:pt x="165" y="108"/>
                  </a:cubicBezTo>
                  <a:cubicBezTo>
                    <a:pt x="165" y="108"/>
                    <a:pt x="169" y="98"/>
                    <a:pt x="169" y="88"/>
                  </a:cubicBezTo>
                  <a:cubicBezTo>
                    <a:pt x="169" y="84"/>
                    <a:pt x="169" y="80"/>
                    <a:pt x="167" y="76"/>
                  </a:cubicBezTo>
                  <a:cubicBezTo>
                    <a:pt x="164" y="71"/>
                    <a:pt x="159" y="67"/>
                    <a:pt x="153" y="63"/>
                  </a:cubicBezTo>
                  <a:cubicBezTo>
                    <a:pt x="148" y="60"/>
                    <a:pt x="141" y="58"/>
                    <a:pt x="134" y="58"/>
                  </a:cubicBezTo>
                  <a:cubicBezTo>
                    <a:pt x="132" y="58"/>
                    <a:pt x="129" y="58"/>
                    <a:pt x="127" y="59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29" y="59"/>
                    <a:pt x="124" y="56"/>
                    <a:pt x="118" y="54"/>
                  </a:cubicBezTo>
                  <a:cubicBezTo>
                    <a:pt x="112" y="51"/>
                    <a:pt x="104" y="48"/>
                    <a:pt x="97" y="48"/>
                  </a:cubicBezTo>
                  <a:cubicBezTo>
                    <a:pt x="93" y="48"/>
                    <a:pt x="90" y="49"/>
                    <a:pt x="86" y="50"/>
                  </a:cubicBezTo>
                  <a:cubicBezTo>
                    <a:pt x="78" y="54"/>
                    <a:pt x="69" y="60"/>
                    <a:pt x="62" y="68"/>
                  </a:cubicBezTo>
                  <a:cubicBezTo>
                    <a:pt x="55" y="76"/>
                    <a:pt x="50" y="86"/>
                    <a:pt x="50" y="97"/>
                  </a:cubicBezTo>
                  <a:cubicBezTo>
                    <a:pt x="50" y="99"/>
                    <a:pt x="50" y="100"/>
                    <a:pt x="50" y="102"/>
                  </a:cubicBezTo>
                  <a:cubicBezTo>
                    <a:pt x="52" y="113"/>
                    <a:pt x="57" y="121"/>
                    <a:pt x="65" y="126"/>
                  </a:cubicBezTo>
                  <a:cubicBezTo>
                    <a:pt x="72" y="131"/>
                    <a:pt x="81" y="133"/>
                    <a:pt x="88" y="133"/>
                  </a:cubicBezTo>
                  <a:cubicBezTo>
                    <a:pt x="89" y="133"/>
                    <a:pt x="91" y="132"/>
                    <a:pt x="92" y="132"/>
                  </a:cubicBezTo>
                  <a:cubicBezTo>
                    <a:pt x="100" y="131"/>
                    <a:pt x="107" y="127"/>
                    <a:pt x="113" y="122"/>
                  </a:cubicBezTo>
                  <a:cubicBezTo>
                    <a:pt x="118" y="117"/>
                    <a:pt x="122" y="110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103"/>
                    <a:pt x="122" y="103"/>
                    <a:pt x="122" y="103"/>
                  </a:cubicBezTo>
                  <a:cubicBezTo>
                    <a:pt x="122" y="97"/>
                    <a:pt x="119" y="90"/>
                    <a:pt x="114" y="86"/>
                  </a:cubicBezTo>
                  <a:cubicBezTo>
                    <a:pt x="110" y="81"/>
                    <a:pt x="103" y="77"/>
                    <a:pt x="96" y="77"/>
                  </a:cubicBezTo>
                  <a:cubicBezTo>
                    <a:pt x="94" y="77"/>
                    <a:pt x="92" y="78"/>
                    <a:pt x="90" y="79"/>
                  </a:cubicBezTo>
                  <a:cubicBezTo>
                    <a:pt x="84" y="81"/>
                    <a:pt x="81" y="84"/>
                    <a:pt x="78" y="88"/>
                  </a:cubicBezTo>
                  <a:cubicBezTo>
                    <a:pt x="76" y="92"/>
                    <a:pt x="75" y="96"/>
                    <a:pt x="75" y="100"/>
                  </a:cubicBezTo>
                  <a:cubicBezTo>
                    <a:pt x="75" y="105"/>
                    <a:pt x="76" y="108"/>
                    <a:pt x="78" y="112"/>
                  </a:cubicBezTo>
                  <a:cubicBezTo>
                    <a:pt x="81" y="117"/>
                    <a:pt x="88" y="121"/>
                    <a:pt x="95" y="121"/>
                  </a:cubicBezTo>
                  <a:cubicBezTo>
                    <a:pt x="100" y="121"/>
                    <a:pt x="107" y="118"/>
                    <a:pt x="112" y="112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0" y="113"/>
                    <a:pt x="110" y="113"/>
                    <a:pt x="110" y="113"/>
                  </a:cubicBezTo>
                  <a:cubicBezTo>
                    <a:pt x="110" y="113"/>
                    <a:pt x="136" y="116"/>
                    <a:pt x="158" y="116"/>
                  </a:cubicBezTo>
                  <a:cubicBezTo>
                    <a:pt x="163" y="116"/>
                    <a:pt x="168" y="116"/>
                    <a:pt x="172" y="115"/>
                  </a:cubicBezTo>
                  <a:cubicBezTo>
                    <a:pt x="176" y="115"/>
                    <a:pt x="180" y="114"/>
                    <a:pt x="183" y="113"/>
                  </a:cubicBezTo>
                  <a:cubicBezTo>
                    <a:pt x="191" y="109"/>
                    <a:pt x="194" y="107"/>
                    <a:pt x="198" y="105"/>
                  </a:cubicBezTo>
                  <a:cubicBezTo>
                    <a:pt x="201" y="104"/>
                    <a:pt x="205" y="102"/>
                    <a:pt x="216" y="101"/>
                  </a:cubicBezTo>
                  <a:cubicBezTo>
                    <a:pt x="225" y="99"/>
                    <a:pt x="233" y="98"/>
                    <a:pt x="240" y="98"/>
                  </a:cubicBezTo>
                  <a:cubicBezTo>
                    <a:pt x="248" y="98"/>
                    <a:pt x="254" y="100"/>
                    <a:pt x="262" y="106"/>
                  </a:cubicBezTo>
                  <a:cubicBezTo>
                    <a:pt x="267" y="110"/>
                    <a:pt x="275" y="117"/>
                    <a:pt x="283" y="122"/>
                  </a:cubicBezTo>
                  <a:cubicBezTo>
                    <a:pt x="292" y="128"/>
                    <a:pt x="301" y="133"/>
                    <a:pt x="311" y="133"/>
                  </a:cubicBezTo>
                  <a:cubicBezTo>
                    <a:pt x="316" y="133"/>
                    <a:pt x="322" y="131"/>
                    <a:pt x="327" y="128"/>
                  </a:cubicBezTo>
                  <a:cubicBezTo>
                    <a:pt x="337" y="121"/>
                    <a:pt x="337" y="121"/>
                    <a:pt x="337" y="121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6" y="124"/>
                    <a:pt x="326" y="124"/>
                    <a:pt x="326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6" y="124"/>
                    <a:pt x="326" y="124"/>
                    <a:pt x="326" y="124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5" y="124"/>
                    <a:pt x="325" y="124"/>
                    <a:pt x="323" y="124"/>
                  </a:cubicBezTo>
                  <a:cubicBezTo>
                    <a:pt x="320" y="124"/>
                    <a:pt x="315" y="123"/>
                    <a:pt x="307" y="118"/>
                  </a:cubicBezTo>
                  <a:cubicBezTo>
                    <a:pt x="306" y="119"/>
                    <a:pt x="306" y="119"/>
                    <a:pt x="306" y="119"/>
                  </a:cubicBezTo>
                  <a:cubicBezTo>
                    <a:pt x="308" y="118"/>
                    <a:pt x="308" y="118"/>
                    <a:pt x="308" y="118"/>
                  </a:cubicBezTo>
                  <a:cubicBezTo>
                    <a:pt x="306" y="119"/>
                    <a:pt x="306" y="119"/>
                    <a:pt x="306" y="119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13" y="127"/>
                    <a:pt x="320" y="128"/>
                    <a:pt x="323" y="128"/>
                  </a:cubicBezTo>
                  <a:cubicBezTo>
                    <a:pt x="325" y="128"/>
                    <a:pt x="326" y="128"/>
                    <a:pt x="326" y="128"/>
                  </a:cubicBezTo>
                  <a:cubicBezTo>
                    <a:pt x="326" y="126"/>
                    <a:pt x="326" y="126"/>
                    <a:pt x="326" y="126"/>
                  </a:cubicBezTo>
                  <a:cubicBezTo>
                    <a:pt x="325" y="124"/>
                    <a:pt x="325" y="124"/>
                    <a:pt x="325" y="124"/>
                  </a:cubicBezTo>
                  <a:cubicBezTo>
                    <a:pt x="320" y="127"/>
                    <a:pt x="316" y="129"/>
                    <a:pt x="311" y="129"/>
                  </a:cubicBezTo>
                  <a:cubicBezTo>
                    <a:pt x="302" y="129"/>
                    <a:pt x="294" y="125"/>
                    <a:pt x="286" y="119"/>
                  </a:cubicBezTo>
                  <a:cubicBezTo>
                    <a:pt x="277" y="113"/>
                    <a:pt x="270" y="107"/>
                    <a:pt x="264" y="102"/>
                  </a:cubicBezTo>
                  <a:cubicBezTo>
                    <a:pt x="256" y="96"/>
                    <a:pt x="248" y="94"/>
                    <a:pt x="240" y="94"/>
                  </a:cubicBezTo>
                  <a:cubicBezTo>
                    <a:pt x="232" y="94"/>
                    <a:pt x="225" y="95"/>
                    <a:pt x="215" y="97"/>
                  </a:cubicBezTo>
                  <a:cubicBezTo>
                    <a:pt x="205" y="98"/>
                    <a:pt x="200" y="100"/>
                    <a:pt x="196" y="102"/>
                  </a:cubicBezTo>
                  <a:cubicBezTo>
                    <a:pt x="192" y="104"/>
                    <a:pt x="189" y="106"/>
                    <a:pt x="181" y="109"/>
                  </a:cubicBezTo>
                  <a:cubicBezTo>
                    <a:pt x="179" y="110"/>
                    <a:pt x="176" y="111"/>
                    <a:pt x="172" y="111"/>
                  </a:cubicBezTo>
                  <a:cubicBezTo>
                    <a:pt x="167" y="112"/>
                    <a:pt x="163" y="112"/>
                    <a:pt x="158" y="112"/>
                  </a:cubicBezTo>
                  <a:cubicBezTo>
                    <a:pt x="147" y="112"/>
                    <a:pt x="135" y="111"/>
                    <a:pt x="126" y="110"/>
                  </a:cubicBezTo>
                  <a:cubicBezTo>
                    <a:pt x="122" y="110"/>
                    <a:pt x="118" y="110"/>
                    <a:pt x="115" y="109"/>
                  </a:cubicBezTo>
                  <a:cubicBezTo>
                    <a:pt x="112" y="109"/>
                    <a:pt x="111" y="109"/>
                    <a:pt x="111" y="109"/>
                  </a:cubicBezTo>
                  <a:cubicBezTo>
                    <a:pt x="110" y="109"/>
                    <a:pt x="110" y="109"/>
                    <a:pt x="110" y="109"/>
                  </a:cubicBezTo>
                  <a:cubicBezTo>
                    <a:pt x="109" y="109"/>
                    <a:pt x="109" y="109"/>
                    <a:pt x="109" y="109"/>
                  </a:cubicBezTo>
                  <a:cubicBezTo>
                    <a:pt x="104" y="115"/>
                    <a:pt x="99" y="117"/>
                    <a:pt x="95" y="117"/>
                  </a:cubicBezTo>
                  <a:cubicBezTo>
                    <a:pt x="89" y="117"/>
                    <a:pt x="84" y="113"/>
                    <a:pt x="81" y="109"/>
                  </a:cubicBezTo>
                  <a:cubicBezTo>
                    <a:pt x="80" y="107"/>
                    <a:pt x="79" y="104"/>
                    <a:pt x="79" y="100"/>
                  </a:cubicBezTo>
                  <a:cubicBezTo>
                    <a:pt x="79" y="97"/>
                    <a:pt x="80" y="93"/>
                    <a:pt x="82" y="90"/>
                  </a:cubicBezTo>
                  <a:cubicBezTo>
                    <a:pt x="84" y="87"/>
                    <a:pt x="87" y="84"/>
                    <a:pt x="91" y="82"/>
                  </a:cubicBezTo>
                  <a:cubicBezTo>
                    <a:pt x="93" y="82"/>
                    <a:pt x="95" y="81"/>
                    <a:pt x="96" y="81"/>
                  </a:cubicBezTo>
                  <a:cubicBezTo>
                    <a:pt x="102" y="81"/>
                    <a:pt x="107" y="84"/>
                    <a:pt x="111" y="88"/>
                  </a:cubicBezTo>
                  <a:cubicBezTo>
                    <a:pt x="115" y="93"/>
                    <a:pt x="118" y="98"/>
                    <a:pt x="118" y="103"/>
                  </a:cubicBezTo>
                  <a:cubicBezTo>
                    <a:pt x="120" y="103"/>
                    <a:pt x="120" y="103"/>
                    <a:pt x="120" y="103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18" y="103"/>
                    <a:pt x="118" y="103"/>
                    <a:pt x="118" y="103"/>
                  </a:cubicBezTo>
                  <a:cubicBezTo>
                    <a:pt x="118" y="108"/>
                    <a:pt x="115" y="114"/>
                    <a:pt x="110" y="119"/>
                  </a:cubicBezTo>
                  <a:cubicBezTo>
                    <a:pt x="105" y="124"/>
                    <a:pt x="98" y="127"/>
                    <a:pt x="92" y="128"/>
                  </a:cubicBezTo>
                  <a:cubicBezTo>
                    <a:pt x="91" y="128"/>
                    <a:pt x="89" y="129"/>
                    <a:pt x="88" y="129"/>
                  </a:cubicBezTo>
                  <a:cubicBezTo>
                    <a:pt x="81" y="129"/>
                    <a:pt x="73" y="127"/>
                    <a:pt x="67" y="122"/>
                  </a:cubicBezTo>
                  <a:cubicBezTo>
                    <a:pt x="60" y="118"/>
                    <a:pt x="55" y="111"/>
                    <a:pt x="54" y="102"/>
                  </a:cubicBezTo>
                  <a:cubicBezTo>
                    <a:pt x="54" y="100"/>
                    <a:pt x="54" y="99"/>
                    <a:pt x="54" y="97"/>
                  </a:cubicBezTo>
                  <a:cubicBezTo>
                    <a:pt x="54" y="87"/>
                    <a:pt x="58" y="78"/>
                    <a:pt x="65" y="70"/>
                  </a:cubicBezTo>
                  <a:cubicBezTo>
                    <a:pt x="72" y="63"/>
                    <a:pt x="81" y="57"/>
                    <a:pt x="88" y="54"/>
                  </a:cubicBezTo>
                  <a:cubicBezTo>
                    <a:pt x="90" y="53"/>
                    <a:pt x="93" y="52"/>
                    <a:pt x="97" y="52"/>
                  </a:cubicBezTo>
                  <a:cubicBezTo>
                    <a:pt x="103" y="52"/>
                    <a:pt x="111" y="55"/>
                    <a:pt x="117" y="57"/>
                  </a:cubicBezTo>
                  <a:cubicBezTo>
                    <a:pt x="120" y="59"/>
                    <a:pt x="122" y="60"/>
                    <a:pt x="124" y="61"/>
                  </a:cubicBezTo>
                  <a:cubicBezTo>
                    <a:pt x="125" y="61"/>
                    <a:pt x="125" y="62"/>
                    <a:pt x="126" y="62"/>
                  </a:cubicBezTo>
                  <a:cubicBezTo>
                    <a:pt x="126" y="62"/>
                    <a:pt x="126" y="62"/>
                    <a:pt x="126" y="62"/>
                  </a:cubicBezTo>
                  <a:cubicBezTo>
                    <a:pt x="127" y="63"/>
                    <a:pt x="127" y="63"/>
                    <a:pt x="127" y="63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30" y="62"/>
                    <a:pt x="132" y="62"/>
                    <a:pt x="134" y="62"/>
                  </a:cubicBezTo>
                  <a:cubicBezTo>
                    <a:pt x="140" y="62"/>
                    <a:pt x="146" y="64"/>
                    <a:pt x="151" y="67"/>
                  </a:cubicBezTo>
                  <a:cubicBezTo>
                    <a:pt x="156" y="70"/>
                    <a:pt x="161" y="74"/>
                    <a:pt x="163" y="78"/>
                  </a:cubicBezTo>
                  <a:cubicBezTo>
                    <a:pt x="165" y="81"/>
                    <a:pt x="165" y="85"/>
                    <a:pt x="165" y="88"/>
                  </a:cubicBezTo>
                  <a:cubicBezTo>
                    <a:pt x="165" y="93"/>
                    <a:pt x="164" y="97"/>
                    <a:pt x="163" y="101"/>
                  </a:cubicBezTo>
                  <a:cubicBezTo>
                    <a:pt x="163" y="103"/>
                    <a:pt x="162" y="104"/>
                    <a:pt x="162" y="105"/>
                  </a:cubicBezTo>
                  <a:cubicBezTo>
                    <a:pt x="162" y="106"/>
                    <a:pt x="162" y="106"/>
                    <a:pt x="162" y="106"/>
                  </a:cubicBezTo>
                  <a:cubicBezTo>
                    <a:pt x="161" y="107"/>
                    <a:pt x="161" y="107"/>
                    <a:pt x="161" y="107"/>
                  </a:cubicBezTo>
                  <a:cubicBezTo>
                    <a:pt x="161" y="108"/>
                    <a:pt x="161" y="108"/>
                    <a:pt x="161" y="108"/>
                  </a:cubicBezTo>
                  <a:cubicBezTo>
                    <a:pt x="162" y="109"/>
                    <a:pt x="162" y="109"/>
                    <a:pt x="162" y="109"/>
                  </a:cubicBezTo>
                  <a:cubicBezTo>
                    <a:pt x="162" y="109"/>
                    <a:pt x="162" y="109"/>
                    <a:pt x="162" y="109"/>
                  </a:cubicBezTo>
                  <a:cubicBezTo>
                    <a:pt x="162" y="109"/>
                    <a:pt x="166" y="116"/>
                    <a:pt x="166" y="125"/>
                  </a:cubicBezTo>
                  <a:cubicBezTo>
                    <a:pt x="166" y="133"/>
                    <a:pt x="163" y="141"/>
                    <a:pt x="155" y="150"/>
                  </a:cubicBezTo>
                  <a:cubicBezTo>
                    <a:pt x="145" y="159"/>
                    <a:pt x="134" y="161"/>
                    <a:pt x="125" y="161"/>
                  </a:cubicBezTo>
                  <a:cubicBezTo>
                    <a:pt x="120" y="161"/>
                    <a:pt x="116" y="161"/>
                    <a:pt x="113" y="160"/>
                  </a:cubicBezTo>
                  <a:cubicBezTo>
                    <a:pt x="111" y="160"/>
                    <a:pt x="110" y="159"/>
                    <a:pt x="109" y="159"/>
                  </a:cubicBezTo>
                  <a:cubicBezTo>
                    <a:pt x="109" y="159"/>
                    <a:pt x="108" y="159"/>
                    <a:pt x="108" y="159"/>
                  </a:cubicBezTo>
                  <a:cubicBezTo>
                    <a:pt x="108" y="158"/>
                    <a:pt x="108" y="158"/>
                    <a:pt x="108" y="158"/>
                  </a:cubicBezTo>
                  <a:cubicBezTo>
                    <a:pt x="107" y="158"/>
                    <a:pt x="107" y="158"/>
                    <a:pt x="107" y="158"/>
                  </a:cubicBezTo>
                  <a:cubicBezTo>
                    <a:pt x="106" y="159"/>
                    <a:pt x="106" y="159"/>
                    <a:pt x="106" y="159"/>
                  </a:cubicBezTo>
                  <a:cubicBezTo>
                    <a:pt x="97" y="165"/>
                    <a:pt x="87" y="168"/>
                    <a:pt x="77" y="168"/>
                  </a:cubicBezTo>
                  <a:cubicBezTo>
                    <a:pt x="65" y="168"/>
                    <a:pt x="53" y="163"/>
                    <a:pt x="44" y="155"/>
                  </a:cubicBezTo>
                  <a:cubicBezTo>
                    <a:pt x="36" y="148"/>
                    <a:pt x="32" y="138"/>
                    <a:pt x="29" y="130"/>
                  </a:cubicBezTo>
                  <a:cubicBezTo>
                    <a:pt x="28" y="126"/>
                    <a:pt x="27" y="123"/>
                    <a:pt x="27" y="120"/>
                  </a:cubicBezTo>
                  <a:cubicBezTo>
                    <a:pt x="27" y="119"/>
                    <a:pt x="27" y="118"/>
                    <a:pt x="27" y="117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6"/>
                    <a:pt x="27" y="116"/>
                    <a:pt x="27" y="116"/>
                  </a:cubicBezTo>
                  <a:cubicBezTo>
                    <a:pt x="27" y="115"/>
                    <a:pt x="27" y="115"/>
                    <a:pt x="27" y="115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12" y="105"/>
                    <a:pt x="4" y="89"/>
                    <a:pt x="4" y="76"/>
                  </a:cubicBezTo>
                  <a:cubicBezTo>
                    <a:pt x="4" y="75"/>
                    <a:pt x="4" y="73"/>
                    <a:pt x="4" y="72"/>
                  </a:cubicBezTo>
                  <a:cubicBezTo>
                    <a:pt x="6" y="57"/>
                    <a:pt x="13" y="41"/>
                    <a:pt x="29" y="29"/>
                  </a:cubicBezTo>
                  <a:cubicBezTo>
                    <a:pt x="40" y="21"/>
                    <a:pt x="53" y="19"/>
                    <a:pt x="60" y="19"/>
                  </a:cubicBezTo>
                  <a:cubicBezTo>
                    <a:pt x="61" y="19"/>
                    <a:pt x="63" y="19"/>
                    <a:pt x="63" y="1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8" y="17"/>
                    <a:pt x="83" y="3"/>
                    <a:pt x="103" y="4"/>
                  </a:cubicBezTo>
                  <a:cubicBezTo>
                    <a:pt x="107" y="4"/>
                    <a:pt x="111" y="4"/>
                    <a:pt x="116" y="6"/>
                  </a:cubicBezTo>
                  <a:cubicBezTo>
                    <a:pt x="129" y="10"/>
                    <a:pt x="140" y="20"/>
                    <a:pt x="147" y="29"/>
                  </a:cubicBezTo>
                  <a:cubicBezTo>
                    <a:pt x="150" y="33"/>
                    <a:pt x="153" y="37"/>
                    <a:pt x="155" y="40"/>
                  </a:cubicBezTo>
                  <a:cubicBezTo>
                    <a:pt x="156" y="41"/>
                    <a:pt x="156" y="43"/>
                    <a:pt x="157" y="43"/>
                  </a:cubicBezTo>
                  <a:cubicBezTo>
                    <a:pt x="157" y="44"/>
                    <a:pt x="157" y="44"/>
                    <a:pt x="157" y="44"/>
                  </a:cubicBezTo>
                  <a:cubicBezTo>
                    <a:pt x="157" y="45"/>
                    <a:pt x="157" y="45"/>
                    <a:pt x="157" y="45"/>
                  </a:cubicBezTo>
                  <a:cubicBezTo>
                    <a:pt x="158" y="46"/>
                    <a:pt x="158" y="46"/>
                    <a:pt x="158" y="46"/>
                  </a:cubicBezTo>
                  <a:cubicBezTo>
                    <a:pt x="160" y="46"/>
                    <a:pt x="160" y="46"/>
                    <a:pt x="160" y="46"/>
                  </a:cubicBezTo>
                  <a:cubicBezTo>
                    <a:pt x="160" y="46"/>
                    <a:pt x="161" y="46"/>
                    <a:pt x="162" y="46"/>
                  </a:cubicBezTo>
                  <a:cubicBezTo>
                    <a:pt x="166" y="45"/>
                    <a:pt x="172" y="49"/>
                    <a:pt x="177" y="53"/>
                  </a:cubicBezTo>
                  <a:cubicBezTo>
                    <a:pt x="181" y="56"/>
                    <a:pt x="185" y="61"/>
                    <a:pt x="186" y="62"/>
                  </a:cubicBezTo>
                  <a:cubicBezTo>
                    <a:pt x="187" y="63"/>
                    <a:pt x="187" y="64"/>
                    <a:pt x="188" y="66"/>
                  </a:cubicBezTo>
                  <a:cubicBezTo>
                    <a:pt x="189" y="68"/>
                    <a:pt x="190" y="71"/>
                    <a:pt x="191" y="73"/>
                  </a:cubicBezTo>
                  <a:cubicBezTo>
                    <a:pt x="192" y="76"/>
                    <a:pt x="193" y="79"/>
                    <a:pt x="195" y="80"/>
                  </a:cubicBezTo>
                  <a:cubicBezTo>
                    <a:pt x="197" y="82"/>
                    <a:pt x="199" y="82"/>
                    <a:pt x="202" y="83"/>
                  </a:cubicBezTo>
                  <a:cubicBezTo>
                    <a:pt x="204" y="83"/>
                    <a:pt x="208" y="83"/>
                    <a:pt x="211" y="83"/>
                  </a:cubicBezTo>
                  <a:cubicBezTo>
                    <a:pt x="217" y="83"/>
                    <a:pt x="223" y="83"/>
                    <a:pt x="227" y="82"/>
                  </a:cubicBezTo>
                  <a:cubicBezTo>
                    <a:pt x="230" y="81"/>
                    <a:pt x="234" y="81"/>
                    <a:pt x="240" y="81"/>
                  </a:cubicBezTo>
                  <a:cubicBezTo>
                    <a:pt x="249" y="81"/>
                    <a:pt x="260" y="82"/>
                    <a:pt x="270" y="88"/>
                  </a:cubicBezTo>
                  <a:cubicBezTo>
                    <a:pt x="278" y="92"/>
                    <a:pt x="287" y="101"/>
                    <a:pt x="293" y="108"/>
                  </a:cubicBezTo>
                  <a:cubicBezTo>
                    <a:pt x="297" y="111"/>
                    <a:pt x="300" y="114"/>
                    <a:pt x="302" y="117"/>
                  </a:cubicBezTo>
                  <a:cubicBezTo>
                    <a:pt x="302" y="118"/>
                    <a:pt x="303" y="119"/>
                    <a:pt x="304" y="120"/>
                  </a:cubicBezTo>
                  <a:cubicBezTo>
                    <a:pt x="304" y="120"/>
                    <a:pt x="305" y="121"/>
                    <a:pt x="305" y="121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05" y="121"/>
                    <a:pt x="305" y="121"/>
                    <a:pt x="305" y="121"/>
                  </a:cubicBezTo>
                  <a:cubicBezTo>
                    <a:pt x="306" y="119"/>
                    <a:pt x="306" y="119"/>
                    <a:pt x="306" y="11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4334608" y="2731765"/>
              <a:ext cx="396987" cy="270289"/>
            </a:xfrm>
            <a:custGeom>
              <a:avLst/>
              <a:gdLst>
                <a:gd name="T0" fmla="*/ 48 w 119"/>
                <a:gd name="T1" fmla="*/ 56 h 81"/>
                <a:gd name="T2" fmla="*/ 48 w 119"/>
                <a:gd name="T3" fmla="*/ 56 h 81"/>
                <a:gd name="T4" fmla="*/ 50 w 119"/>
                <a:gd name="T5" fmla="*/ 53 h 81"/>
                <a:gd name="T6" fmla="*/ 52 w 119"/>
                <a:gd name="T7" fmla="*/ 52 h 81"/>
                <a:gd name="T8" fmla="*/ 54 w 119"/>
                <a:gd name="T9" fmla="*/ 51 h 81"/>
                <a:gd name="T10" fmla="*/ 60 w 119"/>
                <a:gd name="T11" fmla="*/ 55 h 81"/>
                <a:gd name="T12" fmla="*/ 62 w 119"/>
                <a:gd name="T13" fmla="*/ 59 h 81"/>
                <a:gd name="T14" fmla="*/ 57 w 119"/>
                <a:gd name="T15" fmla="*/ 66 h 81"/>
                <a:gd name="T16" fmla="*/ 47 w 119"/>
                <a:gd name="T17" fmla="*/ 69 h 81"/>
                <a:gd name="T18" fmla="*/ 37 w 119"/>
                <a:gd name="T19" fmla="*/ 64 h 81"/>
                <a:gd name="T20" fmla="*/ 30 w 119"/>
                <a:gd name="T21" fmla="*/ 48 h 81"/>
                <a:gd name="T22" fmla="*/ 35 w 119"/>
                <a:gd name="T23" fmla="*/ 37 h 81"/>
                <a:gd name="T24" fmla="*/ 50 w 119"/>
                <a:gd name="T25" fmla="*/ 30 h 81"/>
                <a:gd name="T26" fmla="*/ 65 w 119"/>
                <a:gd name="T27" fmla="*/ 38 h 81"/>
                <a:gd name="T28" fmla="*/ 69 w 119"/>
                <a:gd name="T29" fmla="*/ 50 h 81"/>
                <a:gd name="T30" fmla="*/ 64 w 119"/>
                <a:gd name="T31" fmla="*/ 65 h 81"/>
                <a:gd name="T32" fmla="*/ 54 w 119"/>
                <a:gd name="T33" fmla="*/ 74 h 81"/>
                <a:gd name="T34" fmla="*/ 37 w 119"/>
                <a:gd name="T35" fmla="*/ 77 h 81"/>
                <a:gd name="T36" fmla="*/ 13 w 119"/>
                <a:gd name="T37" fmla="*/ 68 h 81"/>
                <a:gd name="T38" fmla="*/ 4 w 119"/>
                <a:gd name="T39" fmla="*/ 49 h 81"/>
                <a:gd name="T40" fmla="*/ 16 w 119"/>
                <a:gd name="T41" fmla="*/ 21 h 81"/>
                <a:gd name="T42" fmla="*/ 52 w 119"/>
                <a:gd name="T43" fmla="*/ 4 h 81"/>
                <a:gd name="T44" fmla="*/ 77 w 119"/>
                <a:gd name="T45" fmla="*/ 12 h 81"/>
                <a:gd name="T46" fmla="*/ 78 w 119"/>
                <a:gd name="T47" fmla="*/ 13 h 81"/>
                <a:gd name="T48" fmla="*/ 79 w 119"/>
                <a:gd name="T49" fmla="*/ 13 h 81"/>
                <a:gd name="T50" fmla="*/ 79 w 119"/>
                <a:gd name="T51" fmla="*/ 13 h 81"/>
                <a:gd name="T52" fmla="*/ 87 w 119"/>
                <a:gd name="T53" fmla="*/ 11 h 81"/>
                <a:gd name="T54" fmla="*/ 105 w 119"/>
                <a:gd name="T55" fmla="*/ 19 h 81"/>
                <a:gd name="T56" fmla="*/ 115 w 119"/>
                <a:gd name="T57" fmla="*/ 43 h 81"/>
                <a:gd name="T58" fmla="*/ 113 w 119"/>
                <a:gd name="T59" fmla="*/ 57 h 81"/>
                <a:gd name="T60" fmla="*/ 112 w 119"/>
                <a:gd name="T61" fmla="*/ 57 h 81"/>
                <a:gd name="T62" fmla="*/ 115 w 119"/>
                <a:gd name="T63" fmla="*/ 65 h 81"/>
                <a:gd name="T64" fmla="*/ 119 w 119"/>
                <a:gd name="T65" fmla="*/ 63 h 81"/>
                <a:gd name="T66" fmla="*/ 116 w 119"/>
                <a:gd name="T67" fmla="*/ 57 h 81"/>
                <a:gd name="T68" fmla="*/ 114 w 119"/>
                <a:gd name="T69" fmla="*/ 58 h 81"/>
                <a:gd name="T70" fmla="*/ 116 w 119"/>
                <a:gd name="T71" fmla="*/ 59 h 81"/>
                <a:gd name="T72" fmla="*/ 119 w 119"/>
                <a:gd name="T73" fmla="*/ 43 h 81"/>
                <a:gd name="T74" fmla="*/ 108 w 119"/>
                <a:gd name="T75" fmla="*/ 16 h 81"/>
                <a:gd name="T76" fmla="*/ 87 w 119"/>
                <a:gd name="T77" fmla="*/ 7 h 81"/>
                <a:gd name="T78" fmla="*/ 78 w 119"/>
                <a:gd name="T79" fmla="*/ 9 h 81"/>
                <a:gd name="T80" fmla="*/ 79 w 119"/>
                <a:gd name="T81" fmla="*/ 11 h 81"/>
                <a:gd name="T82" fmla="*/ 80 w 119"/>
                <a:gd name="T83" fmla="*/ 9 h 81"/>
                <a:gd name="T84" fmla="*/ 52 w 119"/>
                <a:gd name="T85" fmla="*/ 0 h 81"/>
                <a:gd name="T86" fmla="*/ 13 w 119"/>
                <a:gd name="T87" fmla="*/ 18 h 81"/>
                <a:gd name="T88" fmla="*/ 0 w 119"/>
                <a:gd name="T89" fmla="*/ 49 h 81"/>
                <a:gd name="T90" fmla="*/ 10 w 119"/>
                <a:gd name="T91" fmla="*/ 71 h 81"/>
                <a:gd name="T92" fmla="*/ 37 w 119"/>
                <a:gd name="T93" fmla="*/ 81 h 81"/>
                <a:gd name="T94" fmla="*/ 55 w 119"/>
                <a:gd name="T95" fmla="*/ 78 h 81"/>
                <a:gd name="T96" fmla="*/ 68 w 119"/>
                <a:gd name="T97" fmla="*/ 67 h 81"/>
                <a:gd name="T98" fmla="*/ 73 w 119"/>
                <a:gd name="T99" fmla="*/ 50 h 81"/>
                <a:gd name="T100" fmla="*/ 68 w 119"/>
                <a:gd name="T101" fmla="*/ 36 h 81"/>
                <a:gd name="T102" fmla="*/ 50 w 119"/>
                <a:gd name="T103" fmla="*/ 26 h 81"/>
                <a:gd name="T104" fmla="*/ 32 w 119"/>
                <a:gd name="T105" fmla="*/ 34 h 81"/>
                <a:gd name="T106" fmla="*/ 26 w 119"/>
                <a:gd name="T107" fmla="*/ 48 h 81"/>
                <a:gd name="T108" fmla="*/ 34 w 119"/>
                <a:gd name="T109" fmla="*/ 67 h 81"/>
                <a:gd name="T110" fmla="*/ 47 w 119"/>
                <a:gd name="T111" fmla="*/ 73 h 81"/>
                <a:gd name="T112" fmla="*/ 60 w 119"/>
                <a:gd name="T113" fmla="*/ 69 h 81"/>
                <a:gd name="T114" fmla="*/ 66 w 119"/>
                <a:gd name="T115" fmla="*/ 59 h 81"/>
                <a:gd name="T116" fmla="*/ 63 w 119"/>
                <a:gd name="T117" fmla="*/ 52 h 81"/>
                <a:gd name="T118" fmla="*/ 54 w 119"/>
                <a:gd name="T119" fmla="*/ 47 h 81"/>
                <a:gd name="T120" fmla="*/ 50 w 119"/>
                <a:gd name="T121" fmla="*/ 48 h 81"/>
                <a:gd name="T122" fmla="*/ 45 w 119"/>
                <a:gd name="T123" fmla="*/ 54 h 81"/>
                <a:gd name="T124" fmla="*/ 48 w 119"/>
                <a:gd name="T125" fmla="*/ 5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9" h="81">
                  <a:moveTo>
                    <a:pt x="48" y="56"/>
                  </a:moveTo>
                  <a:cubicBezTo>
                    <a:pt x="48" y="56"/>
                    <a:pt x="48" y="56"/>
                    <a:pt x="48" y="56"/>
                  </a:cubicBezTo>
                  <a:cubicBezTo>
                    <a:pt x="49" y="56"/>
                    <a:pt x="49" y="54"/>
                    <a:pt x="50" y="53"/>
                  </a:cubicBezTo>
                  <a:cubicBezTo>
                    <a:pt x="51" y="53"/>
                    <a:pt x="51" y="52"/>
                    <a:pt x="52" y="52"/>
                  </a:cubicBezTo>
                  <a:cubicBezTo>
                    <a:pt x="53" y="51"/>
                    <a:pt x="53" y="51"/>
                    <a:pt x="54" y="51"/>
                  </a:cubicBezTo>
                  <a:cubicBezTo>
                    <a:pt x="55" y="51"/>
                    <a:pt x="57" y="52"/>
                    <a:pt x="60" y="55"/>
                  </a:cubicBezTo>
                  <a:cubicBezTo>
                    <a:pt x="61" y="56"/>
                    <a:pt x="62" y="58"/>
                    <a:pt x="62" y="59"/>
                  </a:cubicBezTo>
                  <a:cubicBezTo>
                    <a:pt x="62" y="61"/>
                    <a:pt x="60" y="64"/>
                    <a:pt x="57" y="66"/>
                  </a:cubicBezTo>
                  <a:cubicBezTo>
                    <a:pt x="55" y="68"/>
                    <a:pt x="51" y="69"/>
                    <a:pt x="47" y="69"/>
                  </a:cubicBezTo>
                  <a:cubicBezTo>
                    <a:pt x="44" y="69"/>
                    <a:pt x="40" y="68"/>
                    <a:pt x="37" y="64"/>
                  </a:cubicBezTo>
                  <a:cubicBezTo>
                    <a:pt x="32" y="58"/>
                    <a:pt x="30" y="53"/>
                    <a:pt x="30" y="48"/>
                  </a:cubicBezTo>
                  <a:cubicBezTo>
                    <a:pt x="30" y="44"/>
                    <a:pt x="32" y="41"/>
                    <a:pt x="35" y="37"/>
                  </a:cubicBezTo>
                  <a:cubicBezTo>
                    <a:pt x="39" y="33"/>
                    <a:pt x="44" y="30"/>
                    <a:pt x="50" y="30"/>
                  </a:cubicBezTo>
                  <a:cubicBezTo>
                    <a:pt x="55" y="30"/>
                    <a:pt x="60" y="32"/>
                    <a:pt x="65" y="38"/>
                  </a:cubicBezTo>
                  <a:cubicBezTo>
                    <a:pt x="68" y="42"/>
                    <a:pt x="69" y="46"/>
                    <a:pt x="69" y="50"/>
                  </a:cubicBezTo>
                  <a:cubicBezTo>
                    <a:pt x="69" y="55"/>
                    <a:pt x="67" y="61"/>
                    <a:pt x="64" y="65"/>
                  </a:cubicBezTo>
                  <a:cubicBezTo>
                    <a:pt x="62" y="70"/>
                    <a:pt x="58" y="73"/>
                    <a:pt x="54" y="74"/>
                  </a:cubicBezTo>
                  <a:cubicBezTo>
                    <a:pt x="49" y="76"/>
                    <a:pt x="43" y="77"/>
                    <a:pt x="37" y="77"/>
                  </a:cubicBezTo>
                  <a:cubicBezTo>
                    <a:pt x="28" y="77"/>
                    <a:pt x="20" y="75"/>
                    <a:pt x="13" y="68"/>
                  </a:cubicBezTo>
                  <a:cubicBezTo>
                    <a:pt x="7" y="63"/>
                    <a:pt x="4" y="56"/>
                    <a:pt x="4" y="49"/>
                  </a:cubicBezTo>
                  <a:cubicBezTo>
                    <a:pt x="4" y="41"/>
                    <a:pt x="7" y="32"/>
                    <a:pt x="16" y="21"/>
                  </a:cubicBezTo>
                  <a:cubicBezTo>
                    <a:pt x="25" y="9"/>
                    <a:pt x="39" y="4"/>
                    <a:pt x="52" y="4"/>
                  </a:cubicBezTo>
                  <a:cubicBezTo>
                    <a:pt x="62" y="4"/>
                    <a:pt x="72" y="7"/>
                    <a:pt x="77" y="12"/>
                  </a:cubicBezTo>
                  <a:cubicBezTo>
                    <a:pt x="78" y="13"/>
                    <a:pt x="78" y="13"/>
                    <a:pt x="78" y="1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80" y="13"/>
                    <a:pt x="82" y="11"/>
                    <a:pt x="87" y="11"/>
                  </a:cubicBezTo>
                  <a:cubicBezTo>
                    <a:pt x="91" y="11"/>
                    <a:pt x="98" y="13"/>
                    <a:pt x="105" y="19"/>
                  </a:cubicBezTo>
                  <a:cubicBezTo>
                    <a:pt x="113" y="25"/>
                    <a:pt x="115" y="35"/>
                    <a:pt x="115" y="43"/>
                  </a:cubicBezTo>
                  <a:cubicBezTo>
                    <a:pt x="115" y="49"/>
                    <a:pt x="114" y="54"/>
                    <a:pt x="113" y="57"/>
                  </a:cubicBezTo>
                  <a:cubicBezTo>
                    <a:pt x="112" y="57"/>
                    <a:pt x="112" y="57"/>
                    <a:pt x="112" y="57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9" y="63"/>
                    <a:pt x="119" y="63"/>
                    <a:pt x="119" y="63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4" y="58"/>
                    <a:pt x="114" y="58"/>
                    <a:pt x="114" y="58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8" y="55"/>
                    <a:pt x="119" y="50"/>
                    <a:pt x="119" y="43"/>
                  </a:cubicBezTo>
                  <a:cubicBezTo>
                    <a:pt x="119" y="34"/>
                    <a:pt x="117" y="23"/>
                    <a:pt x="108" y="16"/>
                  </a:cubicBezTo>
                  <a:cubicBezTo>
                    <a:pt x="100" y="9"/>
                    <a:pt x="92" y="7"/>
                    <a:pt x="87" y="7"/>
                  </a:cubicBezTo>
                  <a:cubicBezTo>
                    <a:pt x="81" y="7"/>
                    <a:pt x="78" y="9"/>
                    <a:pt x="78" y="9"/>
                  </a:cubicBezTo>
                  <a:cubicBezTo>
                    <a:pt x="79" y="11"/>
                    <a:pt x="79" y="11"/>
                    <a:pt x="79" y="11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73" y="3"/>
                    <a:pt x="63" y="0"/>
                    <a:pt x="52" y="0"/>
                  </a:cubicBezTo>
                  <a:cubicBezTo>
                    <a:pt x="38" y="0"/>
                    <a:pt x="22" y="5"/>
                    <a:pt x="13" y="18"/>
                  </a:cubicBezTo>
                  <a:cubicBezTo>
                    <a:pt x="4" y="30"/>
                    <a:pt x="0" y="40"/>
                    <a:pt x="0" y="49"/>
                  </a:cubicBezTo>
                  <a:cubicBezTo>
                    <a:pt x="0" y="57"/>
                    <a:pt x="4" y="65"/>
                    <a:pt x="10" y="71"/>
                  </a:cubicBezTo>
                  <a:cubicBezTo>
                    <a:pt x="18" y="79"/>
                    <a:pt x="28" y="81"/>
                    <a:pt x="37" y="81"/>
                  </a:cubicBezTo>
                  <a:cubicBezTo>
                    <a:pt x="44" y="81"/>
                    <a:pt x="50" y="80"/>
                    <a:pt x="55" y="78"/>
                  </a:cubicBezTo>
                  <a:cubicBezTo>
                    <a:pt x="60" y="76"/>
                    <a:pt x="65" y="72"/>
                    <a:pt x="68" y="67"/>
                  </a:cubicBezTo>
                  <a:cubicBezTo>
                    <a:pt x="71" y="62"/>
                    <a:pt x="73" y="56"/>
                    <a:pt x="73" y="50"/>
                  </a:cubicBezTo>
                  <a:cubicBezTo>
                    <a:pt x="73" y="45"/>
                    <a:pt x="72" y="40"/>
                    <a:pt x="68" y="36"/>
                  </a:cubicBezTo>
                  <a:cubicBezTo>
                    <a:pt x="63" y="29"/>
                    <a:pt x="56" y="26"/>
                    <a:pt x="50" y="26"/>
                  </a:cubicBezTo>
                  <a:cubicBezTo>
                    <a:pt x="43" y="26"/>
                    <a:pt x="37" y="29"/>
                    <a:pt x="32" y="34"/>
                  </a:cubicBezTo>
                  <a:cubicBezTo>
                    <a:pt x="28" y="38"/>
                    <a:pt x="26" y="43"/>
                    <a:pt x="26" y="48"/>
                  </a:cubicBezTo>
                  <a:cubicBezTo>
                    <a:pt x="26" y="54"/>
                    <a:pt x="29" y="60"/>
                    <a:pt x="34" y="67"/>
                  </a:cubicBezTo>
                  <a:cubicBezTo>
                    <a:pt x="38" y="71"/>
                    <a:pt x="43" y="73"/>
                    <a:pt x="47" y="73"/>
                  </a:cubicBezTo>
                  <a:cubicBezTo>
                    <a:pt x="52" y="73"/>
                    <a:pt x="56" y="71"/>
                    <a:pt x="60" y="69"/>
                  </a:cubicBezTo>
                  <a:cubicBezTo>
                    <a:pt x="63" y="66"/>
                    <a:pt x="65" y="63"/>
                    <a:pt x="66" y="59"/>
                  </a:cubicBezTo>
                  <a:cubicBezTo>
                    <a:pt x="66" y="57"/>
                    <a:pt x="65" y="55"/>
                    <a:pt x="63" y="52"/>
                  </a:cubicBezTo>
                  <a:cubicBezTo>
                    <a:pt x="60" y="49"/>
                    <a:pt x="57" y="47"/>
                    <a:pt x="54" y="47"/>
                  </a:cubicBezTo>
                  <a:cubicBezTo>
                    <a:pt x="52" y="47"/>
                    <a:pt x="51" y="48"/>
                    <a:pt x="50" y="48"/>
                  </a:cubicBezTo>
                  <a:cubicBezTo>
                    <a:pt x="46" y="51"/>
                    <a:pt x="45" y="54"/>
                    <a:pt x="45" y="54"/>
                  </a:cubicBezTo>
                  <a:lnTo>
                    <a:pt x="48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2138507" y="908720"/>
              <a:ext cx="1190962" cy="1038924"/>
            </a:xfrm>
            <a:custGeom>
              <a:avLst/>
              <a:gdLst>
                <a:gd name="T0" fmla="*/ 302 w 357"/>
                <a:gd name="T1" fmla="*/ 41 h 311"/>
                <a:gd name="T2" fmla="*/ 292 w 357"/>
                <a:gd name="T3" fmla="*/ 26 h 311"/>
                <a:gd name="T4" fmla="*/ 181 w 357"/>
                <a:gd name="T5" fmla="*/ 34 h 311"/>
                <a:gd name="T6" fmla="*/ 161 w 357"/>
                <a:gd name="T7" fmla="*/ 38 h 311"/>
                <a:gd name="T8" fmla="*/ 125 w 357"/>
                <a:gd name="T9" fmla="*/ 98 h 311"/>
                <a:gd name="T10" fmla="*/ 103 w 357"/>
                <a:gd name="T11" fmla="*/ 91 h 311"/>
                <a:gd name="T12" fmla="*/ 37 w 357"/>
                <a:gd name="T13" fmla="*/ 145 h 311"/>
                <a:gd name="T14" fmla="*/ 19 w 357"/>
                <a:gd name="T15" fmla="*/ 160 h 311"/>
                <a:gd name="T16" fmla="*/ 9 w 357"/>
                <a:gd name="T17" fmla="*/ 228 h 311"/>
                <a:gd name="T18" fmla="*/ 24 w 357"/>
                <a:gd name="T19" fmla="*/ 239 h 311"/>
                <a:gd name="T20" fmla="*/ 15 w 357"/>
                <a:gd name="T21" fmla="*/ 291 h 311"/>
                <a:gd name="T22" fmla="*/ 28 w 357"/>
                <a:gd name="T23" fmla="*/ 301 h 311"/>
                <a:gd name="T24" fmla="*/ 51 w 357"/>
                <a:gd name="T25" fmla="*/ 310 h 311"/>
                <a:gd name="T26" fmla="*/ 94 w 357"/>
                <a:gd name="T27" fmla="*/ 300 h 311"/>
                <a:gd name="T28" fmla="*/ 133 w 357"/>
                <a:gd name="T29" fmla="*/ 308 h 311"/>
                <a:gd name="T30" fmla="*/ 205 w 357"/>
                <a:gd name="T31" fmla="*/ 242 h 311"/>
                <a:gd name="T32" fmla="*/ 225 w 357"/>
                <a:gd name="T33" fmla="*/ 220 h 311"/>
                <a:gd name="T34" fmla="*/ 246 w 357"/>
                <a:gd name="T35" fmla="*/ 224 h 311"/>
                <a:gd name="T36" fmla="*/ 308 w 357"/>
                <a:gd name="T37" fmla="*/ 179 h 311"/>
                <a:gd name="T38" fmla="*/ 322 w 357"/>
                <a:gd name="T39" fmla="*/ 174 h 311"/>
                <a:gd name="T40" fmla="*/ 353 w 357"/>
                <a:gd name="T41" fmla="*/ 82 h 311"/>
                <a:gd name="T42" fmla="*/ 353 w 357"/>
                <a:gd name="T43" fmla="*/ 108 h 311"/>
                <a:gd name="T44" fmla="*/ 310 w 357"/>
                <a:gd name="T45" fmla="*/ 175 h 311"/>
                <a:gd name="T46" fmla="*/ 306 w 357"/>
                <a:gd name="T47" fmla="*/ 177 h 311"/>
                <a:gd name="T48" fmla="*/ 304 w 357"/>
                <a:gd name="T49" fmla="*/ 178 h 311"/>
                <a:gd name="T50" fmla="*/ 246 w 357"/>
                <a:gd name="T51" fmla="*/ 220 h 311"/>
                <a:gd name="T52" fmla="*/ 221 w 357"/>
                <a:gd name="T53" fmla="*/ 218 h 311"/>
                <a:gd name="T54" fmla="*/ 203 w 357"/>
                <a:gd name="T55" fmla="*/ 240 h 311"/>
                <a:gd name="T56" fmla="*/ 201 w 357"/>
                <a:gd name="T57" fmla="*/ 241 h 311"/>
                <a:gd name="T58" fmla="*/ 196 w 357"/>
                <a:gd name="T59" fmla="*/ 266 h 311"/>
                <a:gd name="T60" fmla="*/ 105 w 357"/>
                <a:gd name="T61" fmla="*/ 301 h 311"/>
                <a:gd name="T62" fmla="*/ 93 w 357"/>
                <a:gd name="T63" fmla="*/ 297 h 311"/>
                <a:gd name="T64" fmla="*/ 80 w 357"/>
                <a:gd name="T65" fmla="*/ 305 h 311"/>
                <a:gd name="T66" fmla="*/ 40 w 357"/>
                <a:gd name="T67" fmla="*/ 302 h 311"/>
                <a:gd name="T68" fmla="*/ 26 w 357"/>
                <a:gd name="T69" fmla="*/ 297 h 311"/>
                <a:gd name="T70" fmla="*/ 14 w 357"/>
                <a:gd name="T71" fmla="*/ 258 h 311"/>
                <a:gd name="T72" fmla="*/ 26 w 357"/>
                <a:gd name="T73" fmla="*/ 238 h 311"/>
                <a:gd name="T74" fmla="*/ 4 w 357"/>
                <a:gd name="T75" fmla="*/ 198 h 311"/>
                <a:gd name="T76" fmla="*/ 39 w 357"/>
                <a:gd name="T77" fmla="*/ 148 h 311"/>
                <a:gd name="T78" fmla="*/ 41 w 357"/>
                <a:gd name="T79" fmla="*/ 147 h 311"/>
                <a:gd name="T80" fmla="*/ 103 w 357"/>
                <a:gd name="T81" fmla="*/ 95 h 311"/>
                <a:gd name="T82" fmla="*/ 130 w 357"/>
                <a:gd name="T83" fmla="*/ 101 h 311"/>
                <a:gd name="T84" fmla="*/ 132 w 357"/>
                <a:gd name="T85" fmla="*/ 72 h 311"/>
                <a:gd name="T86" fmla="*/ 181 w 357"/>
                <a:gd name="T87" fmla="*/ 37 h 311"/>
                <a:gd name="T88" fmla="*/ 184 w 357"/>
                <a:gd name="T89" fmla="*/ 37 h 311"/>
                <a:gd name="T90" fmla="*/ 259 w 357"/>
                <a:gd name="T91" fmla="*/ 7 h 311"/>
                <a:gd name="T92" fmla="*/ 299 w 357"/>
                <a:gd name="T93" fmla="*/ 42 h 311"/>
                <a:gd name="T94" fmla="*/ 300 w 357"/>
                <a:gd name="T95" fmla="*/ 44 h 311"/>
                <a:gd name="T96" fmla="*/ 351 w 357"/>
                <a:gd name="T97" fmla="*/ 82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7" h="311">
                  <a:moveTo>
                    <a:pt x="351" y="82"/>
                  </a:moveTo>
                  <a:cubicBezTo>
                    <a:pt x="353" y="82"/>
                    <a:pt x="353" y="82"/>
                    <a:pt x="353" y="82"/>
                  </a:cubicBezTo>
                  <a:cubicBezTo>
                    <a:pt x="346" y="62"/>
                    <a:pt x="327" y="45"/>
                    <a:pt x="302" y="41"/>
                  </a:cubicBezTo>
                  <a:cubicBezTo>
                    <a:pt x="301" y="43"/>
                    <a:pt x="301" y="43"/>
                    <a:pt x="301" y="43"/>
                  </a:cubicBezTo>
                  <a:cubicBezTo>
                    <a:pt x="303" y="42"/>
                    <a:pt x="303" y="42"/>
                    <a:pt x="303" y="42"/>
                  </a:cubicBezTo>
                  <a:cubicBezTo>
                    <a:pt x="303" y="41"/>
                    <a:pt x="300" y="34"/>
                    <a:pt x="292" y="26"/>
                  </a:cubicBezTo>
                  <a:cubicBezTo>
                    <a:pt x="285" y="18"/>
                    <a:pt x="274" y="8"/>
                    <a:pt x="260" y="4"/>
                  </a:cubicBezTo>
                  <a:cubicBezTo>
                    <a:pt x="253" y="1"/>
                    <a:pt x="245" y="0"/>
                    <a:pt x="238" y="0"/>
                  </a:cubicBezTo>
                  <a:cubicBezTo>
                    <a:pt x="216" y="0"/>
                    <a:pt x="194" y="11"/>
                    <a:pt x="181" y="34"/>
                  </a:cubicBezTo>
                  <a:cubicBezTo>
                    <a:pt x="183" y="35"/>
                    <a:pt x="183" y="35"/>
                    <a:pt x="183" y="35"/>
                  </a:cubicBezTo>
                  <a:cubicBezTo>
                    <a:pt x="182" y="33"/>
                    <a:pt x="182" y="33"/>
                    <a:pt x="182" y="33"/>
                  </a:cubicBezTo>
                  <a:cubicBezTo>
                    <a:pt x="182" y="33"/>
                    <a:pt x="172" y="33"/>
                    <a:pt x="161" y="38"/>
                  </a:cubicBezTo>
                  <a:cubicBezTo>
                    <a:pt x="149" y="43"/>
                    <a:pt x="135" y="53"/>
                    <a:pt x="128" y="71"/>
                  </a:cubicBezTo>
                  <a:cubicBezTo>
                    <a:pt x="126" y="77"/>
                    <a:pt x="125" y="84"/>
                    <a:pt x="125" y="90"/>
                  </a:cubicBezTo>
                  <a:cubicBezTo>
                    <a:pt x="125" y="93"/>
                    <a:pt x="125" y="95"/>
                    <a:pt x="125" y="98"/>
                  </a:cubicBezTo>
                  <a:cubicBezTo>
                    <a:pt x="127" y="98"/>
                    <a:pt x="127" y="98"/>
                    <a:pt x="127" y="98"/>
                  </a:cubicBezTo>
                  <a:cubicBezTo>
                    <a:pt x="128" y="96"/>
                    <a:pt x="128" y="96"/>
                    <a:pt x="128" y="96"/>
                  </a:cubicBezTo>
                  <a:cubicBezTo>
                    <a:pt x="121" y="93"/>
                    <a:pt x="112" y="91"/>
                    <a:pt x="103" y="91"/>
                  </a:cubicBezTo>
                  <a:cubicBezTo>
                    <a:pt x="102" y="91"/>
                    <a:pt x="102" y="91"/>
                    <a:pt x="102" y="91"/>
                  </a:cubicBezTo>
                  <a:cubicBezTo>
                    <a:pt x="87" y="91"/>
                    <a:pt x="73" y="96"/>
                    <a:pt x="61" y="105"/>
                  </a:cubicBezTo>
                  <a:cubicBezTo>
                    <a:pt x="49" y="114"/>
                    <a:pt x="41" y="128"/>
                    <a:pt x="37" y="145"/>
                  </a:cubicBezTo>
                  <a:cubicBezTo>
                    <a:pt x="39" y="145"/>
                    <a:pt x="39" y="145"/>
                    <a:pt x="39" y="145"/>
                  </a:cubicBezTo>
                  <a:cubicBezTo>
                    <a:pt x="38" y="144"/>
                    <a:pt x="38" y="144"/>
                    <a:pt x="38" y="144"/>
                  </a:cubicBezTo>
                  <a:cubicBezTo>
                    <a:pt x="38" y="144"/>
                    <a:pt x="29" y="150"/>
                    <a:pt x="19" y="160"/>
                  </a:cubicBezTo>
                  <a:cubicBezTo>
                    <a:pt x="10" y="169"/>
                    <a:pt x="0" y="183"/>
                    <a:pt x="0" y="198"/>
                  </a:cubicBezTo>
                  <a:cubicBezTo>
                    <a:pt x="0" y="199"/>
                    <a:pt x="0" y="199"/>
                    <a:pt x="0" y="200"/>
                  </a:cubicBezTo>
                  <a:cubicBezTo>
                    <a:pt x="0" y="212"/>
                    <a:pt x="4" y="221"/>
                    <a:pt x="9" y="228"/>
                  </a:cubicBezTo>
                  <a:cubicBezTo>
                    <a:pt x="13" y="235"/>
                    <a:pt x="19" y="239"/>
                    <a:pt x="24" y="242"/>
                  </a:cubicBezTo>
                  <a:cubicBezTo>
                    <a:pt x="25" y="240"/>
                    <a:pt x="25" y="240"/>
                    <a:pt x="25" y="240"/>
                  </a:cubicBezTo>
                  <a:cubicBezTo>
                    <a:pt x="24" y="239"/>
                    <a:pt x="24" y="239"/>
                    <a:pt x="24" y="239"/>
                  </a:cubicBezTo>
                  <a:cubicBezTo>
                    <a:pt x="18" y="245"/>
                    <a:pt x="13" y="251"/>
                    <a:pt x="11" y="256"/>
                  </a:cubicBezTo>
                  <a:cubicBezTo>
                    <a:pt x="9" y="260"/>
                    <a:pt x="8" y="264"/>
                    <a:pt x="8" y="269"/>
                  </a:cubicBezTo>
                  <a:cubicBezTo>
                    <a:pt x="8" y="277"/>
                    <a:pt x="11" y="285"/>
                    <a:pt x="15" y="291"/>
                  </a:cubicBezTo>
                  <a:cubicBezTo>
                    <a:pt x="17" y="294"/>
                    <a:pt x="19" y="296"/>
                    <a:pt x="21" y="298"/>
                  </a:cubicBezTo>
                  <a:cubicBezTo>
                    <a:pt x="22" y="299"/>
                    <a:pt x="23" y="300"/>
                    <a:pt x="24" y="300"/>
                  </a:cubicBezTo>
                  <a:cubicBezTo>
                    <a:pt x="25" y="301"/>
                    <a:pt x="26" y="301"/>
                    <a:pt x="28" y="301"/>
                  </a:cubicBezTo>
                  <a:cubicBezTo>
                    <a:pt x="29" y="301"/>
                    <a:pt x="30" y="302"/>
                    <a:pt x="32" y="302"/>
                  </a:cubicBezTo>
                  <a:cubicBezTo>
                    <a:pt x="35" y="303"/>
                    <a:pt x="38" y="305"/>
                    <a:pt x="42" y="307"/>
                  </a:cubicBezTo>
                  <a:cubicBezTo>
                    <a:pt x="45" y="308"/>
                    <a:pt x="48" y="310"/>
                    <a:pt x="51" y="310"/>
                  </a:cubicBezTo>
                  <a:cubicBezTo>
                    <a:pt x="53" y="311"/>
                    <a:pt x="57" y="311"/>
                    <a:pt x="63" y="311"/>
                  </a:cubicBezTo>
                  <a:cubicBezTo>
                    <a:pt x="69" y="311"/>
                    <a:pt x="75" y="311"/>
                    <a:pt x="81" y="309"/>
                  </a:cubicBezTo>
                  <a:cubicBezTo>
                    <a:pt x="86" y="308"/>
                    <a:pt x="91" y="305"/>
                    <a:pt x="94" y="300"/>
                  </a:cubicBezTo>
                  <a:cubicBezTo>
                    <a:pt x="93" y="299"/>
                    <a:pt x="93" y="299"/>
                    <a:pt x="93" y="299"/>
                  </a:cubicBezTo>
                  <a:cubicBezTo>
                    <a:pt x="92" y="301"/>
                    <a:pt x="92" y="301"/>
                    <a:pt x="92" y="301"/>
                  </a:cubicBezTo>
                  <a:cubicBezTo>
                    <a:pt x="92" y="301"/>
                    <a:pt x="110" y="308"/>
                    <a:pt x="133" y="308"/>
                  </a:cubicBezTo>
                  <a:cubicBezTo>
                    <a:pt x="144" y="308"/>
                    <a:pt x="157" y="307"/>
                    <a:pt x="168" y="301"/>
                  </a:cubicBezTo>
                  <a:cubicBezTo>
                    <a:pt x="186" y="293"/>
                    <a:pt x="195" y="278"/>
                    <a:pt x="200" y="265"/>
                  </a:cubicBezTo>
                  <a:cubicBezTo>
                    <a:pt x="205" y="252"/>
                    <a:pt x="205" y="242"/>
                    <a:pt x="205" y="242"/>
                  </a:cubicBezTo>
                  <a:cubicBezTo>
                    <a:pt x="203" y="242"/>
                    <a:pt x="203" y="242"/>
                    <a:pt x="203" y="242"/>
                  </a:cubicBezTo>
                  <a:cubicBezTo>
                    <a:pt x="204" y="243"/>
                    <a:pt x="204" y="243"/>
                    <a:pt x="204" y="243"/>
                  </a:cubicBezTo>
                  <a:cubicBezTo>
                    <a:pt x="205" y="243"/>
                    <a:pt x="217" y="235"/>
                    <a:pt x="225" y="220"/>
                  </a:cubicBezTo>
                  <a:cubicBezTo>
                    <a:pt x="223" y="219"/>
                    <a:pt x="223" y="219"/>
                    <a:pt x="223" y="219"/>
                  </a:cubicBezTo>
                  <a:cubicBezTo>
                    <a:pt x="222" y="220"/>
                    <a:pt x="222" y="220"/>
                    <a:pt x="222" y="220"/>
                  </a:cubicBezTo>
                  <a:cubicBezTo>
                    <a:pt x="230" y="223"/>
                    <a:pt x="238" y="224"/>
                    <a:pt x="246" y="224"/>
                  </a:cubicBezTo>
                  <a:cubicBezTo>
                    <a:pt x="249" y="224"/>
                    <a:pt x="252" y="224"/>
                    <a:pt x="254" y="224"/>
                  </a:cubicBezTo>
                  <a:cubicBezTo>
                    <a:pt x="274" y="221"/>
                    <a:pt x="288" y="210"/>
                    <a:pt x="296" y="200"/>
                  </a:cubicBezTo>
                  <a:cubicBezTo>
                    <a:pt x="305" y="189"/>
                    <a:pt x="308" y="180"/>
                    <a:pt x="308" y="179"/>
                  </a:cubicBezTo>
                  <a:cubicBezTo>
                    <a:pt x="307" y="179"/>
                    <a:pt x="307" y="179"/>
                    <a:pt x="307" y="179"/>
                  </a:cubicBezTo>
                  <a:cubicBezTo>
                    <a:pt x="307" y="181"/>
                    <a:pt x="307" y="181"/>
                    <a:pt x="307" y="181"/>
                  </a:cubicBezTo>
                  <a:cubicBezTo>
                    <a:pt x="307" y="181"/>
                    <a:pt x="314" y="179"/>
                    <a:pt x="322" y="174"/>
                  </a:cubicBezTo>
                  <a:cubicBezTo>
                    <a:pt x="330" y="169"/>
                    <a:pt x="340" y="161"/>
                    <a:pt x="347" y="148"/>
                  </a:cubicBezTo>
                  <a:cubicBezTo>
                    <a:pt x="354" y="134"/>
                    <a:pt x="357" y="121"/>
                    <a:pt x="357" y="108"/>
                  </a:cubicBezTo>
                  <a:cubicBezTo>
                    <a:pt x="357" y="98"/>
                    <a:pt x="355" y="90"/>
                    <a:pt x="353" y="82"/>
                  </a:cubicBezTo>
                  <a:cubicBezTo>
                    <a:pt x="351" y="82"/>
                    <a:pt x="351" y="82"/>
                    <a:pt x="351" y="82"/>
                  </a:cubicBezTo>
                  <a:cubicBezTo>
                    <a:pt x="349" y="83"/>
                    <a:pt x="349" y="83"/>
                    <a:pt x="349" y="83"/>
                  </a:cubicBezTo>
                  <a:cubicBezTo>
                    <a:pt x="351" y="91"/>
                    <a:pt x="353" y="99"/>
                    <a:pt x="353" y="108"/>
                  </a:cubicBezTo>
                  <a:cubicBezTo>
                    <a:pt x="353" y="120"/>
                    <a:pt x="350" y="133"/>
                    <a:pt x="343" y="147"/>
                  </a:cubicBezTo>
                  <a:cubicBezTo>
                    <a:pt x="337" y="158"/>
                    <a:pt x="328" y="165"/>
                    <a:pt x="320" y="170"/>
                  </a:cubicBezTo>
                  <a:cubicBezTo>
                    <a:pt x="316" y="173"/>
                    <a:pt x="313" y="174"/>
                    <a:pt x="310" y="175"/>
                  </a:cubicBezTo>
                  <a:cubicBezTo>
                    <a:pt x="309" y="176"/>
                    <a:pt x="308" y="176"/>
                    <a:pt x="307" y="177"/>
                  </a:cubicBezTo>
                  <a:cubicBezTo>
                    <a:pt x="306" y="177"/>
                    <a:pt x="306" y="177"/>
                    <a:pt x="306" y="177"/>
                  </a:cubicBezTo>
                  <a:cubicBezTo>
                    <a:pt x="306" y="177"/>
                    <a:pt x="306" y="177"/>
                    <a:pt x="306" y="177"/>
                  </a:cubicBezTo>
                  <a:cubicBezTo>
                    <a:pt x="305" y="177"/>
                    <a:pt x="305" y="177"/>
                    <a:pt x="305" y="177"/>
                  </a:cubicBezTo>
                  <a:cubicBezTo>
                    <a:pt x="305" y="178"/>
                    <a:pt x="305" y="178"/>
                    <a:pt x="305" y="178"/>
                  </a:cubicBezTo>
                  <a:cubicBezTo>
                    <a:pt x="304" y="178"/>
                    <a:pt x="304" y="178"/>
                    <a:pt x="304" y="178"/>
                  </a:cubicBezTo>
                  <a:cubicBezTo>
                    <a:pt x="304" y="180"/>
                    <a:pt x="300" y="190"/>
                    <a:pt x="291" y="199"/>
                  </a:cubicBezTo>
                  <a:cubicBezTo>
                    <a:pt x="283" y="209"/>
                    <a:pt x="271" y="218"/>
                    <a:pt x="254" y="220"/>
                  </a:cubicBezTo>
                  <a:cubicBezTo>
                    <a:pt x="251" y="220"/>
                    <a:pt x="249" y="220"/>
                    <a:pt x="246" y="220"/>
                  </a:cubicBezTo>
                  <a:cubicBezTo>
                    <a:pt x="238" y="220"/>
                    <a:pt x="231" y="219"/>
                    <a:pt x="224" y="217"/>
                  </a:cubicBezTo>
                  <a:cubicBezTo>
                    <a:pt x="222" y="216"/>
                    <a:pt x="222" y="216"/>
                    <a:pt x="222" y="216"/>
                  </a:cubicBezTo>
                  <a:cubicBezTo>
                    <a:pt x="221" y="218"/>
                    <a:pt x="221" y="218"/>
                    <a:pt x="221" y="218"/>
                  </a:cubicBezTo>
                  <a:cubicBezTo>
                    <a:pt x="217" y="225"/>
                    <a:pt x="213" y="230"/>
                    <a:pt x="209" y="234"/>
                  </a:cubicBezTo>
                  <a:cubicBezTo>
                    <a:pt x="207" y="236"/>
                    <a:pt x="205" y="238"/>
                    <a:pt x="204" y="239"/>
                  </a:cubicBezTo>
                  <a:cubicBezTo>
                    <a:pt x="203" y="239"/>
                    <a:pt x="203" y="239"/>
                    <a:pt x="203" y="240"/>
                  </a:cubicBezTo>
                  <a:cubicBezTo>
                    <a:pt x="202" y="240"/>
                    <a:pt x="202" y="240"/>
                    <a:pt x="202" y="240"/>
                  </a:cubicBezTo>
                  <a:cubicBezTo>
                    <a:pt x="202" y="240"/>
                    <a:pt x="202" y="240"/>
                    <a:pt x="202" y="240"/>
                  </a:cubicBezTo>
                  <a:cubicBezTo>
                    <a:pt x="201" y="241"/>
                    <a:pt x="201" y="241"/>
                    <a:pt x="201" y="241"/>
                  </a:cubicBezTo>
                  <a:cubicBezTo>
                    <a:pt x="201" y="242"/>
                    <a:pt x="201" y="242"/>
                    <a:pt x="201" y="242"/>
                  </a:cubicBezTo>
                  <a:cubicBezTo>
                    <a:pt x="201" y="242"/>
                    <a:pt x="201" y="242"/>
                    <a:pt x="201" y="242"/>
                  </a:cubicBezTo>
                  <a:cubicBezTo>
                    <a:pt x="201" y="244"/>
                    <a:pt x="200" y="254"/>
                    <a:pt x="196" y="266"/>
                  </a:cubicBezTo>
                  <a:cubicBezTo>
                    <a:pt x="191" y="277"/>
                    <a:pt x="182" y="290"/>
                    <a:pt x="167" y="297"/>
                  </a:cubicBezTo>
                  <a:cubicBezTo>
                    <a:pt x="156" y="303"/>
                    <a:pt x="144" y="304"/>
                    <a:pt x="133" y="304"/>
                  </a:cubicBezTo>
                  <a:cubicBezTo>
                    <a:pt x="122" y="304"/>
                    <a:pt x="112" y="303"/>
                    <a:pt x="105" y="301"/>
                  </a:cubicBezTo>
                  <a:cubicBezTo>
                    <a:pt x="101" y="300"/>
                    <a:pt x="98" y="299"/>
                    <a:pt x="96" y="298"/>
                  </a:cubicBezTo>
                  <a:cubicBezTo>
                    <a:pt x="95" y="298"/>
                    <a:pt x="95" y="298"/>
                    <a:pt x="94" y="298"/>
                  </a:cubicBezTo>
                  <a:cubicBezTo>
                    <a:pt x="94" y="297"/>
                    <a:pt x="93" y="297"/>
                    <a:pt x="93" y="297"/>
                  </a:cubicBezTo>
                  <a:cubicBezTo>
                    <a:pt x="92" y="297"/>
                    <a:pt x="92" y="297"/>
                    <a:pt x="92" y="297"/>
                  </a:cubicBezTo>
                  <a:cubicBezTo>
                    <a:pt x="91" y="298"/>
                    <a:pt x="91" y="298"/>
                    <a:pt x="91" y="298"/>
                  </a:cubicBezTo>
                  <a:cubicBezTo>
                    <a:pt x="89" y="302"/>
                    <a:pt x="85" y="304"/>
                    <a:pt x="80" y="305"/>
                  </a:cubicBezTo>
                  <a:cubicBezTo>
                    <a:pt x="74" y="307"/>
                    <a:pt x="68" y="307"/>
                    <a:pt x="63" y="307"/>
                  </a:cubicBezTo>
                  <a:cubicBezTo>
                    <a:pt x="58" y="307"/>
                    <a:pt x="53" y="307"/>
                    <a:pt x="51" y="306"/>
                  </a:cubicBezTo>
                  <a:cubicBezTo>
                    <a:pt x="49" y="306"/>
                    <a:pt x="45" y="304"/>
                    <a:pt x="40" y="302"/>
                  </a:cubicBezTo>
                  <a:cubicBezTo>
                    <a:pt x="38" y="300"/>
                    <a:pt x="36" y="299"/>
                    <a:pt x="34" y="299"/>
                  </a:cubicBezTo>
                  <a:cubicBezTo>
                    <a:pt x="32" y="298"/>
                    <a:pt x="30" y="297"/>
                    <a:pt x="28" y="297"/>
                  </a:cubicBezTo>
                  <a:cubicBezTo>
                    <a:pt x="27" y="297"/>
                    <a:pt x="27" y="297"/>
                    <a:pt x="26" y="297"/>
                  </a:cubicBezTo>
                  <a:cubicBezTo>
                    <a:pt x="24" y="296"/>
                    <a:pt x="20" y="292"/>
                    <a:pt x="17" y="287"/>
                  </a:cubicBezTo>
                  <a:cubicBezTo>
                    <a:pt x="14" y="282"/>
                    <a:pt x="12" y="275"/>
                    <a:pt x="12" y="269"/>
                  </a:cubicBezTo>
                  <a:cubicBezTo>
                    <a:pt x="12" y="265"/>
                    <a:pt x="13" y="261"/>
                    <a:pt x="14" y="258"/>
                  </a:cubicBezTo>
                  <a:cubicBezTo>
                    <a:pt x="16" y="253"/>
                    <a:pt x="21" y="248"/>
                    <a:pt x="27" y="241"/>
                  </a:cubicBezTo>
                  <a:cubicBezTo>
                    <a:pt x="28" y="240"/>
                    <a:pt x="28" y="240"/>
                    <a:pt x="28" y="240"/>
                  </a:cubicBezTo>
                  <a:cubicBezTo>
                    <a:pt x="26" y="238"/>
                    <a:pt x="26" y="238"/>
                    <a:pt x="26" y="238"/>
                  </a:cubicBezTo>
                  <a:cubicBezTo>
                    <a:pt x="22" y="236"/>
                    <a:pt x="16" y="232"/>
                    <a:pt x="12" y="225"/>
                  </a:cubicBezTo>
                  <a:cubicBezTo>
                    <a:pt x="8" y="219"/>
                    <a:pt x="4" y="211"/>
                    <a:pt x="4" y="200"/>
                  </a:cubicBezTo>
                  <a:cubicBezTo>
                    <a:pt x="4" y="199"/>
                    <a:pt x="4" y="199"/>
                    <a:pt x="4" y="198"/>
                  </a:cubicBezTo>
                  <a:cubicBezTo>
                    <a:pt x="4" y="185"/>
                    <a:pt x="13" y="172"/>
                    <a:pt x="22" y="162"/>
                  </a:cubicBezTo>
                  <a:cubicBezTo>
                    <a:pt x="27" y="158"/>
                    <a:pt x="31" y="154"/>
                    <a:pt x="35" y="151"/>
                  </a:cubicBezTo>
                  <a:cubicBezTo>
                    <a:pt x="36" y="150"/>
                    <a:pt x="38" y="149"/>
                    <a:pt x="39" y="148"/>
                  </a:cubicBezTo>
                  <a:cubicBezTo>
                    <a:pt x="39" y="148"/>
                    <a:pt x="40" y="147"/>
                    <a:pt x="40" y="147"/>
                  </a:cubicBezTo>
                  <a:cubicBezTo>
                    <a:pt x="40" y="147"/>
                    <a:pt x="40" y="147"/>
                    <a:pt x="40" y="147"/>
                  </a:cubicBezTo>
                  <a:cubicBezTo>
                    <a:pt x="41" y="147"/>
                    <a:pt x="41" y="147"/>
                    <a:pt x="41" y="147"/>
                  </a:cubicBezTo>
                  <a:cubicBezTo>
                    <a:pt x="41" y="146"/>
                    <a:pt x="41" y="146"/>
                    <a:pt x="41" y="146"/>
                  </a:cubicBezTo>
                  <a:cubicBezTo>
                    <a:pt x="44" y="129"/>
                    <a:pt x="53" y="117"/>
                    <a:pt x="64" y="108"/>
                  </a:cubicBezTo>
                  <a:cubicBezTo>
                    <a:pt x="74" y="100"/>
                    <a:pt x="88" y="95"/>
                    <a:pt x="103" y="95"/>
                  </a:cubicBezTo>
                  <a:cubicBezTo>
                    <a:pt x="103" y="95"/>
                    <a:pt x="103" y="95"/>
                    <a:pt x="103" y="95"/>
                  </a:cubicBezTo>
                  <a:cubicBezTo>
                    <a:pt x="112" y="95"/>
                    <a:pt x="120" y="97"/>
                    <a:pt x="127" y="100"/>
                  </a:cubicBezTo>
                  <a:cubicBezTo>
                    <a:pt x="130" y="101"/>
                    <a:pt x="130" y="101"/>
                    <a:pt x="130" y="101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9" y="95"/>
                    <a:pt x="129" y="92"/>
                    <a:pt x="129" y="90"/>
                  </a:cubicBezTo>
                  <a:cubicBezTo>
                    <a:pt x="129" y="84"/>
                    <a:pt x="130" y="78"/>
                    <a:pt x="132" y="72"/>
                  </a:cubicBezTo>
                  <a:cubicBezTo>
                    <a:pt x="139" y="55"/>
                    <a:pt x="151" y="47"/>
                    <a:pt x="162" y="42"/>
                  </a:cubicBezTo>
                  <a:cubicBezTo>
                    <a:pt x="168" y="40"/>
                    <a:pt x="173" y="38"/>
                    <a:pt x="177" y="37"/>
                  </a:cubicBezTo>
                  <a:cubicBezTo>
                    <a:pt x="179" y="37"/>
                    <a:pt x="180" y="37"/>
                    <a:pt x="181" y="37"/>
                  </a:cubicBezTo>
                  <a:cubicBezTo>
                    <a:pt x="182" y="37"/>
                    <a:pt x="182" y="37"/>
                    <a:pt x="182" y="37"/>
                  </a:cubicBezTo>
                  <a:cubicBezTo>
                    <a:pt x="183" y="37"/>
                    <a:pt x="183" y="37"/>
                    <a:pt x="183" y="37"/>
                  </a:cubicBezTo>
                  <a:cubicBezTo>
                    <a:pt x="184" y="37"/>
                    <a:pt x="184" y="37"/>
                    <a:pt x="184" y="37"/>
                  </a:cubicBezTo>
                  <a:cubicBezTo>
                    <a:pt x="184" y="36"/>
                    <a:pt x="184" y="36"/>
                    <a:pt x="184" y="36"/>
                  </a:cubicBezTo>
                  <a:cubicBezTo>
                    <a:pt x="197" y="14"/>
                    <a:pt x="217" y="4"/>
                    <a:pt x="238" y="4"/>
                  </a:cubicBezTo>
                  <a:cubicBezTo>
                    <a:pt x="245" y="4"/>
                    <a:pt x="252" y="5"/>
                    <a:pt x="259" y="7"/>
                  </a:cubicBezTo>
                  <a:cubicBezTo>
                    <a:pt x="272" y="12"/>
                    <a:pt x="282" y="21"/>
                    <a:pt x="289" y="29"/>
                  </a:cubicBezTo>
                  <a:cubicBezTo>
                    <a:pt x="293" y="33"/>
                    <a:pt x="295" y="36"/>
                    <a:pt x="297" y="39"/>
                  </a:cubicBezTo>
                  <a:cubicBezTo>
                    <a:pt x="298" y="40"/>
                    <a:pt x="299" y="42"/>
                    <a:pt x="299" y="42"/>
                  </a:cubicBezTo>
                  <a:cubicBezTo>
                    <a:pt x="299" y="43"/>
                    <a:pt x="299" y="43"/>
                    <a:pt x="300" y="43"/>
                  </a:cubicBezTo>
                  <a:cubicBezTo>
                    <a:pt x="300" y="43"/>
                    <a:pt x="300" y="43"/>
                    <a:pt x="300" y="43"/>
                  </a:cubicBezTo>
                  <a:cubicBezTo>
                    <a:pt x="300" y="44"/>
                    <a:pt x="300" y="44"/>
                    <a:pt x="300" y="44"/>
                  </a:cubicBezTo>
                  <a:cubicBezTo>
                    <a:pt x="301" y="44"/>
                    <a:pt x="301" y="44"/>
                    <a:pt x="301" y="44"/>
                  </a:cubicBezTo>
                  <a:cubicBezTo>
                    <a:pt x="325" y="48"/>
                    <a:pt x="343" y="65"/>
                    <a:pt x="349" y="83"/>
                  </a:cubicBezTo>
                  <a:lnTo>
                    <a:pt x="351" y="8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1721811" y="1830801"/>
              <a:ext cx="974168" cy="764412"/>
            </a:xfrm>
            <a:custGeom>
              <a:avLst/>
              <a:gdLst>
                <a:gd name="T0" fmla="*/ 72 w 292"/>
                <a:gd name="T1" fmla="*/ 211 h 229"/>
                <a:gd name="T2" fmla="*/ 130 w 292"/>
                <a:gd name="T3" fmla="*/ 166 h 229"/>
                <a:gd name="T4" fmla="*/ 149 w 292"/>
                <a:gd name="T5" fmla="*/ 173 h 229"/>
                <a:gd name="T6" fmla="*/ 182 w 292"/>
                <a:gd name="T7" fmla="*/ 164 h 229"/>
                <a:gd name="T8" fmla="*/ 267 w 292"/>
                <a:gd name="T9" fmla="*/ 137 h 229"/>
                <a:gd name="T10" fmla="*/ 280 w 292"/>
                <a:gd name="T11" fmla="*/ 111 h 229"/>
                <a:gd name="T12" fmla="*/ 239 w 292"/>
                <a:gd name="T13" fmla="*/ 16 h 229"/>
                <a:gd name="T14" fmla="*/ 191 w 292"/>
                <a:gd name="T15" fmla="*/ 0 h 229"/>
                <a:gd name="T16" fmla="*/ 141 w 292"/>
                <a:gd name="T17" fmla="*/ 43 h 229"/>
                <a:gd name="T18" fmla="*/ 109 w 292"/>
                <a:gd name="T19" fmla="*/ 86 h 229"/>
                <a:gd name="T20" fmla="*/ 134 w 292"/>
                <a:gd name="T21" fmla="*/ 121 h 229"/>
                <a:gd name="T22" fmla="*/ 182 w 292"/>
                <a:gd name="T23" fmla="*/ 143 h 229"/>
                <a:gd name="T24" fmla="*/ 210 w 292"/>
                <a:gd name="T25" fmla="*/ 127 h 229"/>
                <a:gd name="T26" fmla="*/ 201 w 292"/>
                <a:gd name="T27" fmla="*/ 39 h 229"/>
                <a:gd name="T28" fmla="*/ 188 w 292"/>
                <a:gd name="T29" fmla="*/ 103 h 229"/>
                <a:gd name="T30" fmla="*/ 206 w 292"/>
                <a:gd name="T31" fmla="*/ 67 h 229"/>
                <a:gd name="T32" fmla="*/ 170 w 292"/>
                <a:gd name="T33" fmla="*/ 81 h 229"/>
                <a:gd name="T34" fmla="*/ 147 w 292"/>
                <a:gd name="T35" fmla="*/ 99 h 229"/>
                <a:gd name="T36" fmla="*/ 102 w 292"/>
                <a:gd name="T37" fmla="*/ 161 h 229"/>
                <a:gd name="T38" fmla="*/ 13 w 292"/>
                <a:gd name="T39" fmla="*/ 201 h 229"/>
                <a:gd name="T40" fmla="*/ 5 w 292"/>
                <a:gd name="T41" fmla="*/ 219 h 229"/>
                <a:gd name="T42" fmla="*/ 6 w 292"/>
                <a:gd name="T43" fmla="*/ 219 h 229"/>
                <a:gd name="T44" fmla="*/ 23 w 292"/>
                <a:gd name="T45" fmla="*/ 209 h 229"/>
                <a:gd name="T46" fmla="*/ 6 w 292"/>
                <a:gd name="T47" fmla="*/ 219 h 229"/>
                <a:gd name="T48" fmla="*/ 88 w 292"/>
                <a:gd name="T49" fmla="*/ 184 h 229"/>
                <a:gd name="T50" fmla="*/ 132 w 292"/>
                <a:gd name="T51" fmla="*/ 118 h 229"/>
                <a:gd name="T52" fmla="*/ 174 w 292"/>
                <a:gd name="T53" fmla="*/ 83 h 229"/>
                <a:gd name="T54" fmla="*/ 190 w 292"/>
                <a:gd name="T55" fmla="*/ 62 h 229"/>
                <a:gd name="T56" fmla="*/ 206 w 292"/>
                <a:gd name="T57" fmla="*/ 89 h 229"/>
                <a:gd name="T58" fmla="*/ 167 w 292"/>
                <a:gd name="T59" fmla="*/ 77 h 229"/>
                <a:gd name="T60" fmla="*/ 233 w 292"/>
                <a:gd name="T61" fmla="*/ 82 h 229"/>
                <a:gd name="T62" fmla="*/ 195 w 292"/>
                <a:gd name="T63" fmla="*/ 128 h 229"/>
                <a:gd name="T64" fmla="*/ 192 w 292"/>
                <a:gd name="T65" fmla="*/ 129 h 229"/>
                <a:gd name="T66" fmla="*/ 143 w 292"/>
                <a:gd name="T67" fmla="*/ 129 h 229"/>
                <a:gd name="T68" fmla="*/ 137 w 292"/>
                <a:gd name="T69" fmla="*/ 119 h 229"/>
                <a:gd name="T70" fmla="*/ 124 w 292"/>
                <a:gd name="T71" fmla="*/ 111 h 229"/>
                <a:gd name="T72" fmla="*/ 137 w 292"/>
                <a:gd name="T73" fmla="*/ 47 h 229"/>
                <a:gd name="T74" fmla="*/ 142 w 292"/>
                <a:gd name="T75" fmla="*/ 45 h 229"/>
                <a:gd name="T76" fmla="*/ 191 w 292"/>
                <a:gd name="T77" fmla="*/ 4 h 229"/>
                <a:gd name="T78" fmla="*/ 229 w 292"/>
                <a:gd name="T79" fmla="*/ 20 h 229"/>
                <a:gd name="T80" fmla="*/ 239 w 292"/>
                <a:gd name="T81" fmla="*/ 20 h 229"/>
                <a:gd name="T82" fmla="*/ 277 w 292"/>
                <a:gd name="T83" fmla="*/ 109 h 229"/>
                <a:gd name="T84" fmla="*/ 268 w 292"/>
                <a:gd name="T85" fmla="*/ 117 h 229"/>
                <a:gd name="T86" fmla="*/ 263 w 292"/>
                <a:gd name="T87" fmla="*/ 138 h 229"/>
                <a:gd name="T88" fmla="*/ 185 w 292"/>
                <a:gd name="T89" fmla="*/ 163 h 229"/>
                <a:gd name="T90" fmla="*/ 181 w 292"/>
                <a:gd name="T91" fmla="*/ 163 h 229"/>
                <a:gd name="T92" fmla="*/ 141 w 292"/>
                <a:gd name="T93" fmla="*/ 165 h 229"/>
                <a:gd name="T94" fmla="*/ 117 w 292"/>
                <a:gd name="T95" fmla="*/ 171 h 229"/>
                <a:gd name="T96" fmla="*/ 32 w 292"/>
                <a:gd name="T97" fmla="*/ 209 h 229"/>
                <a:gd name="T98" fmla="*/ 23 w 292"/>
                <a:gd name="T99" fmla="*/ 2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229">
                  <a:moveTo>
                    <a:pt x="23" y="209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3" y="211"/>
                    <a:pt x="36" y="214"/>
                    <a:pt x="51" y="214"/>
                  </a:cubicBezTo>
                  <a:cubicBezTo>
                    <a:pt x="58" y="214"/>
                    <a:pt x="66" y="213"/>
                    <a:pt x="72" y="211"/>
                  </a:cubicBezTo>
                  <a:cubicBezTo>
                    <a:pt x="92" y="206"/>
                    <a:pt x="105" y="191"/>
                    <a:pt x="110" y="185"/>
                  </a:cubicBezTo>
                  <a:cubicBezTo>
                    <a:pt x="112" y="181"/>
                    <a:pt x="117" y="177"/>
                    <a:pt x="121" y="173"/>
                  </a:cubicBezTo>
                  <a:cubicBezTo>
                    <a:pt x="123" y="171"/>
                    <a:pt x="126" y="169"/>
                    <a:pt x="127" y="168"/>
                  </a:cubicBezTo>
                  <a:cubicBezTo>
                    <a:pt x="128" y="167"/>
                    <a:pt x="129" y="166"/>
                    <a:pt x="130" y="166"/>
                  </a:cubicBezTo>
                  <a:cubicBezTo>
                    <a:pt x="131" y="166"/>
                    <a:pt x="131" y="166"/>
                    <a:pt x="131" y="166"/>
                  </a:cubicBezTo>
                  <a:cubicBezTo>
                    <a:pt x="132" y="166"/>
                    <a:pt x="133" y="166"/>
                    <a:pt x="135" y="167"/>
                  </a:cubicBezTo>
                  <a:cubicBezTo>
                    <a:pt x="137" y="167"/>
                    <a:pt x="140" y="169"/>
                    <a:pt x="142" y="170"/>
                  </a:cubicBezTo>
                  <a:cubicBezTo>
                    <a:pt x="145" y="171"/>
                    <a:pt x="147" y="172"/>
                    <a:pt x="149" y="173"/>
                  </a:cubicBezTo>
                  <a:cubicBezTo>
                    <a:pt x="151" y="173"/>
                    <a:pt x="155" y="174"/>
                    <a:pt x="159" y="174"/>
                  </a:cubicBezTo>
                  <a:cubicBezTo>
                    <a:pt x="163" y="174"/>
                    <a:pt x="168" y="173"/>
                    <a:pt x="173" y="172"/>
                  </a:cubicBezTo>
                  <a:cubicBezTo>
                    <a:pt x="177" y="171"/>
                    <a:pt x="182" y="169"/>
                    <a:pt x="184" y="165"/>
                  </a:cubicBezTo>
                  <a:cubicBezTo>
                    <a:pt x="182" y="164"/>
                    <a:pt x="182" y="164"/>
                    <a:pt x="182" y="164"/>
                  </a:cubicBezTo>
                  <a:cubicBezTo>
                    <a:pt x="181" y="166"/>
                    <a:pt x="181" y="166"/>
                    <a:pt x="181" y="166"/>
                  </a:cubicBezTo>
                  <a:cubicBezTo>
                    <a:pt x="182" y="166"/>
                    <a:pt x="196" y="171"/>
                    <a:pt x="214" y="171"/>
                  </a:cubicBezTo>
                  <a:cubicBezTo>
                    <a:pt x="223" y="171"/>
                    <a:pt x="232" y="170"/>
                    <a:pt x="242" y="166"/>
                  </a:cubicBezTo>
                  <a:cubicBezTo>
                    <a:pt x="256" y="159"/>
                    <a:pt x="263" y="147"/>
                    <a:pt x="267" y="137"/>
                  </a:cubicBezTo>
                  <a:cubicBezTo>
                    <a:pt x="271" y="127"/>
                    <a:pt x="271" y="119"/>
                    <a:pt x="271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70" y="120"/>
                    <a:pt x="275" y="117"/>
                    <a:pt x="280" y="111"/>
                  </a:cubicBezTo>
                  <a:cubicBezTo>
                    <a:pt x="284" y="105"/>
                    <a:pt x="290" y="97"/>
                    <a:pt x="291" y="86"/>
                  </a:cubicBezTo>
                  <a:cubicBezTo>
                    <a:pt x="292" y="82"/>
                    <a:pt x="292" y="78"/>
                    <a:pt x="292" y="75"/>
                  </a:cubicBezTo>
                  <a:cubicBezTo>
                    <a:pt x="292" y="59"/>
                    <a:pt x="287" y="45"/>
                    <a:pt x="279" y="35"/>
                  </a:cubicBezTo>
                  <a:cubicBezTo>
                    <a:pt x="271" y="24"/>
                    <a:pt x="255" y="16"/>
                    <a:pt x="239" y="16"/>
                  </a:cubicBezTo>
                  <a:cubicBezTo>
                    <a:pt x="236" y="16"/>
                    <a:pt x="233" y="16"/>
                    <a:pt x="230" y="17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2" y="17"/>
                    <a:pt x="232" y="17"/>
                    <a:pt x="232" y="17"/>
                  </a:cubicBezTo>
                  <a:cubicBezTo>
                    <a:pt x="232" y="17"/>
                    <a:pt x="214" y="0"/>
                    <a:pt x="191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78" y="0"/>
                    <a:pt x="167" y="4"/>
                    <a:pt x="157" y="11"/>
                  </a:cubicBezTo>
                  <a:cubicBezTo>
                    <a:pt x="148" y="19"/>
                    <a:pt x="141" y="29"/>
                    <a:pt x="139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0" y="41"/>
                    <a:pt x="140" y="41"/>
                    <a:pt x="140" y="41"/>
                  </a:cubicBezTo>
                  <a:cubicBezTo>
                    <a:pt x="140" y="41"/>
                    <a:pt x="132" y="44"/>
                    <a:pt x="125" y="51"/>
                  </a:cubicBezTo>
                  <a:cubicBezTo>
                    <a:pt x="117" y="58"/>
                    <a:pt x="110" y="68"/>
                    <a:pt x="109" y="83"/>
                  </a:cubicBezTo>
                  <a:cubicBezTo>
                    <a:pt x="109" y="84"/>
                    <a:pt x="109" y="85"/>
                    <a:pt x="109" y="86"/>
                  </a:cubicBezTo>
                  <a:cubicBezTo>
                    <a:pt x="109" y="100"/>
                    <a:pt x="116" y="109"/>
                    <a:pt x="122" y="115"/>
                  </a:cubicBezTo>
                  <a:cubicBezTo>
                    <a:pt x="128" y="120"/>
                    <a:pt x="135" y="122"/>
                    <a:pt x="135" y="122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4" y="121"/>
                    <a:pt x="134" y="121"/>
                    <a:pt x="134" y="121"/>
                  </a:cubicBezTo>
                  <a:cubicBezTo>
                    <a:pt x="134" y="121"/>
                    <a:pt x="136" y="126"/>
                    <a:pt x="139" y="131"/>
                  </a:cubicBezTo>
                  <a:cubicBezTo>
                    <a:pt x="143" y="137"/>
                    <a:pt x="148" y="143"/>
                    <a:pt x="155" y="145"/>
                  </a:cubicBezTo>
                  <a:cubicBezTo>
                    <a:pt x="158" y="146"/>
                    <a:pt x="161" y="147"/>
                    <a:pt x="164" y="147"/>
                  </a:cubicBezTo>
                  <a:cubicBezTo>
                    <a:pt x="170" y="147"/>
                    <a:pt x="176" y="145"/>
                    <a:pt x="182" y="143"/>
                  </a:cubicBezTo>
                  <a:cubicBezTo>
                    <a:pt x="187" y="140"/>
                    <a:pt x="192" y="136"/>
                    <a:pt x="195" y="131"/>
                  </a:cubicBezTo>
                  <a:cubicBezTo>
                    <a:pt x="194" y="130"/>
                    <a:pt x="194" y="130"/>
                    <a:pt x="194" y="130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4" y="132"/>
                    <a:pt x="201" y="130"/>
                    <a:pt x="210" y="127"/>
                  </a:cubicBezTo>
                  <a:cubicBezTo>
                    <a:pt x="218" y="124"/>
                    <a:pt x="227" y="118"/>
                    <a:pt x="231" y="109"/>
                  </a:cubicBezTo>
                  <a:cubicBezTo>
                    <a:pt x="234" y="102"/>
                    <a:pt x="237" y="92"/>
                    <a:pt x="237" y="82"/>
                  </a:cubicBezTo>
                  <a:cubicBezTo>
                    <a:pt x="237" y="69"/>
                    <a:pt x="233" y="55"/>
                    <a:pt x="222" y="47"/>
                  </a:cubicBezTo>
                  <a:cubicBezTo>
                    <a:pt x="215" y="41"/>
                    <a:pt x="208" y="39"/>
                    <a:pt x="201" y="39"/>
                  </a:cubicBezTo>
                  <a:cubicBezTo>
                    <a:pt x="188" y="39"/>
                    <a:pt x="177" y="46"/>
                    <a:pt x="170" y="54"/>
                  </a:cubicBezTo>
                  <a:cubicBezTo>
                    <a:pt x="165" y="60"/>
                    <a:pt x="163" y="69"/>
                    <a:pt x="163" y="77"/>
                  </a:cubicBezTo>
                  <a:cubicBezTo>
                    <a:pt x="163" y="84"/>
                    <a:pt x="164" y="91"/>
                    <a:pt x="169" y="96"/>
                  </a:cubicBezTo>
                  <a:cubicBezTo>
                    <a:pt x="174" y="100"/>
                    <a:pt x="181" y="103"/>
                    <a:pt x="188" y="103"/>
                  </a:cubicBezTo>
                  <a:cubicBezTo>
                    <a:pt x="192" y="103"/>
                    <a:pt x="197" y="102"/>
                    <a:pt x="200" y="100"/>
                  </a:cubicBezTo>
                  <a:cubicBezTo>
                    <a:pt x="204" y="98"/>
                    <a:pt x="207" y="95"/>
                    <a:pt x="209" y="91"/>
                  </a:cubicBezTo>
                  <a:cubicBezTo>
                    <a:pt x="211" y="88"/>
                    <a:pt x="212" y="84"/>
                    <a:pt x="212" y="81"/>
                  </a:cubicBezTo>
                  <a:cubicBezTo>
                    <a:pt x="212" y="76"/>
                    <a:pt x="209" y="70"/>
                    <a:pt x="206" y="67"/>
                  </a:cubicBezTo>
                  <a:cubicBezTo>
                    <a:pt x="203" y="63"/>
                    <a:pt x="199" y="60"/>
                    <a:pt x="195" y="59"/>
                  </a:cubicBezTo>
                  <a:cubicBezTo>
                    <a:pt x="194" y="59"/>
                    <a:pt x="192" y="58"/>
                    <a:pt x="190" y="58"/>
                  </a:cubicBezTo>
                  <a:cubicBezTo>
                    <a:pt x="186" y="58"/>
                    <a:pt x="181" y="60"/>
                    <a:pt x="177" y="64"/>
                  </a:cubicBezTo>
                  <a:cubicBezTo>
                    <a:pt x="173" y="67"/>
                    <a:pt x="170" y="73"/>
                    <a:pt x="170" y="81"/>
                  </a:cubicBezTo>
                  <a:cubicBezTo>
                    <a:pt x="170" y="81"/>
                    <a:pt x="170" y="81"/>
                    <a:pt x="170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71" y="80"/>
                    <a:pt x="159" y="88"/>
                    <a:pt x="147" y="99"/>
                  </a:cubicBezTo>
                  <a:cubicBezTo>
                    <a:pt x="141" y="104"/>
                    <a:pt x="134" y="109"/>
                    <a:pt x="129" y="115"/>
                  </a:cubicBezTo>
                  <a:cubicBezTo>
                    <a:pt x="124" y="120"/>
                    <a:pt x="120" y="125"/>
                    <a:pt x="118" y="130"/>
                  </a:cubicBezTo>
                  <a:cubicBezTo>
                    <a:pt x="114" y="138"/>
                    <a:pt x="113" y="142"/>
                    <a:pt x="112" y="145"/>
                  </a:cubicBezTo>
                  <a:cubicBezTo>
                    <a:pt x="111" y="149"/>
                    <a:pt x="109" y="153"/>
                    <a:pt x="102" y="161"/>
                  </a:cubicBezTo>
                  <a:cubicBezTo>
                    <a:pt x="95" y="170"/>
                    <a:pt x="91" y="176"/>
                    <a:pt x="85" y="181"/>
                  </a:cubicBezTo>
                  <a:cubicBezTo>
                    <a:pt x="80" y="185"/>
                    <a:pt x="74" y="188"/>
                    <a:pt x="65" y="189"/>
                  </a:cubicBezTo>
                  <a:cubicBezTo>
                    <a:pt x="56" y="190"/>
                    <a:pt x="42" y="190"/>
                    <a:pt x="30" y="193"/>
                  </a:cubicBezTo>
                  <a:cubicBezTo>
                    <a:pt x="23" y="195"/>
                    <a:pt x="17" y="197"/>
                    <a:pt x="13" y="201"/>
                  </a:cubicBezTo>
                  <a:cubicBezTo>
                    <a:pt x="8" y="205"/>
                    <a:pt x="4" y="211"/>
                    <a:pt x="2" y="218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10" y="213"/>
                    <a:pt x="24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8" y="209"/>
                    <a:pt x="3" y="217"/>
                    <a:pt x="3" y="217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8" y="212"/>
                    <a:pt x="11" y="208"/>
                    <a:pt x="15" y="204"/>
                  </a:cubicBezTo>
                  <a:cubicBezTo>
                    <a:pt x="21" y="199"/>
                    <a:pt x="31" y="197"/>
                    <a:pt x="40" y="195"/>
                  </a:cubicBezTo>
                  <a:cubicBezTo>
                    <a:pt x="49" y="194"/>
                    <a:pt x="59" y="194"/>
                    <a:pt x="66" y="193"/>
                  </a:cubicBezTo>
                  <a:cubicBezTo>
                    <a:pt x="75" y="192"/>
                    <a:pt x="82" y="189"/>
                    <a:pt x="88" y="184"/>
                  </a:cubicBezTo>
                  <a:cubicBezTo>
                    <a:pt x="94" y="179"/>
                    <a:pt x="99" y="172"/>
                    <a:pt x="105" y="164"/>
                  </a:cubicBezTo>
                  <a:cubicBezTo>
                    <a:pt x="112" y="155"/>
                    <a:pt x="114" y="151"/>
                    <a:pt x="116" y="147"/>
                  </a:cubicBezTo>
                  <a:cubicBezTo>
                    <a:pt x="117" y="143"/>
                    <a:pt x="118" y="139"/>
                    <a:pt x="121" y="131"/>
                  </a:cubicBezTo>
                  <a:cubicBezTo>
                    <a:pt x="123" y="128"/>
                    <a:pt x="127" y="123"/>
                    <a:pt x="132" y="118"/>
                  </a:cubicBezTo>
                  <a:cubicBezTo>
                    <a:pt x="140" y="110"/>
                    <a:pt x="150" y="101"/>
                    <a:pt x="158" y="95"/>
                  </a:cubicBezTo>
                  <a:cubicBezTo>
                    <a:pt x="163" y="91"/>
                    <a:pt x="166" y="88"/>
                    <a:pt x="169" y="86"/>
                  </a:cubicBezTo>
                  <a:cubicBezTo>
                    <a:pt x="172" y="84"/>
                    <a:pt x="173" y="83"/>
                    <a:pt x="173" y="83"/>
                  </a:cubicBezTo>
                  <a:cubicBezTo>
                    <a:pt x="174" y="83"/>
                    <a:pt x="174" y="83"/>
                    <a:pt x="174" y="83"/>
                  </a:cubicBezTo>
                  <a:cubicBezTo>
                    <a:pt x="174" y="82"/>
                    <a:pt x="174" y="82"/>
                    <a:pt x="174" y="82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74"/>
                    <a:pt x="176" y="69"/>
                    <a:pt x="179" y="66"/>
                  </a:cubicBezTo>
                  <a:cubicBezTo>
                    <a:pt x="182" y="64"/>
                    <a:pt x="187" y="62"/>
                    <a:pt x="190" y="62"/>
                  </a:cubicBezTo>
                  <a:cubicBezTo>
                    <a:pt x="192" y="62"/>
                    <a:pt x="193" y="63"/>
                    <a:pt x="194" y="63"/>
                  </a:cubicBezTo>
                  <a:cubicBezTo>
                    <a:pt x="197" y="64"/>
                    <a:pt x="201" y="66"/>
                    <a:pt x="203" y="69"/>
                  </a:cubicBezTo>
                  <a:cubicBezTo>
                    <a:pt x="206" y="72"/>
                    <a:pt x="208" y="77"/>
                    <a:pt x="208" y="81"/>
                  </a:cubicBezTo>
                  <a:cubicBezTo>
                    <a:pt x="208" y="84"/>
                    <a:pt x="207" y="86"/>
                    <a:pt x="206" y="89"/>
                  </a:cubicBezTo>
                  <a:cubicBezTo>
                    <a:pt x="204" y="92"/>
                    <a:pt x="202" y="95"/>
                    <a:pt x="198" y="96"/>
                  </a:cubicBezTo>
                  <a:cubicBezTo>
                    <a:pt x="195" y="98"/>
                    <a:pt x="192" y="99"/>
                    <a:pt x="188" y="99"/>
                  </a:cubicBezTo>
                  <a:cubicBezTo>
                    <a:pt x="182" y="99"/>
                    <a:pt x="175" y="96"/>
                    <a:pt x="172" y="93"/>
                  </a:cubicBezTo>
                  <a:cubicBezTo>
                    <a:pt x="168" y="89"/>
                    <a:pt x="167" y="83"/>
                    <a:pt x="167" y="77"/>
                  </a:cubicBezTo>
                  <a:cubicBezTo>
                    <a:pt x="167" y="70"/>
                    <a:pt x="169" y="62"/>
                    <a:pt x="174" y="56"/>
                  </a:cubicBezTo>
                  <a:cubicBezTo>
                    <a:pt x="179" y="50"/>
                    <a:pt x="190" y="43"/>
                    <a:pt x="201" y="43"/>
                  </a:cubicBezTo>
                  <a:cubicBezTo>
                    <a:pt x="207" y="43"/>
                    <a:pt x="213" y="45"/>
                    <a:pt x="220" y="50"/>
                  </a:cubicBezTo>
                  <a:cubicBezTo>
                    <a:pt x="229" y="57"/>
                    <a:pt x="233" y="69"/>
                    <a:pt x="233" y="82"/>
                  </a:cubicBezTo>
                  <a:cubicBezTo>
                    <a:pt x="233" y="91"/>
                    <a:pt x="230" y="101"/>
                    <a:pt x="227" y="108"/>
                  </a:cubicBezTo>
                  <a:cubicBezTo>
                    <a:pt x="224" y="115"/>
                    <a:pt x="216" y="120"/>
                    <a:pt x="208" y="123"/>
                  </a:cubicBezTo>
                  <a:cubicBezTo>
                    <a:pt x="204" y="125"/>
                    <a:pt x="200" y="126"/>
                    <a:pt x="198" y="127"/>
                  </a:cubicBezTo>
                  <a:cubicBezTo>
                    <a:pt x="196" y="127"/>
                    <a:pt x="195" y="128"/>
                    <a:pt x="195" y="128"/>
                  </a:cubicBezTo>
                  <a:cubicBezTo>
                    <a:pt x="194" y="128"/>
                    <a:pt x="194" y="128"/>
                    <a:pt x="194" y="128"/>
                  </a:cubicBezTo>
                  <a:cubicBezTo>
                    <a:pt x="193" y="128"/>
                    <a:pt x="193" y="128"/>
                    <a:pt x="193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92" y="129"/>
                    <a:pt x="192" y="129"/>
                    <a:pt x="192" y="129"/>
                  </a:cubicBezTo>
                  <a:cubicBezTo>
                    <a:pt x="189" y="133"/>
                    <a:pt x="185" y="137"/>
                    <a:pt x="180" y="139"/>
                  </a:cubicBezTo>
                  <a:cubicBezTo>
                    <a:pt x="175" y="141"/>
                    <a:pt x="169" y="143"/>
                    <a:pt x="164" y="143"/>
                  </a:cubicBezTo>
                  <a:cubicBezTo>
                    <a:pt x="161" y="143"/>
                    <a:pt x="158" y="142"/>
                    <a:pt x="156" y="141"/>
                  </a:cubicBezTo>
                  <a:cubicBezTo>
                    <a:pt x="151" y="140"/>
                    <a:pt x="146" y="134"/>
                    <a:pt x="143" y="129"/>
                  </a:cubicBezTo>
                  <a:cubicBezTo>
                    <a:pt x="141" y="127"/>
                    <a:pt x="140" y="124"/>
                    <a:pt x="139" y="122"/>
                  </a:cubicBezTo>
                  <a:cubicBezTo>
                    <a:pt x="138" y="122"/>
                    <a:pt x="138" y="121"/>
                    <a:pt x="138" y="120"/>
                  </a:cubicBezTo>
                  <a:cubicBezTo>
                    <a:pt x="138" y="120"/>
                    <a:pt x="138" y="120"/>
                    <a:pt x="138" y="120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0" y="116"/>
                    <a:pt x="124" y="111"/>
                  </a:cubicBezTo>
                  <a:cubicBezTo>
                    <a:pt x="118" y="106"/>
                    <a:pt x="113" y="98"/>
                    <a:pt x="113" y="86"/>
                  </a:cubicBezTo>
                  <a:cubicBezTo>
                    <a:pt x="113" y="85"/>
                    <a:pt x="113" y="84"/>
                    <a:pt x="113" y="84"/>
                  </a:cubicBezTo>
                  <a:cubicBezTo>
                    <a:pt x="114" y="70"/>
                    <a:pt x="121" y="60"/>
                    <a:pt x="128" y="54"/>
                  </a:cubicBezTo>
                  <a:cubicBezTo>
                    <a:pt x="131" y="51"/>
                    <a:pt x="135" y="49"/>
                    <a:pt x="137" y="47"/>
                  </a:cubicBezTo>
                  <a:cubicBezTo>
                    <a:pt x="138" y="46"/>
                    <a:pt x="140" y="46"/>
                    <a:pt x="140" y="46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43" y="44"/>
                    <a:pt x="143" y="44"/>
                    <a:pt x="143" y="44"/>
                  </a:cubicBezTo>
                  <a:cubicBezTo>
                    <a:pt x="145" y="31"/>
                    <a:pt x="151" y="21"/>
                    <a:pt x="160" y="15"/>
                  </a:cubicBezTo>
                  <a:cubicBezTo>
                    <a:pt x="168" y="8"/>
                    <a:pt x="179" y="4"/>
                    <a:pt x="190" y="4"/>
                  </a:cubicBezTo>
                  <a:cubicBezTo>
                    <a:pt x="191" y="4"/>
                    <a:pt x="191" y="4"/>
                    <a:pt x="191" y="4"/>
                  </a:cubicBezTo>
                  <a:cubicBezTo>
                    <a:pt x="201" y="4"/>
                    <a:pt x="211" y="8"/>
                    <a:pt x="218" y="12"/>
                  </a:cubicBezTo>
                  <a:cubicBezTo>
                    <a:pt x="222" y="14"/>
                    <a:pt x="224" y="16"/>
                    <a:pt x="226" y="18"/>
                  </a:cubicBezTo>
                  <a:cubicBezTo>
                    <a:pt x="227" y="19"/>
                    <a:pt x="228" y="19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30" y="21"/>
                    <a:pt x="230" y="21"/>
                    <a:pt x="230" y="21"/>
                  </a:cubicBezTo>
                  <a:cubicBezTo>
                    <a:pt x="231" y="21"/>
                    <a:pt x="231" y="21"/>
                    <a:pt x="231" y="21"/>
                  </a:cubicBezTo>
                  <a:cubicBezTo>
                    <a:pt x="234" y="20"/>
                    <a:pt x="236" y="20"/>
                    <a:pt x="239" y="20"/>
                  </a:cubicBezTo>
                  <a:cubicBezTo>
                    <a:pt x="254" y="20"/>
                    <a:pt x="268" y="27"/>
                    <a:pt x="276" y="37"/>
                  </a:cubicBezTo>
                  <a:cubicBezTo>
                    <a:pt x="283" y="47"/>
                    <a:pt x="288" y="60"/>
                    <a:pt x="288" y="75"/>
                  </a:cubicBezTo>
                  <a:cubicBezTo>
                    <a:pt x="288" y="78"/>
                    <a:pt x="288" y="82"/>
                    <a:pt x="287" y="85"/>
                  </a:cubicBezTo>
                  <a:cubicBezTo>
                    <a:pt x="286" y="95"/>
                    <a:pt x="281" y="103"/>
                    <a:pt x="277" y="109"/>
                  </a:cubicBezTo>
                  <a:cubicBezTo>
                    <a:pt x="274" y="111"/>
                    <a:pt x="272" y="114"/>
                    <a:pt x="270" y="115"/>
                  </a:cubicBezTo>
                  <a:cubicBezTo>
                    <a:pt x="270" y="116"/>
                    <a:pt x="269" y="116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7" y="118"/>
                    <a:pt x="267" y="118"/>
                    <a:pt x="267" y="118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21"/>
                    <a:pt x="266" y="129"/>
                    <a:pt x="263" y="138"/>
                  </a:cubicBezTo>
                  <a:cubicBezTo>
                    <a:pt x="259" y="146"/>
                    <a:pt x="252" y="156"/>
                    <a:pt x="240" y="162"/>
                  </a:cubicBezTo>
                  <a:cubicBezTo>
                    <a:pt x="231" y="166"/>
                    <a:pt x="222" y="167"/>
                    <a:pt x="214" y="167"/>
                  </a:cubicBezTo>
                  <a:cubicBezTo>
                    <a:pt x="205" y="167"/>
                    <a:pt x="198" y="166"/>
                    <a:pt x="192" y="165"/>
                  </a:cubicBezTo>
                  <a:cubicBezTo>
                    <a:pt x="189" y="164"/>
                    <a:pt x="187" y="163"/>
                    <a:pt x="185" y="163"/>
                  </a:cubicBezTo>
                  <a:cubicBezTo>
                    <a:pt x="185" y="162"/>
                    <a:pt x="184" y="162"/>
                    <a:pt x="184" y="162"/>
                  </a:cubicBezTo>
                  <a:cubicBezTo>
                    <a:pt x="183" y="162"/>
                    <a:pt x="183" y="162"/>
                    <a:pt x="183" y="162"/>
                  </a:cubicBezTo>
                  <a:cubicBezTo>
                    <a:pt x="181" y="161"/>
                    <a:pt x="181" y="161"/>
                    <a:pt x="181" y="161"/>
                  </a:cubicBezTo>
                  <a:cubicBezTo>
                    <a:pt x="181" y="163"/>
                    <a:pt x="181" y="163"/>
                    <a:pt x="181" y="163"/>
                  </a:cubicBezTo>
                  <a:cubicBezTo>
                    <a:pt x="179" y="165"/>
                    <a:pt x="176" y="167"/>
                    <a:pt x="172" y="168"/>
                  </a:cubicBezTo>
                  <a:cubicBezTo>
                    <a:pt x="168" y="169"/>
                    <a:pt x="163" y="170"/>
                    <a:pt x="159" y="170"/>
                  </a:cubicBezTo>
                  <a:cubicBezTo>
                    <a:pt x="155" y="170"/>
                    <a:pt x="151" y="169"/>
                    <a:pt x="150" y="169"/>
                  </a:cubicBezTo>
                  <a:cubicBezTo>
                    <a:pt x="148" y="169"/>
                    <a:pt x="145" y="167"/>
                    <a:pt x="141" y="165"/>
                  </a:cubicBezTo>
                  <a:cubicBezTo>
                    <a:pt x="140" y="164"/>
                    <a:pt x="138" y="164"/>
                    <a:pt x="136" y="163"/>
                  </a:cubicBezTo>
                  <a:cubicBezTo>
                    <a:pt x="135" y="162"/>
                    <a:pt x="133" y="162"/>
                    <a:pt x="131" y="162"/>
                  </a:cubicBezTo>
                  <a:cubicBezTo>
                    <a:pt x="130" y="162"/>
                    <a:pt x="129" y="162"/>
                    <a:pt x="128" y="163"/>
                  </a:cubicBezTo>
                  <a:cubicBezTo>
                    <a:pt x="125" y="164"/>
                    <a:pt x="121" y="167"/>
                    <a:pt x="117" y="171"/>
                  </a:cubicBezTo>
                  <a:cubicBezTo>
                    <a:pt x="113" y="175"/>
                    <a:pt x="109" y="179"/>
                    <a:pt x="107" y="182"/>
                  </a:cubicBezTo>
                  <a:cubicBezTo>
                    <a:pt x="102" y="188"/>
                    <a:pt x="89" y="203"/>
                    <a:pt x="71" y="208"/>
                  </a:cubicBezTo>
                  <a:cubicBezTo>
                    <a:pt x="65" y="209"/>
                    <a:pt x="58" y="210"/>
                    <a:pt x="51" y="210"/>
                  </a:cubicBezTo>
                  <a:cubicBezTo>
                    <a:pt x="44" y="210"/>
                    <a:pt x="37" y="209"/>
                    <a:pt x="32" y="209"/>
                  </a:cubicBezTo>
                  <a:cubicBezTo>
                    <a:pt x="30" y="208"/>
                    <a:pt x="27" y="208"/>
                    <a:pt x="26" y="208"/>
                  </a:cubicBezTo>
                  <a:cubicBezTo>
                    <a:pt x="25" y="208"/>
                    <a:pt x="24" y="207"/>
                    <a:pt x="24" y="207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23" y="207"/>
                    <a:pt x="23" y="207"/>
                    <a:pt x="23" y="207"/>
                  </a:cubicBezTo>
                  <a:lnTo>
                    <a:pt x="23" y="2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2152584" y="1960315"/>
              <a:ext cx="360386" cy="357570"/>
            </a:xfrm>
            <a:custGeom>
              <a:avLst/>
              <a:gdLst>
                <a:gd name="T0" fmla="*/ 56 w 108"/>
                <a:gd name="T1" fmla="*/ 37 h 107"/>
                <a:gd name="T2" fmla="*/ 55 w 108"/>
                <a:gd name="T3" fmla="*/ 44 h 107"/>
                <a:gd name="T4" fmla="*/ 48 w 108"/>
                <a:gd name="T5" fmla="*/ 46 h 107"/>
                <a:gd name="T6" fmla="*/ 42 w 108"/>
                <a:gd name="T7" fmla="*/ 39 h 107"/>
                <a:gd name="T8" fmla="*/ 57 w 108"/>
                <a:gd name="T9" fmla="*/ 24 h 107"/>
                <a:gd name="T10" fmla="*/ 74 w 108"/>
                <a:gd name="T11" fmla="*/ 30 h 107"/>
                <a:gd name="T12" fmla="*/ 79 w 108"/>
                <a:gd name="T13" fmla="*/ 42 h 107"/>
                <a:gd name="T14" fmla="*/ 74 w 108"/>
                <a:gd name="T15" fmla="*/ 56 h 107"/>
                <a:gd name="T16" fmla="*/ 56 w 108"/>
                <a:gd name="T17" fmla="*/ 62 h 107"/>
                <a:gd name="T18" fmla="*/ 37 w 108"/>
                <a:gd name="T19" fmla="*/ 36 h 107"/>
                <a:gd name="T20" fmla="*/ 52 w 108"/>
                <a:gd name="T21" fmla="*/ 12 h 107"/>
                <a:gd name="T22" fmla="*/ 73 w 108"/>
                <a:gd name="T23" fmla="*/ 4 h 107"/>
                <a:gd name="T24" fmla="*/ 104 w 108"/>
                <a:gd name="T25" fmla="*/ 41 h 107"/>
                <a:gd name="T26" fmla="*/ 90 w 108"/>
                <a:gd name="T27" fmla="*/ 76 h 107"/>
                <a:gd name="T28" fmla="*/ 63 w 108"/>
                <a:gd name="T29" fmla="*/ 89 h 107"/>
                <a:gd name="T30" fmla="*/ 63 w 108"/>
                <a:gd name="T31" fmla="*/ 90 h 107"/>
                <a:gd name="T32" fmla="*/ 40 w 108"/>
                <a:gd name="T33" fmla="*/ 103 h 107"/>
                <a:gd name="T34" fmla="*/ 18 w 108"/>
                <a:gd name="T35" fmla="*/ 94 h 107"/>
                <a:gd name="T36" fmla="*/ 8 w 108"/>
                <a:gd name="T37" fmla="*/ 80 h 107"/>
                <a:gd name="T38" fmla="*/ 0 w 108"/>
                <a:gd name="T39" fmla="*/ 80 h 107"/>
                <a:gd name="T40" fmla="*/ 7 w 108"/>
                <a:gd name="T41" fmla="*/ 81 h 107"/>
                <a:gd name="T42" fmla="*/ 15 w 108"/>
                <a:gd name="T43" fmla="*/ 97 h 107"/>
                <a:gd name="T44" fmla="*/ 40 w 108"/>
                <a:gd name="T45" fmla="*/ 107 h 107"/>
                <a:gd name="T46" fmla="*/ 67 w 108"/>
                <a:gd name="T47" fmla="*/ 92 h 107"/>
                <a:gd name="T48" fmla="*/ 65 w 108"/>
                <a:gd name="T49" fmla="*/ 93 h 107"/>
                <a:gd name="T50" fmla="*/ 108 w 108"/>
                <a:gd name="T51" fmla="*/ 45 h 107"/>
                <a:gd name="T52" fmla="*/ 96 w 108"/>
                <a:gd name="T53" fmla="*/ 10 h 107"/>
                <a:gd name="T54" fmla="*/ 72 w 108"/>
                <a:gd name="T55" fmla="*/ 0 h 107"/>
                <a:gd name="T56" fmla="*/ 35 w 108"/>
                <a:gd name="T57" fmla="*/ 26 h 107"/>
                <a:gd name="T58" fmla="*/ 39 w 108"/>
                <a:gd name="T59" fmla="*/ 55 h 107"/>
                <a:gd name="T60" fmla="*/ 59 w 108"/>
                <a:gd name="T61" fmla="*/ 66 h 107"/>
                <a:gd name="T62" fmla="*/ 83 w 108"/>
                <a:gd name="T63" fmla="*/ 42 h 107"/>
                <a:gd name="T64" fmla="*/ 83 w 108"/>
                <a:gd name="T65" fmla="*/ 42 h 107"/>
                <a:gd name="T66" fmla="*/ 59 w 108"/>
                <a:gd name="T67" fmla="*/ 20 h 107"/>
                <a:gd name="T68" fmla="*/ 43 w 108"/>
                <a:gd name="T69" fmla="*/ 26 h 107"/>
                <a:gd name="T70" fmla="*/ 41 w 108"/>
                <a:gd name="T71" fmla="*/ 46 h 107"/>
                <a:gd name="T72" fmla="*/ 50 w 108"/>
                <a:gd name="T73" fmla="*/ 50 h 107"/>
                <a:gd name="T74" fmla="*/ 60 w 108"/>
                <a:gd name="T75" fmla="*/ 41 h 107"/>
                <a:gd name="T76" fmla="*/ 56 w 108"/>
                <a:gd name="T77" fmla="*/ 3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" h="107"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8"/>
                    <a:pt x="56" y="39"/>
                    <a:pt x="56" y="41"/>
                  </a:cubicBezTo>
                  <a:cubicBezTo>
                    <a:pt x="56" y="42"/>
                    <a:pt x="56" y="44"/>
                    <a:pt x="55" y="44"/>
                  </a:cubicBezTo>
                  <a:cubicBezTo>
                    <a:pt x="55" y="45"/>
                    <a:pt x="53" y="46"/>
                    <a:pt x="50" y="46"/>
                  </a:cubicBezTo>
                  <a:cubicBezTo>
                    <a:pt x="50" y="46"/>
                    <a:pt x="49" y="46"/>
                    <a:pt x="48" y="46"/>
                  </a:cubicBezTo>
                  <a:cubicBezTo>
                    <a:pt x="46" y="46"/>
                    <a:pt x="45" y="45"/>
                    <a:pt x="44" y="44"/>
                  </a:cubicBezTo>
                  <a:cubicBezTo>
                    <a:pt x="43" y="42"/>
                    <a:pt x="42" y="41"/>
                    <a:pt x="42" y="39"/>
                  </a:cubicBezTo>
                  <a:cubicBezTo>
                    <a:pt x="42" y="36"/>
                    <a:pt x="44" y="32"/>
                    <a:pt x="46" y="29"/>
                  </a:cubicBezTo>
                  <a:cubicBezTo>
                    <a:pt x="49" y="26"/>
                    <a:pt x="52" y="24"/>
                    <a:pt x="57" y="24"/>
                  </a:cubicBezTo>
                  <a:cubicBezTo>
                    <a:pt x="57" y="24"/>
                    <a:pt x="58" y="24"/>
                    <a:pt x="58" y="24"/>
                  </a:cubicBezTo>
                  <a:cubicBezTo>
                    <a:pt x="66" y="25"/>
                    <a:pt x="71" y="27"/>
                    <a:pt x="74" y="30"/>
                  </a:cubicBezTo>
                  <a:cubicBezTo>
                    <a:pt x="77" y="33"/>
                    <a:pt x="78" y="37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8" y="47"/>
                    <a:pt x="77" y="52"/>
                    <a:pt x="74" y="56"/>
                  </a:cubicBezTo>
                  <a:cubicBezTo>
                    <a:pt x="70" y="59"/>
                    <a:pt x="66" y="62"/>
                    <a:pt x="59" y="62"/>
                  </a:cubicBezTo>
                  <a:cubicBezTo>
                    <a:pt x="58" y="62"/>
                    <a:pt x="57" y="62"/>
                    <a:pt x="56" y="62"/>
                  </a:cubicBezTo>
                  <a:cubicBezTo>
                    <a:pt x="50" y="61"/>
                    <a:pt x="45" y="57"/>
                    <a:pt x="42" y="52"/>
                  </a:cubicBezTo>
                  <a:cubicBezTo>
                    <a:pt x="39" y="48"/>
                    <a:pt x="37" y="41"/>
                    <a:pt x="37" y="36"/>
                  </a:cubicBezTo>
                  <a:cubicBezTo>
                    <a:pt x="37" y="33"/>
                    <a:pt x="38" y="30"/>
                    <a:pt x="39" y="28"/>
                  </a:cubicBezTo>
                  <a:cubicBezTo>
                    <a:pt x="42" y="23"/>
                    <a:pt x="46" y="17"/>
                    <a:pt x="52" y="12"/>
                  </a:cubicBezTo>
                  <a:cubicBezTo>
                    <a:pt x="57" y="7"/>
                    <a:pt x="64" y="4"/>
                    <a:pt x="72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81" y="4"/>
                    <a:pt x="88" y="7"/>
                    <a:pt x="93" y="12"/>
                  </a:cubicBezTo>
                  <a:cubicBezTo>
                    <a:pt x="98" y="18"/>
                    <a:pt x="102" y="27"/>
                    <a:pt x="104" y="41"/>
                  </a:cubicBezTo>
                  <a:cubicBezTo>
                    <a:pt x="104" y="42"/>
                    <a:pt x="104" y="44"/>
                    <a:pt x="104" y="45"/>
                  </a:cubicBezTo>
                  <a:cubicBezTo>
                    <a:pt x="104" y="57"/>
                    <a:pt x="98" y="68"/>
                    <a:pt x="90" y="76"/>
                  </a:cubicBezTo>
                  <a:cubicBezTo>
                    <a:pt x="83" y="84"/>
                    <a:pt x="73" y="89"/>
                    <a:pt x="65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1" y="93"/>
                    <a:pt x="58" y="97"/>
                  </a:cubicBezTo>
                  <a:cubicBezTo>
                    <a:pt x="54" y="100"/>
                    <a:pt x="49" y="103"/>
                    <a:pt x="40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0" y="103"/>
                    <a:pt x="23" y="99"/>
                    <a:pt x="18" y="94"/>
                  </a:cubicBezTo>
                  <a:cubicBezTo>
                    <a:pt x="13" y="90"/>
                    <a:pt x="9" y="84"/>
                    <a:pt x="9" y="81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6" y="86"/>
                    <a:pt x="9" y="92"/>
                    <a:pt x="15" y="97"/>
                  </a:cubicBezTo>
                  <a:cubicBezTo>
                    <a:pt x="21" y="103"/>
                    <a:pt x="29" y="107"/>
                    <a:pt x="39" y="107"/>
                  </a:cubicBezTo>
                  <a:cubicBezTo>
                    <a:pt x="39" y="107"/>
                    <a:pt x="39" y="107"/>
                    <a:pt x="40" y="107"/>
                  </a:cubicBezTo>
                  <a:cubicBezTo>
                    <a:pt x="50" y="107"/>
                    <a:pt x="57" y="103"/>
                    <a:pt x="61" y="99"/>
                  </a:cubicBezTo>
                  <a:cubicBezTo>
                    <a:pt x="65" y="95"/>
                    <a:pt x="67" y="92"/>
                    <a:pt x="67" y="92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74" y="93"/>
                    <a:pt x="85" y="87"/>
                    <a:pt x="93" y="79"/>
                  </a:cubicBezTo>
                  <a:cubicBezTo>
                    <a:pt x="102" y="71"/>
                    <a:pt x="108" y="59"/>
                    <a:pt x="108" y="45"/>
                  </a:cubicBezTo>
                  <a:cubicBezTo>
                    <a:pt x="108" y="44"/>
                    <a:pt x="108" y="42"/>
                    <a:pt x="108" y="40"/>
                  </a:cubicBezTo>
                  <a:cubicBezTo>
                    <a:pt x="106" y="26"/>
                    <a:pt x="102" y="16"/>
                    <a:pt x="96" y="10"/>
                  </a:cubicBezTo>
                  <a:cubicBezTo>
                    <a:pt x="90" y="3"/>
                    <a:pt x="82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63" y="0"/>
                    <a:pt x="55" y="4"/>
                    <a:pt x="49" y="9"/>
                  </a:cubicBezTo>
                  <a:cubicBezTo>
                    <a:pt x="43" y="14"/>
                    <a:pt x="38" y="20"/>
                    <a:pt x="35" y="26"/>
                  </a:cubicBezTo>
                  <a:cubicBezTo>
                    <a:pt x="34" y="29"/>
                    <a:pt x="33" y="32"/>
                    <a:pt x="33" y="36"/>
                  </a:cubicBezTo>
                  <a:cubicBezTo>
                    <a:pt x="33" y="42"/>
                    <a:pt x="35" y="49"/>
                    <a:pt x="39" y="55"/>
                  </a:cubicBezTo>
                  <a:cubicBezTo>
                    <a:pt x="42" y="60"/>
                    <a:pt x="48" y="65"/>
                    <a:pt x="55" y="66"/>
                  </a:cubicBezTo>
                  <a:cubicBezTo>
                    <a:pt x="56" y="66"/>
                    <a:pt x="58" y="66"/>
                    <a:pt x="59" y="66"/>
                  </a:cubicBezTo>
                  <a:cubicBezTo>
                    <a:pt x="67" y="66"/>
                    <a:pt x="73" y="63"/>
                    <a:pt x="77" y="58"/>
                  </a:cubicBezTo>
                  <a:cubicBezTo>
                    <a:pt x="81" y="54"/>
                    <a:pt x="82" y="48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36"/>
                    <a:pt x="81" y="31"/>
                    <a:pt x="77" y="27"/>
                  </a:cubicBezTo>
                  <a:cubicBezTo>
                    <a:pt x="73" y="23"/>
                    <a:pt x="67" y="21"/>
                    <a:pt x="59" y="20"/>
                  </a:cubicBezTo>
                  <a:cubicBezTo>
                    <a:pt x="58" y="20"/>
                    <a:pt x="57" y="20"/>
                    <a:pt x="57" y="20"/>
                  </a:cubicBezTo>
                  <a:cubicBezTo>
                    <a:pt x="51" y="20"/>
                    <a:pt x="46" y="22"/>
                    <a:pt x="43" y="26"/>
                  </a:cubicBezTo>
                  <a:cubicBezTo>
                    <a:pt x="40" y="30"/>
                    <a:pt x="38" y="35"/>
                    <a:pt x="38" y="39"/>
                  </a:cubicBezTo>
                  <a:cubicBezTo>
                    <a:pt x="38" y="41"/>
                    <a:pt x="39" y="44"/>
                    <a:pt x="41" y="46"/>
                  </a:cubicBezTo>
                  <a:cubicBezTo>
                    <a:pt x="42" y="48"/>
                    <a:pt x="45" y="49"/>
                    <a:pt x="48" y="50"/>
                  </a:cubicBezTo>
                  <a:cubicBezTo>
                    <a:pt x="49" y="50"/>
                    <a:pt x="50" y="50"/>
                    <a:pt x="50" y="50"/>
                  </a:cubicBezTo>
                  <a:cubicBezTo>
                    <a:pt x="54" y="50"/>
                    <a:pt x="57" y="49"/>
                    <a:pt x="58" y="47"/>
                  </a:cubicBezTo>
                  <a:cubicBezTo>
                    <a:pt x="60" y="45"/>
                    <a:pt x="60" y="43"/>
                    <a:pt x="60" y="41"/>
                  </a:cubicBezTo>
                  <a:cubicBezTo>
                    <a:pt x="60" y="38"/>
                    <a:pt x="60" y="36"/>
                    <a:pt x="59" y="36"/>
                  </a:cubicBezTo>
                  <a:lnTo>
                    <a:pt x="56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2218749" y="1380319"/>
              <a:ext cx="460337" cy="450482"/>
            </a:xfrm>
            <a:custGeom>
              <a:avLst/>
              <a:gdLst>
                <a:gd name="T0" fmla="*/ 72 w 138"/>
                <a:gd name="T1" fmla="*/ 46 h 135"/>
                <a:gd name="T2" fmla="*/ 72 w 138"/>
                <a:gd name="T3" fmla="*/ 56 h 135"/>
                <a:gd name="T4" fmla="*/ 62 w 138"/>
                <a:gd name="T5" fmla="*/ 58 h 135"/>
                <a:gd name="T6" fmla="*/ 54 w 138"/>
                <a:gd name="T7" fmla="*/ 49 h 135"/>
                <a:gd name="T8" fmla="*/ 73 w 138"/>
                <a:gd name="T9" fmla="*/ 28 h 135"/>
                <a:gd name="T10" fmla="*/ 96 w 138"/>
                <a:gd name="T11" fmla="*/ 36 h 135"/>
                <a:gd name="T12" fmla="*/ 101 w 138"/>
                <a:gd name="T13" fmla="*/ 53 h 135"/>
                <a:gd name="T14" fmla="*/ 95 w 138"/>
                <a:gd name="T15" fmla="*/ 71 h 135"/>
                <a:gd name="T16" fmla="*/ 71 w 138"/>
                <a:gd name="T17" fmla="*/ 78 h 135"/>
                <a:gd name="T18" fmla="*/ 48 w 138"/>
                <a:gd name="T19" fmla="*/ 45 h 135"/>
                <a:gd name="T20" fmla="*/ 66 w 138"/>
                <a:gd name="T21" fmla="*/ 14 h 135"/>
                <a:gd name="T22" fmla="*/ 94 w 138"/>
                <a:gd name="T23" fmla="*/ 4 h 135"/>
                <a:gd name="T24" fmla="*/ 133 w 138"/>
                <a:gd name="T25" fmla="*/ 51 h 135"/>
                <a:gd name="T26" fmla="*/ 116 w 138"/>
                <a:gd name="T27" fmla="*/ 97 h 135"/>
                <a:gd name="T28" fmla="*/ 82 w 138"/>
                <a:gd name="T29" fmla="*/ 113 h 135"/>
                <a:gd name="T30" fmla="*/ 81 w 138"/>
                <a:gd name="T31" fmla="*/ 114 h 135"/>
                <a:gd name="T32" fmla="*/ 51 w 138"/>
                <a:gd name="T33" fmla="*/ 131 h 135"/>
                <a:gd name="T34" fmla="*/ 23 w 138"/>
                <a:gd name="T35" fmla="*/ 120 h 135"/>
                <a:gd name="T36" fmla="*/ 11 w 138"/>
                <a:gd name="T37" fmla="*/ 101 h 135"/>
                <a:gd name="T38" fmla="*/ 0 w 138"/>
                <a:gd name="T39" fmla="*/ 101 h 135"/>
                <a:gd name="T40" fmla="*/ 9 w 138"/>
                <a:gd name="T41" fmla="*/ 103 h 135"/>
                <a:gd name="T42" fmla="*/ 20 w 138"/>
                <a:gd name="T43" fmla="*/ 123 h 135"/>
                <a:gd name="T44" fmla="*/ 52 w 138"/>
                <a:gd name="T45" fmla="*/ 135 h 135"/>
                <a:gd name="T46" fmla="*/ 85 w 138"/>
                <a:gd name="T47" fmla="*/ 116 h 135"/>
                <a:gd name="T48" fmla="*/ 83 w 138"/>
                <a:gd name="T49" fmla="*/ 117 h 135"/>
                <a:gd name="T50" fmla="*/ 138 w 138"/>
                <a:gd name="T51" fmla="*/ 57 h 135"/>
                <a:gd name="T52" fmla="*/ 123 w 138"/>
                <a:gd name="T53" fmla="*/ 12 h 135"/>
                <a:gd name="T54" fmla="*/ 92 w 138"/>
                <a:gd name="T55" fmla="*/ 0 h 135"/>
                <a:gd name="T56" fmla="*/ 46 w 138"/>
                <a:gd name="T57" fmla="*/ 32 h 135"/>
                <a:gd name="T58" fmla="*/ 51 w 138"/>
                <a:gd name="T59" fmla="*/ 68 h 135"/>
                <a:gd name="T60" fmla="*/ 76 w 138"/>
                <a:gd name="T61" fmla="*/ 83 h 135"/>
                <a:gd name="T62" fmla="*/ 105 w 138"/>
                <a:gd name="T63" fmla="*/ 53 h 135"/>
                <a:gd name="T64" fmla="*/ 105 w 138"/>
                <a:gd name="T65" fmla="*/ 53 h 135"/>
                <a:gd name="T66" fmla="*/ 75 w 138"/>
                <a:gd name="T67" fmla="*/ 25 h 135"/>
                <a:gd name="T68" fmla="*/ 56 w 138"/>
                <a:gd name="T69" fmla="*/ 33 h 135"/>
                <a:gd name="T70" fmla="*/ 53 w 138"/>
                <a:gd name="T71" fmla="*/ 57 h 135"/>
                <a:gd name="T72" fmla="*/ 65 w 138"/>
                <a:gd name="T73" fmla="*/ 62 h 135"/>
                <a:gd name="T74" fmla="*/ 77 w 138"/>
                <a:gd name="T75" fmla="*/ 51 h 135"/>
                <a:gd name="T76" fmla="*/ 72 w 138"/>
                <a:gd name="T77" fmla="*/ 46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8" h="135">
                  <a:moveTo>
                    <a:pt x="72" y="46"/>
                  </a:moveTo>
                  <a:cubicBezTo>
                    <a:pt x="72" y="46"/>
                    <a:pt x="72" y="46"/>
                    <a:pt x="72" y="46"/>
                  </a:cubicBezTo>
                  <a:cubicBezTo>
                    <a:pt x="72" y="47"/>
                    <a:pt x="73" y="49"/>
                    <a:pt x="73" y="51"/>
                  </a:cubicBezTo>
                  <a:cubicBezTo>
                    <a:pt x="73" y="53"/>
                    <a:pt x="73" y="55"/>
                    <a:pt x="72" y="56"/>
                  </a:cubicBezTo>
                  <a:cubicBezTo>
                    <a:pt x="71" y="57"/>
                    <a:pt x="69" y="58"/>
                    <a:pt x="65" y="58"/>
                  </a:cubicBezTo>
                  <a:cubicBezTo>
                    <a:pt x="64" y="58"/>
                    <a:pt x="63" y="58"/>
                    <a:pt x="62" y="58"/>
                  </a:cubicBezTo>
                  <a:cubicBezTo>
                    <a:pt x="59" y="58"/>
                    <a:pt x="57" y="57"/>
                    <a:pt x="56" y="55"/>
                  </a:cubicBezTo>
                  <a:cubicBezTo>
                    <a:pt x="55" y="53"/>
                    <a:pt x="54" y="51"/>
                    <a:pt x="54" y="49"/>
                  </a:cubicBezTo>
                  <a:cubicBezTo>
                    <a:pt x="54" y="44"/>
                    <a:pt x="56" y="39"/>
                    <a:pt x="59" y="35"/>
                  </a:cubicBezTo>
                  <a:cubicBezTo>
                    <a:pt x="63" y="31"/>
                    <a:pt x="67" y="28"/>
                    <a:pt x="73" y="28"/>
                  </a:cubicBezTo>
                  <a:cubicBezTo>
                    <a:pt x="73" y="28"/>
                    <a:pt x="74" y="29"/>
                    <a:pt x="75" y="29"/>
                  </a:cubicBezTo>
                  <a:cubicBezTo>
                    <a:pt x="85" y="30"/>
                    <a:pt x="92" y="33"/>
                    <a:pt x="96" y="36"/>
                  </a:cubicBezTo>
                  <a:cubicBezTo>
                    <a:pt x="100" y="40"/>
                    <a:pt x="101" y="45"/>
                    <a:pt x="101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3"/>
                    <a:pt x="101" y="53"/>
                    <a:pt x="101" y="53"/>
                  </a:cubicBezTo>
                  <a:cubicBezTo>
                    <a:pt x="101" y="59"/>
                    <a:pt x="99" y="66"/>
                    <a:pt x="95" y="71"/>
                  </a:cubicBezTo>
                  <a:cubicBezTo>
                    <a:pt x="91" y="75"/>
                    <a:pt x="85" y="79"/>
                    <a:pt x="76" y="79"/>
                  </a:cubicBezTo>
                  <a:cubicBezTo>
                    <a:pt x="75" y="79"/>
                    <a:pt x="73" y="79"/>
                    <a:pt x="71" y="78"/>
                  </a:cubicBezTo>
                  <a:cubicBezTo>
                    <a:pt x="64" y="77"/>
                    <a:pt x="58" y="73"/>
                    <a:pt x="54" y="66"/>
                  </a:cubicBezTo>
                  <a:cubicBezTo>
                    <a:pt x="50" y="60"/>
                    <a:pt x="48" y="52"/>
                    <a:pt x="48" y="45"/>
                  </a:cubicBezTo>
                  <a:cubicBezTo>
                    <a:pt x="48" y="41"/>
                    <a:pt x="48" y="37"/>
                    <a:pt x="50" y="34"/>
                  </a:cubicBezTo>
                  <a:cubicBezTo>
                    <a:pt x="53" y="28"/>
                    <a:pt x="59" y="20"/>
                    <a:pt x="66" y="14"/>
                  </a:cubicBezTo>
                  <a:cubicBezTo>
                    <a:pt x="73" y="8"/>
                    <a:pt x="82" y="4"/>
                    <a:pt x="92" y="4"/>
                  </a:cubicBezTo>
                  <a:cubicBezTo>
                    <a:pt x="93" y="4"/>
                    <a:pt x="93" y="4"/>
                    <a:pt x="94" y="4"/>
                  </a:cubicBezTo>
                  <a:cubicBezTo>
                    <a:pt x="105" y="4"/>
                    <a:pt x="113" y="7"/>
                    <a:pt x="120" y="14"/>
                  </a:cubicBezTo>
                  <a:cubicBezTo>
                    <a:pt x="127" y="22"/>
                    <a:pt x="131" y="33"/>
                    <a:pt x="133" y="51"/>
                  </a:cubicBezTo>
                  <a:cubicBezTo>
                    <a:pt x="134" y="53"/>
                    <a:pt x="134" y="55"/>
                    <a:pt x="134" y="57"/>
                  </a:cubicBezTo>
                  <a:cubicBezTo>
                    <a:pt x="134" y="72"/>
                    <a:pt x="126" y="86"/>
                    <a:pt x="116" y="97"/>
                  </a:cubicBezTo>
                  <a:cubicBezTo>
                    <a:pt x="106" y="107"/>
                    <a:pt x="93" y="113"/>
                    <a:pt x="83" y="113"/>
                  </a:cubicBezTo>
                  <a:cubicBezTo>
                    <a:pt x="82" y="113"/>
                    <a:pt x="82" y="113"/>
                    <a:pt x="82" y="113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4"/>
                    <a:pt x="81" y="114"/>
                    <a:pt x="81" y="114"/>
                  </a:cubicBezTo>
                  <a:cubicBezTo>
                    <a:pt x="81" y="115"/>
                    <a:pt x="79" y="119"/>
                    <a:pt x="75" y="123"/>
                  </a:cubicBezTo>
                  <a:cubicBezTo>
                    <a:pt x="70" y="127"/>
                    <a:pt x="63" y="131"/>
                    <a:pt x="51" y="131"/>
                  </a:cubicBezTo>
                  <a:cubicBezTo>
                    <a:pt x="51" y="131"/>
                    <a:pt x="50" y="131"/>
                    <a:pt x="50" y="131"/>
                  </a:cubicBezTo>
                  <a:cubicBezTo>
                    <a:pt x="39" y="131"/>
                    <a:pt x="30" y="126"/>
                    <a:pt x="23" y="120"/>
                  </a:cubicBezTo>
                  <a:cubicBezTo>
                    <a:pt x="16" y="114"/>
                    <a:pt x="12" y="106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2" y="97"/>
                    <a:pt x="2" y="97"/>
                    <a:pt x="2" y="97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7" y="103"/>
                    <a:pt x="7" y="103"/>
                    <a:pt x="7" y="103"/>
                  </a:cubicBezTo>
                  <a:cubicBezTo>
                    <a:pt x="8" y="108"/>
                    <a:pt x="13" y="116"/>
                    <a:pt x="20" y="123"/>
                  </a:cubicBezTo>
                  <a:cubicBezTo>
                    <a:pt x="27" y="130"/>
                    <a:pt x="37" y="135"/>
                    <a:pt x="50" y="135"/>
                  </a:cubicBezTo>
                  <a:cubicBezTo>
                    <a:pt x="50" y="135"/>
                    <a:pt x="51" y="135"/>
                    <a:pt x="52" y="135"/>
                  </a:cubicBezTo>
                  <a:cubicBezTo>
                    <a:pt x="64" y="135"/>
                    <a:pt x="73" y="130"/>
                    <a:pt x="78" y="125"/>
                  </a:cubicBezTo>
                  <a:cubicBezTo>
                    <a:pt x="83" y="120"/>
                    <a:pt x="85" y="116"/>
                    <a:pt x="85" y="116"/>
                  </a:cubicBezTo>
                  <a:cubicBezTo>
                    <a:pt x="83" y="115"/>
                    <a:pt x="83" y="115"/>
                    <a:pt x="83" y="115"/>
                  </a:cubicBezTo>
                  <a:cubicBezTo>
                    <a:pt x="83" y="117"/>
                    <a:pt x="83" y="117"/>
                    <a:pt x="83" y="117"/>
                  </a:cubicBezTo>
                  <a:cubicBezTo>
                    <a:pt x="95" y="117"/>
                    <a:pt x="108" y="110"/>
                    <a:pt x="119" y="99"/>
                  </a:cubicBezTo>
                  <a:cubicBezTo>
                    <a:pt x="130" y="89"/>
                    <a:pt x="138" y="74"/>
                    <a:pt x="138" y="57"/>
                  </a:cubicBezTo>
                  <a:cubicBezTo>
                    <a:pt x="138" y="55"/>
                    <a:pt x="138" y="52"/>
                    <a:pt x="137" y="50"/>
                  </a:cubicBezTo>
                  <a:cubicBezTo>
                    <a:pt x="135" y="32"/>
                    <a:pt x="130" y="20"/>
                    <a:pt x="123" y="12"/>
                  </a:cubicBezTo>
                  <a:cubicBezTo>
                    <a:pt x="116" y="3"/>
                    <a:pt x="105" y="0"/>
                    <a:pt x="94" y="0"/>
                  </a:cubicBezTo>
                  <a:cubicBezTo>
                    <a:pt x="93" y="0"/>
                    <a:pt x="93" y="0"/>
                    <a:pt x="92" y="0"/>
                  </a:cubicBezTo>
                  <a:cubicBezTo>
                    <a:pt x="81" y="0"/>
                    <a:pt x="71" y="4"/>
                    <a:pt x="64" y="11"/>
                  </a:cubicBezTo>
                  <a:cubicBezTo>
                    <a:pt x="56" y="17"/>
                    <a:pt x="50" y="25"/>
                    <a:pt x="46" y="32"/>
                  </a:cubicBezTo>
                  <a:cubicBezTo>
                    <a:pt x="44" y="36"/>
                    <a:pt x="44" y="40"/>
                    <a:pt x="44" y="45"/>
                  </a:cubicBezTo>
                  <a:cubicBezTo>
                    <a:pt x="44" y="53"/>
                    <a:pt x="46" y="61"/>
                    <a:pt x="51" y="68"/>
                  </a:cubicBezTo>
                  <a:cubicBezTo>
                    <a:pt x="55" y="75"/>
                    <a:pt x="62" y="81"/>
                    <a:pt x="71" y="82"/>
                  </a:cubicBezTo>
                  <a:cubicBezTo>
                    <a:pt x="73" y="83"/>
                    <a:pt x="75" y="83"/>
                    <a:pt x="76" y="83"/>
                  </a:cubicBezTo>
                  <a:cubicBezTo>
                    <a:pt x="86" y="83"/>
                    <a:pt x="93" y="79"/>
                    <a:pt x="98" y="73"/>
                  </a:cubicBezTo>
                  <a:cubicBezTo>
                    <a:pt x="103" y="68"/>
                    <a:pt x="105" y="60"/>
                    <a:pt x="105" y="53"/>
                  </a:cubicBezTo>
                  <a:cubicBezTo>
                    <a:pt x="105" y="53"/>
                    <a:pt x="105" y="53"/>
                    <a:pt x="105" y="53"/>
                  </a:cubicBezTo>
                  <a:cubicBezTo>
                    <a:pt x="105" y="53"/>
                    <a:pt x="105" y="53"/>
                    <a:pt x="105" y="53"/>
                  </a:cubicBezTo>
                  <a:cubicBezTo>
                    <a:pt x="105" y="45"/>
                    <a:pt x="103" y="38"/>
                    <a:pt x="98" y="34"/>
                  </a:cubicBezTo>
                  <a:cubicBezTo>
                    <a:pt x="94" y="29"/>
                    <a:pt x="86" y="26"/>
                    <a:pt x="75" y="25"/>
                  </a:cubicBezTo>
                  <a:cubicBezTo>
                    <a:pt x="74" y="25"/>
                    <a:pt x="74" y="24"/>
                    <a:pt x="73" y="24"/>
                  </a:cubicBezTo>
                  <a:cubicBezTo>
                    <a:pt x="66" y="24"/>
                    <a:pt x="60" y="28"/>
                    <a:pt x="56" y="33"/>
                  </a:cubicBezTo>
                  <a:cubicBezTo>
                    <a:pt x="52" y="37"/>
                    <a:pt x="50" y="43"/>
                    <a:pt x="50" y="49"/>
                  </a:cubicBezTo>
                  <a:cubicBezTo>
                    <a:pt x="50" y="52"/>
                    <a:pt x="51" y="55"/>
                    <a:pt x="53" y="57"/>
                  </a:cubicBezTo>
                  <a:cubicBezTo>
                    <a:pt x="55" y="60"/>
                    <a:pt x="58" y="62"/>
                    <a:pt x="61" y="62"/>
                  </a:cubicBezTo>
                  <a:cubicBezTo>
                    <a:pt x="63" y="62"/>
                    <a:pt x="64" y="62"/>
                    <a:pt x="65" y="62"/>
                  </a:cubicBezTo>
                  <a:cubicBezTo>
                    <a:pt x="70" y="62"/>
                    <a:pt x="73" y="61"/>
                    <a:pt x="75" y="59"/>
                  </a:cubicBezTo>
                  <a:cubicBezTo>
                    <a:pt x="77" y="56"/>
                    <a:pt x="77" y="54"/>
                    <a:pt x="77" y="51"/>
                  </a:cubicBezTo>
                  <a:cubicBezTo>
                    <a:pt x="77" y="48"/>
                    <a:pt x="76" y="45"/>
                    <a:pt x="76" y="45"/>
                  </a:cubicBezTo>
                  <a:lnTo>
                    <a:pt x="7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2556611" y="1086097"/>
              <a:ext cx="536355" cy="396987"/>
            </a:xfrm>
            <a:custGeom>
              <a:avLst/>
              <a:gdLst>
                <a:gd name="T0" fmla="*/ 98 w 161"/>
                <a:gd name="T1" fmla="*/ 40 h 119"/>
                <a:gd name="T2" fmla="*/ 95 w 161"/>
                <a:gd name="T3" fmla="*/ 48 h 119"/>
                <a:gd name="T4" fmla="*/ 84 w 161"/>
                <a:gd name="T5" fmla="*/ 47 h 119"/>
                <a:gd name="T6" fmla="*/ 79 w 161"/>
                <a:gd name="T7" fmla="*/ 40 h 119"/>
                <a:gd name="T8" fmla="*/ 99 w 161"/>
                <a:gd name="T9" fmla="*/ 22 h 119"/>
                <a:gd name="T10" fmla="*/ 121 w 161"/>
                <a:gd name="T11" fmla="*/ 34 h 119"/>
                <a:gd name="T12" fmla="*/ 123 w 161"/>
                <a:gd name="T13" fmla="*/ 55 h 119"/>
                <a:gd name="T14" fmla="*/ 100 w 161"/>
                <a:gd name="T15" fmla="*/ 73 h 119"/>
                <a:gd name="T16" fmla="*/ 76 w 161"/>
                <a:gd name="T17" fmla="*/ 59 h 119"/>
                <a:gd name="T18" fmla="*/ 81 w 161"/>
                <a:gd name="T19" fmla="*/ 21 h 119"/>
                <a:gd name="T20" fmla="*/ 132 w 161"/>
                <a:gd name="T21" fmla="*/ 6 h 119"/>
                <a:gd name="T22" fmla="*/ 157 w 161"/>
                <a:gd name="T23" fmla="*/ 43 h 119"/>
                <a:gd name="T24" fmla="*/ 132 w 161"/>
                <a:gd name="T25" fmla="*/ 97 h 119"/>
                <a:gd name="T26" fmla="*/ 87 w 161"/>
                <a:gd name="T27" fmla="*/ 106 h 119"/>
                <a:gd name="T28" fmla="*/ 85 w 161"/>
                <a:gd name="T29" fmla="*/ 107 h 119"/>
                <a:gd name="T30" fmla="*/ 63 w 161"/>
                <a:gd name="T31" fmla="*/ 115 h 119"/>
                <a:gd name="T32" fmla="*/ 28 w 161"/>
                <a:gd name="T33" fmla="*/ 95 h 119"/>
                <a:gd name="T34" fmla="*/ 22 w 161"/>
                <a:gd name="T35" fmla="*/ 73 h 119"/>
                <a:gd name="T36" fmla="*/ 21 w 161"/>
                <a:gd name="T37" fmla="*/ 71 h 119"/>
                <a:gd name="T38" fmla="*/ 12 w 161"/>
                <a:gd name="T39" fmla="*/ 63 h 119"/>
                <a:gd name="T40" fmla="*/ 0 w 161"/>
                <a:gd name="T41" fmla="*/ 45 h 119"/>
                <a:gd name="T42" fmla="*/ 19 w 161"/>
                <a:gd name="T43" fmla="*/ 74 h 119"/>
                <a:gd name="T44" fmla="*/ 18 w 161"/>
                <a:gd name="T45" fmla="*/ 72 h 119"/>
                <a:gd name="T46" fmla="*/ 25 w 161"/>
                <a:gd name="T47" fmla="*/ 97 h 119"/>
                <a:gd name="T48" fmla="*/ 63 w 161"/>
                <a:gd name="T49" fmla="*/ 119 h 119"/>
                <a:gd name="T50" fmla="*/ 86 w 161"/>
                <a:gd name="T51" fmla="*/ 108 h 119"/>
                <a:gd name="T52" fmla="*/ 98 w 161"/>
                <a:gd name="T53" fmla="*/ 112 h 119"/>
                <a:gd name="T54" fmla="*/ 158 w 161"/>
                <a:gd name="T55" fmla="*/ 65 h 119"/>
                <a:gd name="T56" fmla="*/ 153 w 161"/>
                <a:gd name="T57" fmla="*/ 17 h 119"/>
                <a:gd name="T58" fmla="*/ 119 w 161"/>
                <a:gd name="T59" fmla="*/ 0 h 119"/>
                <a:gd name="T60" fmla="*/ 69 w 161"/>
                <a:gd name="T61" fmla="*/ 43 h 119"/>
                <a:gd name="T62" fmla="*/ 85 w 161"/>
                <a:gd name="T63" fmla="*/ 73 h 119"/>
                <a:gd name="T64" fmla="*/ 117 w 161"/>
                <a:gd name="T65" fmla="*/ 71 h 119"/>
                <a:gd name="T66" fmla="*/ 129 w 161"/>
                <a:gd name="T67" fmla="*/ 46 h 119"/>
                <a:gd name="T68" fmla="*/ 108 w 161"/>
                <a:gd name="T69" fmla="*/ 20 h 119"/>
                <a:gd name="T70" fmla="*/ 82 w 161"/>
                <a:gd name="T71" fmla="*/ 25 h 119"/>
                <a:gd name="T72" fmla="*/ 77 w 161"/>
                <a:gd name="T73" fmla="*/ 46 h 119"/>
                <a:gd name="T74" fmla="*/ 91 w 161"/>
                <a:gd name="T75" fmla="*/ 53 h 119"/>
                <a:gd name="T76" fmla="*/ 101 w 161"/>
                <a:gd name="T77" fmla="*/ 44 h 119"/>
                <a:gd name="T78" fmla="*/ 102 w 161"/>
                <a:gd name="T79" fmla="*/ 4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1" h="119">
                  <a:moveTo>
                    <a:pt x="98" y="40"/>
                  </a:move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3"/>
                    <a:pt x="97" y="45"/>
                  </a:cubicBezTo>
                  <a:cubicBezTo>
                    <a:pt x="96" y="46"/>
                    <a:pt x="96" y="47"/>
                    <a:pt x="95" y="48"/>
                  </a:cubicBezTo>
                  <a:cubicBezTo>
                    <a:pt x="94" y="49"/>
                    <a:pt x="93" y="49"/>
                    <a:pt x="91" y="49"/>
                  </a:cubicBezTo>
                  <a:cubicBezTo>
                    <a:pt x="89" y="49"/>
                    <a:pt x="87" y="49"/>
                    <a:pt x="84" y="47"/>
                  </a:cubicBezTo>
                  <a:cubicBezTo>
                    <a:pt x="82" y="47"/>
                    <a:pt x="81" y="45"/>
                    <a:pt x="80" y="44"/>
                  </a:cubicBezTo>
                  <a:cubicBezTo>
                    <a:pt x="80" y="43"/>
                    <a:pt x="79" y="42"/>
                    <a:pt x="79" y="40"/>
                  </a:cubicBezTo>
                  <a:cubicBezTo>
                    <a:pt x="79" y="36"/>
                    <a:pt x="81" y="32"/>
                    <a:pt x="85" y="28"/>
                  </a:cubicBezTo>
                  <a:cubicBezTo>
                    <a:pt x="89" y="25"/>
                    <a:pt x="94" y="22"/>
                    <a:pt x="99" y="22"/>
                  </a:cubicBezTo>
                  <a:cubicBezTo>
                    <a:pt x="101" y="22"/>
                    <a:pt x="104" y="23"/>
                    <a:pt x="106" y="24"/>
                  </a:cubicBezTo>
                  <a:cubicBezTo>
                    <a:pt x="113" y="27"/>
                    <a:pt x="118" y="31"/>
                    <a:pt x="121" y="34"/>
                  </a:cubicBezTo>
                  <a:cubicBezTo>
                    <a:pt x="124" y="38"/>
                    <a:pt x="125" y="42"/>
                    <a:pt x="125" y="46"/>
                  </a:cubicBezTo>
                  <a:cubicBezTo>
                    <a:pt x="125" y="49"/>
                    <a:pt x="124" y="52"/>
                    <a:pt x="123" y="55"/>
                  </a:cubicBezTo>
                  <a:cubicBezTo>
                    <a:pt x="122" y="60"/>
                    <a:pt x="119" y="65"/>
                    <a:pt x="115" y="68"/>
                  </a:cubicBezTo>
                  <a:cubicBezTo>
                    <a:pt x="111" y="71"/>
                    <a:pt x="106" y="73"/>
                    <a:pt x="100" y="73"/>
                  </a:cubicBezTo>
                  <a:cubicBezTo>
                    <a:pt x="96" y="73"/>
                    <a:pt x="92" y="72"/>
                    <a:pt x="87" y="70"/>
                  </a:cubicBezTo>
                  <a:cubicBezTo>
                    <a:pt x="82" y="67"/>
                    <a:pt x="78" y="63"/>
                    <a:pt x="76" y="59"/>
                  </a:cubicBezTo>
                  <a:cubicBezTo>
                    <a:pt x="74" y="54"/>
                    <a:pt x="73" y="49"/>
                    <a:pt x="73" y="43"/>
                  </a:cubicBezTo>
                  <a:cubicBezTo>
                    <a:pt x="73" y="34"/>
                    <a:pt x="76" y="25"/>
                    <a:pt x="81" y="21"/>
                  </a:cubicBezTo>
                  <a:cubicBezTo>
                    <a:pt x="89" y="13"/>
                    <a:pt x="104" y="4"/>
                    <a:pt x="119" y="4"/>
                  </a:cubicBezTo>
                  <a:cubicBezTo>
                    <a:pt x="123" y="4"/>
                    <a:pt x="127" y="5"/>
                    <a:pt x="132" y="6"/>
                  </a:cubicBezTo>
                  <a:cubicBezTo>
                    <a:pt x="140" y="9"/>
                    <a:pt x="146" y="13"/>
                    <a:pt x="150" y="19"/>
                  </a:cubicBezTo>
                  <a:cubicBezTo>
                    <a:pt x="154" y="25"/>
                    <a:pt x="157" y="33"/>
                    <a:pt x="157" y="43"/>
                  </a:cubicBezTo>
                  <a:cubicBezTo>
                    <a:pt x="157" y="49"/>
                    <a:pt x="156" y="56"/>
                    <a:pt x="154" y="64"/>
                  </a:cubicBezTo>
                  <a:cubicBezTo>
                    <a:pt x="151" y="78"/>
                    <a:pt x="143" y="89"/>
                    <a:pt x="132" y="97"/>
                  </a:cubicBezTo>
                  <a:cubicBezTo>
                    <a:pt x="121" y="104"/>
                    <a:pt x="108" y="108"/>
                    <a:pt x="98" y="108"/>
                  </a:cubicBezTo>
                  <a:cubicBezTo>
                    <a:pt x="94" y="108"/>
                    <a:pt x="90" y="107"/>
                    <a:pt x="87" y="106"/>
                  </a:cubicBezTo>
                  <a:cubicBezTo>
                    <a:pt x="85" y="106"/>
                    <a:pt x="85" y="106"/>
                    <a:pt x="85" y="106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5" y="107"/>
                    <a:pt x="85" y="107"/>
                    <a:pt x="85" y="107"/>
                  </a:cubicBezTo>
                  <a:cubicBezTo>
                    <a:pt x="84" y="107"/>
                    <a:pt x="77" y="115"/>
                    <a:pt x="63" y="115"/>
                  </a:cubicBezTo>
                  <a:cubicBezTo>
                    <a:pt x="59" y="115"/>
                    <a:pt x="55" y="115"/>
                    <a:pt x="51" y="113"/>
                  </a:cubicBezTo>
                  <a:cubicBezTo>
                    <a:pt x="40" y="110"/>
                    <a:pt x="33" y="103"/>
                    <a:pt x="28" y="95"/>
                  </a:cubicBezTo>
                  <a:cubicBezTo>
                    <a:pt x="24" y="87"/>
                    <a:pt x="22" y="79"/>
                    <a:pt x="22" y="74"/>
                  </a:cubicBezTo>
                  <a:cubicBezTo>
                    <a:pt x="22" y="74"/>
                    <a:pt x="22" y="73"/>
                    <a:pt x="22" y="73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1" y="71"/>
                    <a:pt x="21" y="71"/>
                    <a:pt x="21" y="71"/>
                  </a:cubicBezTo>
                  <a:cubicBezTo>
                    <a:pt x="20" y="70"/>
                    <a:pt x="16" y="68"/>
                    <a:pt x="12" y="63"/>
                  </a:cubicBezTo>
                  <a:cubicBezTo>
                    <a:pt x="8" y="59"/>
                    <a:pt x="4" y="53"/>
                    <a:pt x="4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55"/>
                    <a:pt x="5" y="62"/>
                    <a:pt x="10" y="67"/>
                  </a:cubicBezTo>
                  <a:cubicBezTo>
                    <a:pt x="14" y="72"/>
                    <a:pt x="19" y="74"/>
                    <a:pt x="19" y="74"/>
                  </a:cubicBezTo>
                  <a:cubicBezTo>
                    <a:pt x="20" y="73"/>
                    <a:pt x="20" y="73"/>
                    <a:pt x="20" y="73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8" y="73"/>
                    <a:pt x="18" y="74"/>
                    <a:pt x="18" y="74"/>
                  </a:cubicBezTo>
                  <a:cubicBezTo>
                    <a:pt x="18" y="80"/>
                    <a:pt x="20" y="89"/>
                    <a:pt x="25" y="97"/>
                  </a:cubicBezTo>
                  <a:cubicBezTo>
                    <a:pt x="30" y="106"/>
                    <a:pt x="38" y="114"/>
                    <a:pt x="50" y="117"/>
                  </a:cubicBezTo>
                  <a:cubicBezTo>
                    <a:pt x="54" y="119"/>
                    <a:pt x="59" y="119"/>
                    <a:pt x="63" y="119"/>
                  </a:cubicBezTo>
                  <a:cubicBezTo>
                    <a:pt x="79" y="119"/>
                    <a:pt x="87" y="110"/>
                    <a:pt x="88" y="110"/>
                  </a:cubicBezTo>
                  <a:cubicBezTo>
                    <a:pt x="86" y="108"/>
                    <a:pt x="86" y="108"/>
                    <a:pt x="86" y="108"/>
                  </a:cubicBezTo>
                  <a:cubicBezTo>
                    <a:pt x="85" y="110"/>
                    <a:pt x="85" y="110"/>
                    <a:pt x="85" y="110"/>
                  </a:cubicBezTo>
                  <a:cubicBezTo>
                    <a:pt x="89" y="111"/>
                    <a:pt x="93" y="112"/>
                    <a:pt x="98" y="112"/>
                  </a:cubicBezTo>
                  <a:cubicBezTo>
                    <a:pt x="109" y="112"/>
                    <a:pt x="123" y="108"/>
                    <a:pt x="134" y="100"/>
                  </a:cubicBezTo>
                  <a:cubicBezTo>
                    <a:pt x="145" y="92"/>
                    <a:pt x="155" y="80"/>
                    <a:pt x="158" y="65"/>
                  </a:cubicBezTo>
                  <a:cubicBezTo>
                    <a:pt x="160" y="57"/>
                    <a:pt x="161" y="49"/>
                    <a:pt x="161" y="43"/>
                  </a:cubicBezTo>
                  <a:cubicBezTo>
                    <a:pt x="161" y="32"/>
                    <a:pt x="158" y="24"/>
                    <a:pt x="153" y="17"/>
                  </a:cubicBezTo>
                  <a:cubicBezTo>
                    <a:pt x="149" y="10"/>
                    <a:pt x="142" y="6"/>
                    <a:pt x="133" y="2"/>
                  </a:cubicBezTo>
                  <a:cubicBezTo>
                    <a:pt x="128" y="1"/>
                    <a:pt x="124" y="0"/>
                    <a:pt x="119" y="0"/>
                  </a:cubicBezTo>
                  <a:cubicBezTo>
                    <a:pt x="102" y="0"/>
                    <a:pt x="87" y="10"/>
                    <a:pt x="78" y="18"/>
                  </a:cubicBezTo>
                  <a:cubicBezTo>
                    <a:pt x="72" y="24"/>
                    <a:pt x="69" y="33"/>
                    <a:pt x="69" y="43"/>
                  </a:cubicBezTo>
                  <a:cubicBezTo>
                    <a:pt x="69" y="49"/>
                    <a:pt x="70" y="55"/>
                    <a:pt x="73" y="61"/>
                  </a:cubicBezTo>
                  <a:cubicBezTo>
                    <a:pt x="75" y="66"/>
                    <a:pt x="79" y="70"/>
                    <a:pt x="85" y="73"/>
                  </a:cubicBezTo>
                  <a:cubicBezTo>
                    <a:pt x="90" y="76"/>
                    <a:pt x="95" y="77"/>
                    <a:pt x="100" y="77"/>
                  </a:cubicBezTo>
                  <a:cubicBezTo>
                    <a:pt x="107" y="77"/>
                    <a:pt x="113" y="75"/>
                    <a:pt x="117" y="71"/>
                  </a:cubicBezTo>
                  <a:cubicBezTo>
                    <a:pt x="122" y="67"/>
                    <a:pt x="125" y="62"/>
                    <a:pt x="127" y="57"/>
                  </a:cubicBezTo>
                  <a:cubicBezTo>
                    <a:pt x="128" y="53"/>
                    <a:pt x="129" y="49"/>
                    <a:pt x="129" y="46"/>
                  </a:cubicBezTo>
                  <a:cubicBezTo>
                    <a:pt x="129" y="41"/>
                    <a:pt x="127" y="36"/>
                    <a:pt x="124" y="32"/>
                  </a:cubicBezTo>
                  <a:cubicBezTo>
                    <a:pt x="120" y="27"/>
                    <a:pt x="115" y="24"/>
                    <a:pt x="108" y="20"/>
                  </a:cubicBezTo>
                  <a:cubicBezTo>
                    <a:pt x="105" y="19"/>
                    <a:pt x="102" y="18"/>
                    <a:pt x="99" y="18"/>
                  </a:cubicBezTo>
                  <a:cubicBezTo>
                    <a:pt x="93" y="18"/>
                    <a:pt x="87" y="21"/>
                    <a:pt x="82" y="25"/>
                  </a:cubicBezTo>
                  <a:cubicBezTo>
                    <a:pt x="78" y="29"/>
                    <a:pt x="75" y="35"/>
                    <a:pt x="75" y="40"/>
                  </a:cubicBezTo>
                  <a:cubicBezTo>
                    <a:pt x="75" y="42"/>
                    <a:pt x="76" y="44"/>
                    <a:pt x="77" y="46"/>
                  </a:cubicBezTo>
                  <a:cubicBezTo>
                    <a:pt x="78" y="48"/>
                    <a:pt x="80" y="50"/>
                    <a:pt x="82" y="51"/>
                  </a:cubicBezTo>
                  <a:cubicBezTo>
                    <a:pt x="86" y="53"/>
                    <a:pt x="89" y="53"/>
                    <a:pt x="91" y="53"/>
                  </a:cubicBezTo>
                  <a:cubicBezTo>
                    <a:pt x="94" y="53"/>
                    <a:pt x="96" y="53"/>
                    <a:pt x="97" y="51"/>
                  </a:cubicBezTo>
                  <a:cubicBezTo>
                    <a:pt x="100" y="49"/>
                    <a:pt x="101" y="47"/>
                    <a:pt x="101" y="44"/>
                  </a:cubicBezTo>
                  <a:cubicBezTo>
                    <a:pt x="102" y="42"/>
                    <a:pt x="102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lnTo>
                    <a:pt x="98" y="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2439767" y="2434728"/>
              <a:ext cx="1958189" cy="1154361"/>
            </a:xfrm>
            <a:custGeom>
              <a:avLst/>
              <a:gdLst>
                <a:gd name="T0" fmla="*/ 8 w 587"/>
                <a:gd name="T1" fmla="*/ 0 h 346"/>
                <a:gd name="T2" fmla="*/ 0 w 587"/>
                <a:gd name="T3" fmla="*/ 0 h 346"/>
                <a:gd name="T4" fmla="*/ 99 w 587"/>
                <a:gd name="T5" fmla="*/ 261 h 346"/>
                <a:gd name="T6" fmla="*/ 318 w 587"/>
                <a:gd name="T7" fmla="*/ 346 h 346"/>
                <a:gd name="T8" fmla="*/ 318 w 587"/>
                <a:gd name="T9" fmla="*/ 346 h 346"/>
                <a:gd name="T10" fmla="*/ 587 w 587"/>
                <a:gd name="T11" fmla="*/ 215 h 346"/>
                <a:gd name="T12" fmla="*/ 580 w 587"/>
                <a:gd name="T13" fmla="*/ 210 h 346"/>
                <a:gd name="T14" fmla="*/ 318 w 587"/>
                <a:gd name="T15" fmla="*/ 338 h 346"/>
                <a:gd name="T16" fmla="*/ 104 w 587"/>
                <a:gd name="T17" fmla="*/ 255 h 346"/>
                <a:gd name="T18" fmla="*/ 8 w 587"/>
                <a:gd name="T19" fmla="*/ 0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7" h="346">
                  <a:moveTo>
                    <a:pt x="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17"/>
                    <a:pt x="39" y="204"/>
                    <a:pt x="99" y="261"/>
                  </a:cubicBezTo>
                  <a:cubicBezTo>
                    <a:pt x="158" y="318"/>
                    <a:pt x="238" y="346"/>
                    <a:pt x="318" y="346"/>
                  </a:cubicBezTo>
                  <a:cubicBezTo>
                    <a:pt x="318" y="346"/>
                    <a:pt x="318" y="346"/>
                    <a:pt x="318" y="346"/>
                  </a:cubicBezTo>
                  <a:cubicBezTo>
                    <a:pt x="420" y="346"/>
                    <a:pt x="523" y="301"/>
                    <a:pt x="587" y="215"/>
                  </a:cubicBezTo>
                  <a:cubicBezTo>
                    <a:pt x="580" y="210"/>
                    <a:pt x="580" y="210"/>
                    <a:pt x="580" y="210"/>
                  </a:cubicBezTo>
                  <a:cubicBezTo>
                    <a:pt x="518" y="294"/>
                    <a:pt x="418" y="338"/>
                    <a:pt x="318" y="338"/>
                  </a:cubicBezTo>
                  <a:cubicBezTo>
                    <a:pt x="240" y="338"/>
                    <a:pt x="162" y="311"/>
                    <a:pt x="104" y="255"/>
                  </a:cubicBezTo>
                  <a:cubicBezTo>
                    <a:pt x="46" y="200"/>
                    <a:pt x="8" y="116"/>
                    <a:pt x="8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3336508" y="1439445"/>
              <a:ext cx="1254311" cy="1029070"/>
            </a:xfrm>
            <a:custGeom>
              <a:avLst/>
              <a:gdLst>
                <a:gd name="T0" fmla="*/ 47 w 376"/>
                <a:gd name="T1" fmla="*/ 0 h 308"/>
                <a:gd name="T2" fmla="*/ 0 w 376"/>
                <a:gd name="T3" fmla="*/ 3 h 308"/>
                <a:gd name="T4" fmla="*/ 2 w 376"/>
                <a:gd name="T5" fmla="*/ 11 h 308"/>
                <a:gd name="T6" fmla="*/ 47 w 376"/>
                <a:gd name="T7" fmla="*/ 8 h 308"/>
                <a:gd name="T8" fmla="*/ 47 w 376"/>
                <a:gd name="T9" fmla="*/ 8 h 308"/>
                <a:gd name="T10" fmla="*/ 267 w 376"/>
                <a:gd name="T11" fmla="*/ 89 h 308"/>
                <a:gd name="T12" fmla="*/ 368 w 376"/>
                <a:gd name="T13" fmla="*/ 308 h 308"/>
                <a:gd name="T14" fmla="*/ 376 w 376"/>
                <a:gd name="T15" fmla="*/ 308 h 308"/>
                <a:gd name="T16" fmla="*/ 272 w 376"/>
                <a:gd name="T17" fmla="*/ 83 h 308"/>
                <a:gd name="T18" fmla="*/ 47 w 376"/>
                <a:gd name="T19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6" h="308">
                  <a:moveTo>
                    <a:pt x="47" y="0"/>
                  </a:moveTo>
                  <a:cubicBezTo>
                    <a:pt x="32" y="0"/>
                    <a:pt x="16" y="1"/>
                    <a:pt x="0" y="3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17" y="9"/>
                    <a:pt x="32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128" y="8"/>
                    <a:pt x="207" y="37"/>
                    <a:pt x="267" y="89"/>
                  </a:cubicBezTo>
                  <a:cubicBezTo>
                    <a:pt x="327" y="141"/>
                    <a:pt x="367" y="215"/>
                    <a:pt x="368" y="308"/>
                  </a:cubicBezTo>
                  <a:cubicBezTo>
                    <a:pt x="376" y="308"/>
                    <a:pt x="376" y="308"/>
                    <a:pt x="376" y="308"/>
                  </a:cubicBezTo>
                  <a:cubicBezTo>
                    <a:pt x="375" y="213"/>
                    <a:pt x="334" y="136"/>
                    <a:pt x="272" y="83"/>
                  </a:cubicBezTo>
                  <a:cubicBezTo>
                    <a:pt x="211" y="29"/>
                    <a:pt x="129" y="0"/>
                    <a:pt x="47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55" name="文本框 54"/>
          <p:cNvSpPr txBox="1"/>
          <p:nvPr/>
        </p:nvSpPr>
        <p:spPr>
          <a:xfrm>
            <a:off x="4669653" y="3107086"/>
            <a:ext cx="5313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dirty="0" smtClean="0">
                <a:solidFill>
                  <a:schemeClr val="bg1"/>
                </a:solidFill>
                <a:latin typeface="张海山锐谐体" panose="02000000000000000000" pitchFamily="2" charset="-122"/>
                <a:ea typeface="张海山锐谐体" panose="02000000000000000000" pitchFamily="2" charset="-122"/>
              </a:rPr>
              <a:t>点击此处添加文本</a:t>
            </a:r>
            <a:endParaRPr lang="zh-CN" altLang="en-US" sz="4800" dirty="0">
              <a:solidFill>
                <a:schemeClr val="bg1"/>
              </a:solidFill>
              <a:latin typeface="张海山锐谐体" panose="02000000000000000000" pitchFamily="2" charset="-122"/>
              <a:ea typeface="张海山锐谐体" panose="02000000000000000000" pitchFamily="2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9496021" y="3278703"/>
            <a:ext cx="974168" cy="764412"/>
            <a:chOff x="9496021" y="3278703"/>
            <a:chExt cx="974168" cy="764412"/>
          </a:xfrm>
        </p:grpSpPr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9496021" y="3278703"/>
              <a:ext cx="974168" cy="764412"/>
            </a:xfrm>
            <a:custGeom>
              <a:avLst/>
              <a:gdLst>
                <a:gd name="T0" fmla="*/ 72 w 292"/>
                <a:gd name="T1" fmla="*/ 211 h 229"/>
                <a:gd name="T2" fmla="*/ 130 w 292"/>
                <a:gd name="T3" fmla="*/ 166 h 229"/>
                <a:gd name="T4" fmla="*/ 149 w 292"/>
                <a:gd name="T5" fmla="*/ 173 h 229"/>
                <a:gd name="T6" fmla="*/ 182 w 292"/>
                <a:gd name="T7" fmla="*/ 164 h 229"/>
                <a:gd name="T8" fmla="*/ 267 w 292"/>
                <a:gd name="T9" fmla="*/ 137 h 229"/>
                <a:gd name="T10" fmla="*/ 280 w 292"/>
                <a:gd name="T11" fmla="*/ 111 h 229"/>
                <a:gd name="T12" fmla="*/ 239 w 292"/>
                <a:gd name="T13" fmla="*/ 16 h 229"/>
                <a:gd name="T14" fmla="*/ 191 w 292"/>
                <a:gd name="T15" fmla="*/ 0 h 229"/>
                <a:gd name="T16" fmla="*/ 141 w 292"/>
                <a:gd name="T17" fmla="*/ 43 h 229"/>
                <a:gd name="T18" fmla="*/ 109 w 292"/>
                <a:gd name="T19" fmla="*/ 86 h 229"/>
                <a:gd name="T20" fmla="*/ 134 w 292"/>
                <a:gd name="T21" fmla="*/ 121 h 229"/>
                <a:gd name="T22" fmla="*/ 182 w 292"/>
                <a:gd name="T23" fmla="*/ 143 h 229"/>
                <a:gd name="T24" fmla="*/ 210 w 292"/>
                <a:gd name="T25" fmla="*/ 127 h 229"/>
                <a:gd name="T26" fmla="*/ 201 w 292"/>
                <a:gd name="T27" fmla="*/ 39 h 229"/>
                <a:gd name="T28" fmla="*/ 188 w 292"/>
                <a:gd name="T29" fmla="*/ 103 h 229"/>
                <a:gd name="T30" fmla="*/ 206 w 292"/>
                <a:gd name="T31" fmla="*/ 67 h 229"/>
                <a:gd name="T32" fmla="*/ 170 w 292"/>
                <a:gd name="T33" fmla="*/ 81 h 229"/>
                <a:gd name="T34" fmla="*/ 147 w 292"/>
                <a:gd name="T35" fmla="*/ 99 h 229"/>
                <a:gd name="T36" fmla="*/ 102 w 292"/>
                <a:gd name="T37" fmla="*/ 161 h 229"/>
                <a:gd name="T38" fmla="*/ 13 w 292"/>
                <a:gd name="T39" fmla="*/ 201 h 229"/>
                <a:gd name="T40" fmla="*/ 5 w 292"/>
                <a:gd name="T41" fmla="*/ 219 h 229"/>
                <a:gd name="T42" fmla="*/ 6 w 292"/>
                <a:gd name="T43" fmla="*/ 219 h 229"/>
                <a:gd name="T44" fmla="*/ 23 w 292"/>
                <a:gd name="T45" fmla="*/ 209 h 229"/>
                <a:gd name="T46" fmla="*/ 6 w 292"/>
                <a:gd name="T47" fmla="*/ 219 h 229"/>
                <a:gd name="T48" fmla="*/ 88 w 292"/>
                <a:gd name="T49" fmla="*/ 184 h 229"/>
                <a:gd name="T50" fmla="*/ 132 w 292"/>
                <a:gd name="T51" fmla="*/ 118 h 229"/>
                <a:gd name="T52" fmla="*/ 174 w 292"/>
                <a:gd name="T53" fmla="*/ 83 h 229"/>
                <a:gd name="T54" fmla="*/ 190 w 292"/>
                <a:gd name="T55" fmla="*/ 62 h 229"/>
                <a:gd name="T56" fmla="*/ 206 w 292"/>
                <a:gd name="T57" fmla="*/ 89 h 229"/>
                <a:gd name="T58" fmla="*/ 167 w 292"/>
                <a:gd name="T59" fmla="*/ 77 h 229"/>
                <a:gd name="T60" fmla="*/ 233 w 292"/>
                <a:gd name="T61" fmla="*/ 82 h 229"/>
                <a:gd name="T62" fmla="*/ 195 w 292"/>
                <a:gd name="T63" fmla="*/ 128 h 229"/>
                <a:gd name="T64" fmla="*/ 192 w 292"/>
                <a:gd name="T65" fmla="*/ 129 h 229"/>
                <a:gd name="T66" fmla="*/ 143 w 292"/>
                <a:gd name="T67" fmla="*/ 129 h 229"/>
                <a:gd name="T68" fmla="*/ 137 w 292"/>
                <a:gd name="T69" fmla="*/ 119 h 229"/>
                <a:gd name="T70" fmla="*/ 124 w 292"/>
                <a:gd name="T71" fmla="*/ 111 h 229"/>
                <a:gd name="T72" fmla="*/ 137 w 292"/>
                <a:gd name="T73" fmla="*/ 47 h 229"/>
                <a:gd name="T74" fmla="*/ 142 w 292"/>
                <a:gd name="T75" fmla="*/ 45 h 229"/>
                <a:gd name="T76" fmla="*/ 191 w 292"/>
                <a:gd name="T77" fmla="*/ 4 h 229"/>
                <a:gd name="T78" fmla="*/ 229 w 292"/>
                <a:gd name="T79" fmla="*/ 20 h 229"/>
                <a:gd name="T80" fmla="*/ 239 w 292"/>
                <a:gd name="T81" fmla="*/ 20 h 229"/>
                <a:gd name="T82" fmla="*/ 277 w 292"/>
                <a:gd name="T83" fmla="*/ 109 h 229"/>
                <a:gd name="T84" fmla="*/ 268 w 292"/>
                <a:gd name="T85" fmla="*/ 117 h 229"/>
                <a:gd name="T86" fmla="*/ 263 w 292"/>
                <a:gd name="T87" fmla="*/ 138 h 229"/>
                <a:gd name="T88" fmla="*/ 185 w 292"/>
                <a:gd name="T89" fmla="*/ 163 h 229"/>
                <a:gd name="T90" fmla="*/ 181 w 292"/>
                <a:gd name="T91" fmla="*/ 163 h 229"/>
                <a:gd name="T92" fmla="*/ 141 w 292"/>
                <a:gd name="T93" fmla="*/ 165 h 229"/>
                <a:gd name="T94" fmla="*/ 117 w 292"/>
                <a:gd name="T95" fmla="*/ 171 h 229"/>
                <a:gd name="T96" fmla="*/ 32 w 292"/>
                <a:gd name="T97" fmla="*/ 209 h 229"/>
                <a:gd name="T98" fmla="*/ 23 w 292"/>
                <a:gd name="T99" fmla="*/ 2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229">
                  <a:moveTo>
                    <a:pt x="23" y="209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3" y="211"/>
                    <a:pt x="36" y="214"/>
                    <a:pt x="51" y="214"/>
                  </a:cubicBezTo>
                  <a:cubicBezTo>
                    <a:pt x="58" y="214"/>
                    <a:pt x="66" y="213"/>
                    <a:pt x="72" y="211"/>
                  </a:cubicBezTo>
                  <a:cubicBezTo>
                    <a:pt x="92" y="206"/>
                    <a:pt x="105" y="191"/>
                    <a:pt x="110" y="185"/>
                  </a:cubicBezTo>
                  <a:cubicBezTo>
                    <a:pt x="112" y="181"/>
                    <a:pt x="117" y="177"/>
                    <a:pt x="121" y="173"/>
                  </a:cubicBezTo>
                  <a:cubicBezTo>
                    <a:pt x="123" y="171"/>
                    <a:pt x="126" y="169"/>
                    <a:pt x="127" y="168"/>
                  </a:cubicBezTo>
                  <a:cubicBezTo>
                    <a:pt x="128" y="167"/>
                    <a:pt x="129" y="166"/>
                    <a:pt x="130" y="166"/>
                  </a:cubicBezTo>
                  <a:cubicBezTo>
                    <a:pt x="131" y="166"/>
                    <a:pt x="131" y="166"/>
                    <a:pt x="131" y="166"/>
                  </a:cubicBezTo>
                  <a:cubicBezTo>
                    <a:pt x="132" y="166"/>
                    <a:pt x="133" y="166"/>
                    <a:pt x="135" y="167"/>
                  </a:cubicBezTo>
                  <a:cubicBezTo>
                    <a:pt x="137" y="167"/>
                    <a:pt x="140" y="169"/>
                    <a:pt x="142" y="170"/>
                  </a:cubicBezTo>
                  <a:cubicBezTo>
                    <a:pt x="145" y="171"/>
                    <a:pt x="147" y="172"/>
                    <a:pt x="149" y="173"/>
                  </a:cubicBezTo>
                  <a:cubicBezTo>
                    <a:pt x="151" y="173"/>
                    <a:pt x="155" y="174"/>
                    <a:pt x="159" y="174"/>
                  </a:cubicBezTo>
                  <a:cubicBezTo>
                    <a:pt x="163" y="174"/>
                    <a:pt x="168" y="173"/>
                    <a:pt x="173" y="172"/>
                  </a:cubicBezTo>
                  <a:cubicBezTo>
                    <a:pt x="177" y="171"/>
                    <a:pt x="182" y="169"/>
                    <a:pt x="184" y="165"/>
                  </a:cubicBezTo>
                  <a:cubicBezTo>
                    <a:pt x="182" y="164"/>
                    <a:pt x="182" y="164"/>
                    <a:pt x="182" y="164"/>
                  </a:cubicBezTo>
                  <a:cubicBezTo>
                    <a:pt x="181" y="166"/>
                    <a:pt x="181" y="166"/>
                    <a:pt x="181" y="166"/>
                  </a:cubicBezTo>
                  <a:cubicBezTo>
                    <a:pt x="182" y="166"/>
                    <a:pt x="196" y="171"/>
                    <a:pt x="214" y="171"/>
                  </a:cubicBezTo>
                  <a:cubicBezTo>
                    <a:pt x="223" y="171"/>
                    <a:pt x="232" y="170"/>
                    <a:pt x="242" y="166"/>
                  </a:cubicBezTo>
                  <a:cubicBezTo>
                    <a:pt x="256" y="159"/>
                    <a:pt x="263" y="147"/>
                    <a:pt x="267" y="137"/>
                  </a:cubicBezTo>
                  <a:cubicBezTo>
                    <a:pt x="271" y="127"/>
                    <a:pt x="271" y="119"/>
                    <a:pt x="271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70" y="120"/>
                    <a:pt x="275" y="117"/>
                    <a:pt x="280" y="111"/>
                  </a:cubicBezTo>
                  <a:cubicBezTo>
                    <a:pt x="284" y="105"/>
                    <a:pt x="290" y="97"/>
                    <a:pt x="291" y="86"/>
                  </a:cubicBezTo>
                  <a:cubicBezTo>
                    <a:pt x="292" y="82"/>
                    <a:pt x="292" y="78"/>
                    <a:pt x="292" y="75"/>
                  </a:cubicBezTo>
                  <a:cubicBezTo>
                    <a:pt x="292" y="59"/>
                    <a:pt x="287" y="45"/>
                    <a:pt x="279" y="35"/>
                  </a:cubicBezTo>
                  <a:cubicBezTo>
                    <a:pt x="271" y="24"/>
                    <a:pt x="255" y="16"/>
                    <a:pt x="239" y="16"/>
                  </a:cubicBezTo>
                  <a:cubicBezTo>
                    <a:pt x="236" y="16"/>
                    <a:pt x="233" y="16"/>
                    <a:pt x="230" y="17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2" y="17"/>
                    <a:pt x="232" y="17"/>
                    <a:pt x="232" y="17"/>
                  </a:cubicBezTo>
                  <a:cubicBezTo>
                    <a:pt x="232" y="17"/>
                    <a:pt x="214" y="0"/>
                    <a:pt x="191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78" y="0"/>
                    <a:pt x="167" y="4"/>
                    <a:pt x="157" y="11"/>
                  </a:cubicBezTo>
                  <a:cubicBezTo>
                    <a:pt x="148" y="19"/>
                    <a:pt x="141" y="29"/>
                    <a:pt x="139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0" y="41"/>
                    <a:pt x="140" y="41"/>
                    <a:pt x="140" y="41"/>
                  </a:cubicBezTo>
                  <a:cubicBezTo>
                    <a:pt x="140" y="41"/>
                    <a:pt x="132" y="44"/>
                    <a:pt x="125" y="51"/>
                  </a:cubicBezTo>
                  <a:cubicBezTo>
                    <a:pt x="117" y="58"/>
                    <a:pt x="110" y="68"/>
                    <a:pt x="109" y="83"/>
                  </a:cubicBezTo>
                  <a:cubicBezTo>
                    <a:pt x="109" y="84"/>
                    <a:pt x="109" y="85"/>
                    <a:pt x="109" y="86"/>
                  </a:cubicBezTo>
                  <a:cubicBezTo>
                    <a:pt x="109" y="100"/>
                    <a:pt x="116" y="109"/>
                    <a:pt x="122" y="115"/>
                  </a:cubicBezTo>
                  <a:cubicBezTo>
                    <a:pt x="128" y="120"/>
                    <a:pt x="135" y="122"/>
                    <a:pt x="135" y="122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4" y="121"/>
                    <a:pt x="134" y="121"/>
                    <a:pt x="134" y="121"/>
                  </a:cubicBezTo>
                  <a:cubicBezTo>
                    <a:pt x="134" y="121"/>
                    <a:pt x="136" y="126"/>
                    <a:pt x="139" y="131"/>
                  </a:cubicBezTo>
                  <a:cubicBezTo>
                    <a:pt x="143" y="137"/>
                    <a:pt x="148" y="143"/>
                    <a:pt x="155" y="145"/>
                  </a:cubicBezTo>
                  <a:cubicBezTo>
                    <a:pt x="158" y="146"/>
                    <a:pt x="161" y="147"/>
                    <a:pt x="164" y="147"/>
                  </a:cubicBezTo>
                  <a:cubicBezTo>
                    <a:pt x="170" y="147"/>
                    <a:pt x="176" y="145"/>
                    <a:pt x="182" y="143"/>
                  </a:cubicBezTo>
                  <a:cubicBezTo>
                    <a:pt x="187" y="140"/>
                    <a:pt x="192" y="136"/>
                    <a:pt x="195" y="131"/>
                  </a:cubicBezTo>
                  <a:cubicBezTo>
                    <a:pt x="194" y="130"/>
                    <a:pt x="194" y="130"/>
                    <a:pt x="194" y="130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4" y="132"/>
                    <a:pt x="201" y="130"/>
                    <a:pt x="210" y="127"/>
                  </a:cubicBezTo>
                  <a:cubicBezTo>
                    <a:pt x="218" y="124"/>
                    <a:pt x="227" y="118"/>
                    <a:pt x="231" y="109"/>
                  </a:cubicBezTo>
                  <a:cubicBezTo>
                    <a:pt x="234" y="102"/>
                    <a:pt x="237" y="92"/>
                    <a:pt x="237" y="82"/>
                  </a:cubicBezTo>
                  <a:cubicBezTo>
                    <a:pt x="237" y="69"/>
                    <a:pt x="233" y="55"/>
                    <a:pt x="222" y="47"/>
                  </a:cubicBezTo>
                  <a:cubicBezTo>
                    <a:pt x="215" y="41"/>
                    <a:pt x="208" y="39"/>
                    <a:pt x="201" y="39"/>
                  </a:cubicBezTo>
                  <a:cubicBezTo>
                    <a:pt x="188" y="39"/>
                    <a:pt x="177" y="46"/>
                    <a:pt x="170" y="54"/>
                  </a:cubicBezTo>
                  <a:cubicBezTo>
                    <a:pt x="165" y="60"/>
                    <a:pt x="163" y="69"/>
                    <a:pt x="163" y="77"/>
                  </a:cubicBezTo>
                  <a:cubicBezTo>
                    <a:pt x="163" y="84"/>
                    <a:pt x="164" y="91"/>
                    <a:pt x="169" y="96"/>
                  </a:cubicBezTo>
                  <a:cubicBezTo>
                    <a:pt x="174" y="100"/>
                    <a:pt x="181" y="103"/>
                    <a:pt x="188" y="103"/>
                  </a:cubicBezTo>
                  <a:cubicBezTo>
                    <a:pt x="192" y="103"/>
                    <a:pt x="197" y="102"/>
                    <a:pt x="200" y="100"/>
                  </a:cubicBezTo>
                  <a:cubicBezTo>
                    <a:pt x="204" y="98"/>
                    <a:pt x="207" y="95"/>
                    <a:pt x="209" y="91"/>
                  </a:cubicBezTo>
                  <a:cubicBezTo>
                    <a:pt x="211" y="88"/>
                    <a:pt x="212" y="84"/>
                    <a:pt x="212" y="81"/>
                  </a:cubicBezTo>
                  <a:cubicBezTo>
                    <a:pt x="212" y="76"/>
                    <a:pt x="209" y="70"/>
                    <a:pt x="206" y="67"/>
                  </a:cubicBezTo>
                  <a:cubicBezTo>
                    <a:pt x="203" y="63"/>
                    <a:pt x="199" y="60"/>
                    <a:pt x="195" y="59"/>
                  </a:cubicBezTo>
                  <a:cubicBezTo>
                    <a:pt x="194" y="59"/>
                    <a:pt x="192" y="58"/>
                    <a:pt x="190" y="58"/>
                  </a:cubicBezTo>
                  <a:cubicBezTo>
                    <a:pt x="186" y="58"/>
                    <a:pt x="181" y="60"/>
                    <a:pt x="177" y="64"/>
                  </a:cubicBezTo>
                  <a:cubicBezTo>
                    <a:pt x="173" y="67"/>
                    <a:pt x="170" y="73"/>
                    <a:pt x="170" y="81"/>
                  </a:cubicBezTo>
                  <a:cubicBezTo>
                    <a:pt x="170" y="81"/>
                    <a:pt x="170" y="81"/>
                    <a:pt x="170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71" y="80"/>
                    <a:pt x="159" y="88"/>
                    <a:pt x="147" y="99"/>
                  </a:cubicBezTo>
                  <a:cubicBezTo>
                    <a:pt x="141" y="104"/>
                    <a:pt x="134" y="109"/>
                    <a:pt x="129" y="115"/>
                  </a:cubicBezTo>
                  <a:cubicBezTo>
                    <a:pt x="124" y="120"/>
                    <a:pt x="120" y="125"/>
                    <a:pt x="118" y="130"/>
                  </a:cubicBezTo>
                  <a:cubicBezTo>
                    <a:pt x="114" y="138"/>
                    <a:pt x="113" y="142"/>
                    <a:pt x="112" y="145"/>
                  </a:cubicBezTo>
                  <a:cubicBezTo>
                    <a:pt x="111" y="149"/>
                    <a:pt x="109" y="153"/>
                    <a:pt x="102" y="161"/>
                  </a:cubicBezTo>
                  <a:cubicBezTo>
                    <a:pt x="95" y="170"/>
                    <a:pt x="91" y="176"/>
                    <a:pt x="85" y="181"/>
                  </a:cubicBezTo>
                  <a:cubicBezTo>
                    <a:pt x="80" y="185"/>
                    <a:pt x="74" y="188"/>
                    <a:pt x="65" y="189"/>
                  </a:cubicBezTo>
                  <a:cubicBezTo>
                    <a:pt x="56" y="190"/>
                    <a:pt x="42" y="190"/>
                    <a:pt x="30" y="193"/>
                  </a:cubicBezTo>
                  <a:cubicBezTo>
                    <a:pt x="23" y="195"/>
                    <a:pt x="17" y="197"/>
                    <a:pt x="13" y="201"/>
                  </a:cubicBezTo>
                  <a:cubicBezTo>
                    <a:pt x="8" y="205"/>
                    <a:pt x="4" y="211"/>
                    <a:pt x="2" y="218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10" y="213"/>
                    <a:pt x="24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8" y="209"/>
                    <a:pt x="3" y="217"/>
                    <a:pt x="3" y="217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8" y="212"/>
                    <a:pt x="11" y="208"/>
                    <a:pt x="15" y="204"/>
                  </a:cubicBezTo>
                  <a:cubicBezTo>
                    <a:pt x="21" y="199"/>
                    <a:pt x="31" y="197"/>
                    <a:pt x="40" y="195"/>
                  </a:cubicBezTo>
                  <a:cubicBezTo>
                    <a:pt x="49" y="194"/>
                    <a:pt x="59" y="194"/>
                    <a:pt x="66" y="193"/>
                  </a:cubicBezTo>
                  <a:cubicBezTo>
                    <a:pt x="75" y="192"/>
                    <a:pt x="82" y="189"/>
                    <a:pt x="88" y="184"/>
                  </a:cubicBezTo>
                  <a:cubicBezTo>
                    <a:pt x="94" y="179"/>
                    <a:pt x="99" y="172"/>
                    <a:pt x="105" y="164"/>
                  </a:cubicBezTo>
                  <a:cubicBezTo>
                    <a:pt x="112" y="155"/>
                    <a:pt x="114" y="151"/>
                    <a:pt x="116" y="147"/>
                  </a:cubicBezTo>
                  <a:cubicBezTo>
                    <a:pt x="117" y="143"/>
                    <a:pt x="118" y="139"/>
                    <a:pt x="121" y="131"/>
                  </a:cubicBezTo>
                  <a:cubicBezTo>
                    <a:pt x="123" y="128"/>
                    <a:pt x="127" y="123"/>
                    <a:pt x="132" y="118"/>
                  </a:cubicBezTo>
                  <a:cubicBezTo>
                    <a:pt x="140" y="110"/>
                    <a:pt x="150" y="101"/>
                    <a:pt x="158" y="95"/>
                  </a:cubicBezTo>
                  <a:cubicBezTo>
                    <a:pt x="163" y="91"/>
                    <a:pt x="166" y="88"/>
                    <a:pt x="169" y="86"/>
                  </a:cubicBezTo>
                  <a:cubicBezTo>
                    <a:pt x="172" y="84"/>
                    <a:pt x="173" y="83"/>
                    <a:pt x="173" y="83"/>
                  </a:cubicBezTo>
                  <a:cubicBezTo>
                    <a:pt x="174" y="83"/>
                    <a:pt x="174" y="83"/>
                    <a:pt x="174" y="83"/>
                  </a:cubicBezTo>
                  <a:cubicBezTo>
                    <a:pt x="174" y="82"/>
                    <a:pt x="174" y="82"/>
                    <a:pt x="174" y="82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74"/>
                    <a:pt x="176" y="69"/>
                    <a:pt x="179" y="66"/>
                  </a:cubicBezTo>
                  <a:cubicBezTo>
                    <a:pt x="182" y="64"/>
                    <a:pt x="187" y="62"/>
                    <a:pt x="190" y="62"/>
                  </a:cubicBezTo>
                  <a:cubicBezTo>
                    <a:pt x="192" y="62"/>
                    <a:pt x="193" y="63"/>
                    <a:pt x="194" y="63"/>
                  </a:cubicBezTo>
                  <a:cubicBezTo>
                    <a:pt x="197" y="64"/>
                    <a:pt x="201" y="66"/>
                    <a:pt x="203" y="69"/>
                  </a:cubicBezTo>
                  <a:cubicBezTo>
                    <a:pt x="206" y="72"/>
                    <a:pt x="208" y="77"/>
                    <a:pt x="208" y="81"/>
                  </a:cubicBezTo>
                  <a:cubicBezTo>
                    <a:pt x="208" y="84"/>
                    <a:pt x="207" y="86"/>
                    <a:pt x="206" y="89"/>
                  </a:cubicBezTo>
                  <a:cubicBezTo>
                    <a:pt x="204" y="92"/>
                    <a:pt x="202" y="95"/>
                    <a:pt x="198" y="96"/>
                  </a:cubicBezTo>
                  <a:cubicBezTo>
                    <a:pt x="195" y="98"/>
                    <a:pt x="192" y="99"/>
                    <a:pt x="188" y="99"/>
                  </a:cubicBezTo>
                  <a:cubicBezTo>
                    <a:pt x="182" y="99"/>
                    <a:pt x="175" y="96"/>
                    <a:pt x="172" y="93"/>
                  </a:cubicBezTo>
                  <a:cubicBezTo>
                    <a:pt x="168" y="89"/>
                    <a:pt x="167" y="83"/>
                    <a:pt x="167" y="77"/>
                  </a:cubicBezTo>
                  <a:cubicBezTo>
                    <a:pt x="167" y="70"/>
                    <a:pt x="169" y="62"/>
                    <a:pt x="174" y="56"/>
                  </a:cubicBezTo>
                  <a:cubicBezTo>
                    <a:pt x="179" y="50"/>
                    <a:pt x="190" y="43"/>
                    <a:pt x="201" y="43"/>
                  </a:cubicBezTo>
                  <a:cubicBezTo>
                    <a:pt x="207" y="43"/>
                    <a:pt x="213" y="45"/>
                    <a:pt x="220" y="50"/>
                  </a:cubicBezTo>
                  <a:cubicBezTo>
                    <a:pt x="229" y="57"/>
                    <a:pt x="233" y="69"/>
                    <a:pt x="233" y="82"/>
                  </a:cubicBezTo>
                  <a:cubicBezTo>
                    <a:pt x="233" y="91"/>
                    <a:pt x="230" y="101"/>
                    <a:pt x="227" y="108"/>
                  </a:cubicBezTo>
                  <a:cubicBezTo>
                    <a:pt x="224" y="115"/>
                    <a:pt x="216" y="120"/>
                    <a:pt x="208" y="123"/>
                  </a:cubicBezTo>
                  <a:cubicBezTo>
                    <a:pt x="204" y="125"/>
                    <a:pt x="200" y="126"/>
                    <a:pt x="198" y="127"/>
                  </a:cubicBezTo>
                  <a:cubicBezTo>
                    <a:pt x="196" y="127"/>
                    <a:pt x="195" y="128"/>
                    <a:pt x="195" y="128"/>
                  </a:cubicBezTo>
                  <a:cubicBezTo>
                    <a:pt x="194" y="128"/>
                    <a:pt x="194" y="128"/>
                    <a:pt x="194" y="128"/>
                  </a:cubicBezTo>
                  <a:cubicBezTo>
                    <a:pt x="193" y="128"/>
                    <a:pt x="193" y="128"/>
                    <a:pt x="193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92" y="129"/>
                    <a:pt x="192" y="129"/>
                    <a:pt x="192" y="129"/>
                  </a:cubicBezTo>
                  <a:cubicBezTo>
                    <a:pt x="189" y="133"/>
                    <a:pt x="185" y="137"/>
                    <a:pt x="180" y="139"/>
                  </a:cubicBezTo>
                  <a:cubicBezTo>
                    <a:pt x="175" y="141"/>
                    <a:pt x="169" y="143"/>
                    <a:pt x="164" y="143"/>
                  </a:cubicBezTo>
                  <a:cubicBezTo>
                    <a:pt x="161" y="143"/>
                    <a:pt x="158" y="142"/>
                    <a:pt x="156" y="141"/>
                  </a:cubicBezTo>
                  <a:cubicBezTo>
                    <a:pt x="151" y="140"/>
                    <a:pt x="146" y="134"/>
                    <a:pt x="143" y="129"/>
                  </a:cubicBezTo>
                  <a:cubicBezTo>
                    <a:pt x="141" y="127"/>
                    <a:pt x="140" y="124"/>
                    <a:pt x="139" y="122"/>
                  </a:cubicBezTo>
                  <a:cubicBezTo>
                    <a:pt x="138" y="122"/>
                    <a:pt x="138" y="121"/>
                    <a:pt x="138" y="120"/>
                  </a:cubicBezTo>
                  <a:cubicBezTo>
                    <a:pt x="138" y="120"/>
                    <a:pt x="138" y="120"/>
                    <a:pt x="138" y="120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0" y="116"/>
                    <a:pt x="124" y="111"/>
                  </a:cubicBezTo>
                  <a:cubicBezTo>
                    <a:pt x="118" y="106"/>
                    <a:pt x="113" y="98"/>
                    <a:pt x="113" y="86"/>
                  </a:cubicBezTo>
                  <a:cubicBezTo>
                    <a:pt x="113" y="85"/>
                    <a:pt x="113" y="84"/>
                    <a:pt x="113" y="84"/>
                  </a:cubicBezTo>
                  <a:cubicBezTo>
                    <a:pt x="114" y="70"/>
                    <a:pt x="121" y="60"/>
                    <a:pt x="128" y="54"/>
                  </a:cubicBezTo>
                  <a:cubicBezTo>
                    <a:pt x="131" y="51"/>
                    <a:pt x="135" y="49"/>
                    <a:pt x="137" y="47"/>
                  </a:cubicBezTo>
                  <a:cubicBezTo>
                    <a:pt x="138" y="46"/>
                    <a:pt x="140" y="46"/>
                    <a:pt x="140" y="46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43" y="44"/>
                    <a:pt x="143" y="44"/>
                    <a:pt x="143" y="44"/>
                  </a:cubicBezTo>
                  <a:cubicBezTo>
                    <a:pt x="145" y="31"/>
                    <a:pt x="151" y="21"/>
                    <a:pt x="160" y="15"/>
                  </a:cubicBezTo>
                  <a:cubicBezTo>
                    <a:pt x="168" y="8"/>
                    <a:pt x="179" y="4"/>
                    <a:pt x="190" y="4"/>
                  </a:cubicBezTo>
                  <a:cubicBezTo>
                    <a:pt x="191" y="4"/>
                    <a:pt x="191" y="4"/>
                    <a:pt x="191" y="4"/>
                  </a:cubicBezTo>
                  <a:cubicBezTo>
                    <a:pt x="201" y="4"/>
                    <a:pt x="211" y="8"/>
                    <a:pt x="218" y="12"/>
                  </a:cubicBezTo>
                  <a:cubicBezTo>
                    <a:pt x="222" y="14"/>
                    <a:pt x="224" y="16"/>
                    <a:pt x="226" y="18"/>
                  </a:cubicBezTo>
                  <a:cubicBezTo>
                    <a:pt x="227" y="19"/>
                    <a:pt x="228" y="19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30" y="21"/>
                    <a:pt x="230" y="21"/>
                    <a:pt x="230" y="21"/>
                  </a:cubicBezTo>
                  <a:cubicBezTo>
                    <a:pt x="231" y="21"/>
                    <a:pt x="231" y="21"/>
                    <a:pt x="231" y="21"/>
                  </a:cubicBezTo>
                  <a:cubicBezTo>
                    <a:pt x="234" y="20"/>
                    <a:pt x="236" y="20"/>
                    <a:pt x="239" y="20"/>
                  </a:cubicBezTo>
                  <a:cubicBezTo>
                    <a:pt x="254" y="20"/>
                    <a:pt x="268" y="27"/>
                    <a:pt x="276" y="37"/>
                  </a:cubicBezTo>
                  <a:cubicBezTo>
                    <a:pt x="283" y="47"/>
                    <a:pt x="288" y="60"/>
                    <a:pt x="288" y="75"/>
                  </a:cubicBezTo>
                  <a:cubicBezTo>
                    <a:pt x="288" y="78"/>
                    <a:pt x="288" y="82"/>
                    <a:pt x="287" y="85"/>
                  </a:cubicBezTo>
                  <a:cubicBezTo>
                    <a:pt x="286" y="95"/>
                    <a:pt x="281" y="103"/>
                    <a:pt x="277" y="109"/>
                  </a:cubicBezTo>
                  <a:cubicBezTo>
                    <a:pt x="274" y="111"/>
                    <a:pt x="272" y="114"/>
                    <a:pt x="270" y="115"/>
                  </a:cubicBezTo>
                  <a:cubicBezTo>
                    <a:pt x="270" y="116"/>
                    <a:pt x="269" y="116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7" y="118"/>
                    <a:pt x="267" y="118"/>
                    <a:pt x="267" y="118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21"/>
                    <a:pt x="266" y="129"/>
                    <a:pt x="263" y="138"/>
                  </a:cubicBezTo>
                  <a:cubicBezTo>
                    <a:pt x="259" y="146"/>
                    <a:pt x="252" y="156"/>
                    <a:pt x="240" y="162"/>
                  </a:cubicBezTo>
                  <a:cubicBezTo>
                    <a:pt x="231" y="166"/>
                    <a:pt x="222" y="167"/>
                    <a:pt x="214" y="167"/>
                  </a:cubicBezTo>
                  <a:cubicBezTo>
                    <a:pt x="205" y="167"/>
                    <a:pt x="198" y="166"/>
                    <a:pt x="192" y="165"/>
                  </a:cubicBezTo>
                  <a:cubicBezTo>
                    <a:pt x="189" y="164"/>
                    <a:pt x="187" y="163"/>
                    <a:pt x="185" y="163"/>
                  </a:cubicBezTo>
                  <a:cubicBezTo>
                    <a:pt x="185" y="162"/>
                    <a:pt x="184" y="162"/>
                    <a:pt x="184" y="162"/>
                  </a:cubicBezTo>
                  <a:cubicBezTo>
                    <a:pt x="183" y="162"/>
                    <a:pt x="183" y="162"/>
                    <a:pt x="183" y="162"/>
                  </a:cubicBezTo>
                  <a:cubicBezTo>
                    <a:pt x="181" y="161"/>
                    <a:pt x="181" y="161"/>
                    <a:pt x="181" y="161"/>
                  </a:cubicBezTo>
                  <a:cubicBezTo>
                    <a:pt x="181" y="163"/>
                    <a:pt x="181" y="163"/>
                    <a:pt x="181" y="163"/>
                  </a:cubicBezTo>
                  <a:cubicBezTo>
                    <a:pt x="179" y="165"/>
                    <a:pt x="176" y="167"/>
                    <a:pt x="172" y="168"/>
                  </a:cubicBezTo>
                  <a:cubicBezTo>
                    <a:pt x="168" y="169"/>
                    <a:pt x="163" y="170"/>
                    <a:pt x="159" y="170"/>
                  </a:cubicBezTo>
                  <a:cubicBezTo>
                    <a:pt x="155" y="170"/>
                    <a:pt x="151" y="169"/>
                    <a:pt x="150" y="169"/>
                  </a:cubicBezTo>
                  <a:cubicBezTo>
                    <a:pt x="148" y="169"/>
                    <a:pt x="145" y="167"/>
                    <a:pt x="141" y="165"/>
                  </a:cubicBezTo>
                  <a:cubicBezTo>
                    <a:pt x="140" y="164"/>
                    <a:pt x="138" y="164"/>
                    <a:pt x="136" y="163"/>
                  </a:cubicBezTo>
                  <a:cubicBezTo>
                    <a:pt x="135" y="162"/>
                    <a:pt x="133" y="162"/>
                    <a:pt x="131" y="162"/>
                  </a:cubicBezTo>
                  <a:cubicBezTo>
                    <a:pt x="130" y="162"/>
                    <a:pt x="129" y="162"/>
                    <a:pt x="128" y="163"/>
                  </a:cubicBezTo>
                  <a:cubicBezTo>
                    <a:pt x="125" y="164"/>
                    <a:pt x="121" y="167"/>
                    <a:pt x="117" y="171"/>
                  </a:cubicBezTo>
                  <a:cubicBezTo>
                    <a:pt x="113" y="175"/>
                    <a:pt x="109" y="179"/>
                    <a:pt x="107" y="182"/>
                  </a:cubicBezTo>
                  <a:cubicBezTo>
                    <a:pt x="102" y="188"/>
                    <a:pt x="89" y="203"/>
                    <a:pt x="71" y="208"/>
                  </a:cubicBezTo>
                  <a:cubicBezTo>
                    <a:pt x="65" y="209"/>
                    <a:pt x="58" y="210"/>
                    <a:pt x="51" y="210"/>
                  </a:cubicBezTo>
                  <a:cubicBezTo>
                    <a:pt x="44" y="210"/>
                    <a:pt x="37" y="209"/>
                    <a:pt x="32" y="209"/>
                  </a:cubicBezTo>
                  <a:cubicBezTo>
                    <a:pt x="30" y="208"/>
                    <a:pt x="27" y="208"/>
                    <a:pt x="26" y="208"/>
                  </a:cubicBezTo>
                  <a:cubicBezTo>
                    <a:pt x="25" y="208"/>
                    <a:pt x="24" y="207"/>
                    <a:pt x="24" y="207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23" y="207"/>
                    <a:pt x="23" y="207"/>
                    <a:pt x="23" y="207"/>
                  </a:cubicBezTo>
                  <a:lnTo>
                    <a:pt x="23" y="2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19"/>
            <p:cNvSpPr>
              <a:spLocks/>
            </p:cNvSpPr>
            <p:nvPr/>
          </p:nvSpPr>
          <p:spPr bwMode="auto">
            <a:xfrm>
              <a:off x="9926794" y="3408217"/>
              <a:ext cx="360386" cy="357570"/>
            </a:xfrm>
            <a:custGeom>
              <a:avLst/>
              <a:gdLst>
                <a:gd name="T0" fmla="*/ 56 w 108"/>
                <a:gd name="T1" fmla="*/ 37 h 107"/>
                <a:gd name="T2" fmla="*/ 55 w 108"/>
                <a:gd name="T3" fmla="*/ 44 h 107"/>
                <a:gd name="T4" fmla="*/ 48 w 108"/>
                <a:gd name="T5" fmla="*/ 46 h 107"/>
                <a:gd name="T6" fmla="*/ 42 w 108"/>
                <a:gd name="T7" fmla="*/ 39 h 107"/>
                <a:gd name="T8" fmla="*/ 57 w 108"/>
                <a:gd name="T9" fmla="*/ 24 h 107"/>
                <a:gd name="T10" fmla="*/ 74 w 108"/>
                <a:gd name="T11" fmla="*/ 30 h 107"/>
                <a:gd name="T12" fmla="*/ 79 w 108"/>
                <a:gd name="T13" fmla="*/ 42 h 107"/>
                <a:gd name="T14" fmla="*/ 74 w 108"/>
                <a:gd name="T15" fmla="*/ 56 h 107"/>
                <a:gd name="T16" fmla="*/ 56 w 108"/>
                <a:gd name="T17" fmla="*/ 62 h 107"/>
                <a:gd name="T18" fmla="*/ 37 w 108"/>
                <a:gd name="T19" fmla="*/ 36 h 107"/>
                <a:gd name="T20" fmla="*/ 52 w 108"/>
                <a:gd name="T21" fmla="*/ 12 h 107"/>
                <a:gd name="T22" fmla="*/ 73 w 108"/>
                <a:gd name="T23" fmla="*/ 4 h 107"/>
                <a:gd name="T24" fmla="*/ 104 w 108"/>
                <a:gd name="T25" fmla="*/ 41 h 107"/>
                <a:gd name="T26" fmla="*/ 90 w 108"/>
                <a:gd name="T27" fmla="*/ 76 h 107"/>
                <a:gd name="T28" fmla="*/ 63 w 108"/>
                <a:gd name="T29" fmla="*/ 89 h 107"/>
                <a:gd name="T30" fmla="*/ 63 w 108"/>
                <a:gd name="T31" fmla="*/ 90 h 107"/>
                <a:gd name="T32" fmla="*/ 40 w 108"/>
                <a:gd name="T33" fmla="*/ 103 h 107"/>
                <a:gd name="T34" fmla="*/ 18 w 108"/>
                <a:gd name="T35" fmla="*/ 94 h 107"/>
                <a:gd name="T36" fmla="*/ 8 w 108"/>
                <a:gd name="T37" fmla="*/ 80 h 107"/>
                <a:gd name="T38" fmla="*/ 0 w 108"/>
                <a:gd name="T39" fmla="*/ 80 h 107"/>
                <a:gd name="T40" fmla="*/ 7 w 108"/>
                <a:gd name="T41" fmla="*/ 81 h 107"/>
                <a:gd name="T42" fmla="*/ 15 w 108"/>
                <a:gd name="T43" fmla="*/ 97 h 107"/>
                <a:gd name="T44" fmla="*/ 40 w 108"/>
                <a:gd name="T45" fmla="*/ 107 h 107"/>
                <a:gd name="T46" fmla="*/ 67 w 108"/>
                <a:gd name="T47" fmla="*/ 92 h 107"/>
                <a:gd name="T48" fmla="*/ 65 w 108"/>
                <a:gd name="T49" fmla="*/ 93 h 107"/>
                <a:gd name="T50" fmla="*/ 108 w 108"/>
                <a:gd name="T51" fmla="*/ 45 h 107"/>
                <a:gd name="T52" fmla="*/ 96 w 108"/>
                <a:gd name="T53" fmla="*/ 10 h 107"/>
                <a:gd name="T54" fmla="*/ 72 w 108"/>
                <a:gd name="T55" fmla="*/ 0 h 107"/>
                <a:gd name="T56" fmla="*/ 35 w 108"/>
                <a:gd name="T57" fmla="*/ 26 h 107"/>
                <a:gd name="T58" fmla="*/ 39 w 108"/>
                <a:gd name="T59" fmla="*/ 55 h 107"/>
                <a:gd name="T60" fmla="*/ 59 w 108"/>
                <a:gd name="T61" fmla="*/ 66 h 107"/>
                <a:gd name="T62" fmla="*/ 83 w 108"/>
                <a:gd name="T63" fmla="*/ 42 h 107"/>
                <a:gd name="T64" fmla="*/ 83 w 108"/>
                <a:gd name="T65" fmla="*/ 42 h 107"/>
                <a:gd name="T66" fmla="*/ 59 w 108"/>
                <a:gd name="T67" fmla="*/ 20 h 107"/>
                <a:gd name="T68" fmla="*/ 43 w 108"/>
                <a:gd name="T69" fmla="*/ 26 h 107"/>
                <a:gd name="T70" fmla="*/ 41 w 108"/>
                <a:gd name="T71" fmla="*/ 46 h 107"/>
                <a:gd name="T72" fmla="*/ 50 w 108"/>
                <a:gd name="T73" fmla="*/ 50 h 107"/>
                <a:gd name="T74" fmla="*/ 60 w 108"/>
                <a:gd name="T75" fmla="*/ 41 h 107"/>
                <a:gd name="T76" fmla="*/ 56 w 108"/>
                <a:gd name="T77" fmla="*/ 3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" h="107"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8"/>
                    <a:pt x="56" y="39"/>
                    <a:pt x="56" y="41"/>
                  </a:cubicBezTo>
                  <a:cubicBezTo>
                    <a:pt x="56" y="42"/>
                    <a:pt x="56" y="44"/>
                    <a:pt x="55" y="44"/>
                  </a:cubicBezTo>
                  <a:cubicBezTo>
                    <a:pt x="55" y="45"/>
                    <a:pt x="53" y="46"/>
                    <a:pt x="50" y="46"/>
                  </a:cubicBezTo>
                  <a:cubicBezTo>
                    <a:pt x="50" y="46"/>
                    <a:pt x="49" y="46"/>
                    <a:pt x="48" y="46"/>
                  </a:cubicBezTo>
                  <a:cubicBezTo>
                    <a:pt x="46" y="46"/>
                    <a:pt x="45" y="45"/>
                    <a:pt x="44" y="44"/>
                  </a:cubicBezTo>
                  <a:cubicBezTo>
                    <a:pt x="43" y="42"/>
                    <a:pt x="42" y="41"/>
                    <a:pt x="42" y="39"/>
                  </a:cubicBezTo>
                  <a:cubicBezTo>
                    <a:pt x="42" y="36"/>
                    <a:pt x="44" y="32"/>
                    <a:pt x="46" y="29"/>
                  </a:cubicBezTo>
                  <a:cubicBezTo>
                    <a:pt x="49" y="26"/>
                    <a:pt x="52" y="24"/>
                    <a:pt x="57" y="24"/>
                  </a:cubicBezTo>
                  <a:cubicBezTo>
                    <a:pt x="57" y="24"/>
                    <a:pt x="58" y="24"/>
                    <a:pt x="58" y="24"/>
                  </a:cubicBezTo>
                  <a:cubicBezTo>
                    <a:pt x="66" y="25"/>
                    <a:pt x="71" y="27"/>
                    <a:pt x="74" y="30"/>
                  </a:cubicBezTo>
                  <a:cubicBezTo>
                    <a:pt x="77" y="33"/>
                    <a:pt x="78" y="37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8" y="47"/>
                    <a:pt x="77" y="52"/>
                    <a:pt x="74" y="56"/>
                  </a:cubicBezTo>
                  <a:cubicBezTo>
                    <a:pt x="70" y="59"/>
                    <a:pt x="66" y="62"/>
                    <a:pt x="59" y="62"/>
                  </a:cubicBezTo>
                  <a:cubicBezTo>
                    <a:pt x="58" y="62"/>
                    <a:pt x="57" y="62"/>
                    <a:pt x="56" y="62"/>
                  </a:cubicBezTo>
                  <a:cubicBezTo>
                    <a:pt x="50" y="61"/>
                    <a:pt x="45" y="57"/>
                    <a:pt x="42" y="52"/>
                  </a:cubicBezTo>
                  <a:cubicBezTo>
                    <a:pt x="39" y="48"/>
                    <a:pt x="37" y="41"/>
                    <a:pt x="37" y="36"/>
                  </a:cubicBezTo>
                  <a:cubicBezTo>
                    <a:pt x="37" y="33"/>
                    <a:pt x="38" y="30"/>
                    <a:pt x="39" y="28"/>
                  </a:cubicBezTo>
                  <a:cubicBezTo>
                    <a:pt x="42" y="23"/>
                    <a:pt x="46" y="17"/>
                    <a:pt x="52" y="12"/>
                  </a:cubicBezTo>
                  <a:cubicBezTo>
                    <a:pt x="57" y="7"/>
                    <a:pt x="64" y="4"/>
                    <a:pt x="72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81" y="4"/>
                    <a:pt x="88" y="7"/>
                    <a:pt x="93" y="12"/>
                  </a:cubicBezTo>
                  <a:cubicBezTo>
                    <a:pt x="98" y="18"/>
                    <a:pt x="102" y="27"/>
                    <a:pt x="104" y="41"/>
                  </a:cubicBezTo>
                  <a:cubicBezTo>
                    <a:pt x="104" y="42"/>
                    <a:pt x="104" y="44"/>
                    <a:pt x="104" y="45"/>
                  </a:cubicBezTo>
                  <a:cubicBezTo>
                    <a:pt x="104" y="57"/>
                    <a:pt x="98" y="68"/>
                    <a:pt x="90" y="76"/>
                  </a:cubicBezTo>
                  <a:cubicBezTo>
                    <a:pt x="83" y="84"/>
                    <a:pt x="73" y="89"/>
                    <a:pt x="65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1" y="93"/>
                    <a:pt x="58" y="97"/>
                  </a:cubicBezTo>
                  <a:cubicBezTo>
                    <a:pt x="54" y="100"/>
                    <a:pt x="49" y="103"/>
                    <a:pt x="40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0" y="103"/>
                    <a:pt x="23" y="99"/>
                    <a:pt x="18" y="94"/>
                  </a:cubicBezTo>
                  <a:cubicBezTo>
                    <a:pt x="13" y="90"/>
                    <a:pt x="9" y="84"/>
                    <a:pt x="9" y="81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6" y="86"/>
                    <a:pt x="9" y="92"/>
                    <a:pt x="15" y="97"/>
                  </a:cubicBezTo>
                  <a:cubicBezTo>
                    <a:pt x="21" y="103"/>
                    <a:pt x="29" y="107"/>
                    <a:pt x="39" y="107"/>
                  </a:cubicBezTo>
                  <a:cubicBezTo>
                    <a:pt x="39" y="107"/>
                    <a:pt x="39" y="107"/>
                    <a:pt x="40" y="107"/>
                  </a:cubicBezTo>
                  <a:cubicBezTo>
                    <a:pt x="50" y="107"/>
                    <a:pt x="57" y="103"/>
                    <a:pt x="61" y="99"/>
                  </a:cubicBezTo>
                  <a:cubicBezTo>
                    <a:pt x="65" y="95"/>
                    <a:pt x="67" y="92"/>
                    <a:pt x="67" y="92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74" y="93"/>
                    <a:pt x="85" y="87"/>
                    <a:pt x="93" y="79"/>
                  </a:cubicBezTo>
                  <a:cubicBezTo>
                    <a:pt x="102" y="71"/>
                    <a:pt x="108" y="59"/>
                    <a:pt x="108" y="45"/>
                  </a:cubicBezTo>
                  <a:cubicBezTo>
                    <a:pt x="108" y="44"/>
                    <a:pt x="108" y="42"/>
                    <a:pt x="108" y="40"/>
                  </a:cubicBezTo>
                  <a:cubicBezTo>
                    <a:pt x="106" y="26"/>
                    <a:pt x="102" y="16"/>
                    <a:pt x="96" y="10"/>
                  </a:cubicBezTo>
                  <a:cubicBezTo>
                    <a:pt x="90" y="3"/>
                    <a:pt x="82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63" y="0"/>
                    <a:pt x="55" y="4"/>
                    <a:pt x="49" y="9"/>
                  </a:cubicBezTo>
                  <a:cubicBezTo>
                    <a:pt x="43" y="14"/>
                    <a:pt x="38" y="20"/>
                    <a:pt x="35" y="26"/>
                  </a:cubicBezTo>
                  <a:cubicBezTo>
                    <a:pt x="34" y="29"/>
                    <a:pt x="33" y="32"/>
                    <a:pt x="33" y="36"/>
                  </a:cubicBezTo>
                  <a:cubicBezTo>
                    <a:pt x="33" y="42"/>
                    <a:pt x="35" y="49"/>
                    <a:pt x="39" y="55"/>
                  </a:cubicBezTo>
                  <a:cubicBezTo>
                    <a:pt x="42" y="60"/>
                    <a:pt x="48" y="65"/>
                    <a:pt x="55" y="66"/>
                  </a:cubicBezTo>
                  <a:cubicBezTo>
                    <a:pt x="56" y="66"/>
                    <a:pt x="58" y="66"/>
                    <a:pt x="59" y="66"/>
                  </a:cubicBezTo>
                  <a:cubicBezTo>
                    <a:pt x="67" y="66"/>
                    <a:pt x="73" y="63"/>
                    <a:pt x="77" y="58"/>
                  </a:cubicBezTo>
                  <a:cubicBezTo>
                    <a:pt x="81" y="54"/>
                    <a:pt x="82" y="48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36"/>
                    <a:pt x="81" y="31"/>
                    <a:pt x="77" y="27"/>
                  </a:cubicBezTo>
                  <a:cubicBezTo>
                    <a:pt x="73" y="23"/>
                    <a:pt x="67" y="21"/>
                    <a:pt x="59" y="20"/>
                  </a:cubicBezTo>
                  <a:cubicBezTo>
                    <a:pt x="58" y="20"/>
                    <a:pt x="57" y="20"/>
                    <a:pt x="57" y="20"/>
                  </a:cubicBezTo>
                  <a:cubicBezTo>
                    <a:pt x="51" y="20"/>
                    <a:pt x="46" y="22"/>
                    <a:pt x="43" y="26"/>
                  </a:cubicBezTo>
                  <a:cubicBezTo>
                    <a:pt x="40" y="30"/>
                    <a:pt x="38" y="35"/>
                    <a:pt x="38" y="39"/>
                  </a:cubicBezTo>
                  <a:cubicBezTo>
                    <a:pt x="38" y="41"/>
                    <a:pt x="39" y="44"/>
                    <a:pt x="41" y="46"/>
                  </a:cubicBezTo>
                  <a:cubicBezTo>
                    <a:pt x="42" y="48"/>
                    <a:pt x="45" y="49"/>
                    <a:pt x="48" y="50"/>
                  </a:cubicBezTo>
                  <a:cubicBezTo>
                    <a:pt x="49" y="50"/>
                    <a:pt x="50" y="50"/>
                    <a:pt x="50" y="50"/>
                  </a:cubicBezTo>
                  <a:cubicBezTo>
                    <a:pt x="54" y="50"/>
                    <a:pt x="57" y="49"/>
                    <a:pt x="58" y="47"/>
                  </a:cubicBezTo>
                  <a:cubicBezTo>
                    <a:pt x="60" y="45"/>
                    <a:pt x="60" y="43"/>
                    <a:pt x="60" y="41"/>
                  </a:cubicBezTo>
                  <a:cubicBezTo>
                    <a:pt x="60" y="38"/>
                    <a:pt x="60" y="36"/>
                    <a:pt x="59" y="36"/>
                  </a:cubicBezTo>
                  <a:lnTo>
                    <a:pt x="56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79" name="文本框 78"/>
          <p:cNvSpPr txBox="1"/>
          <p:nvPr/>
        </p:nvSpPr>
        <p:spPr>
          <a:xfrm>
            <a:off x="3092966" y="2270628"/>
            <a:ext cx="806645" cy="1735957"/>
          </a:xfrm>
          <a:custGeom>
            <a:avLst/>
            <a:gdLst/>
            <a:ahLst/>
            <a:cxnLst/>
            <a:rect l="l" t="t" r="r" b="b"/>
            <a:pathLst>
              <a:path w="264567" h="569367">
                <a:moveTo>
                  <a:pt x="5487" y="0"/>
                </a:moveTo>
                <a:lnTo>
                  <a:pt x="137160" y="0"/>
                </a:lnTo>
                <a:cubicBezTo>
                  <a:pt x="148705" y="305"/>
                  <a:pt x="158230" y="4267"/>
                  <a:pt x="165735" y="11887"/>
                </a:cubicBezTo>
                <a:cubicBezTo>
                  <a:pt x="173241" y="19507"/>
                  <a:pt x="177127" y="28956"/>
                  <a:pt x="177394" y="40234"/>
                </a:cubicBezTo>
                <a:lnTo>
                  <a:pt x="177394" y="534620"/>
                </a:lnTo>
                <a:lnTo>
                  <a:pt x="264567" y="534620"/>
                </a:lnTo>
                <a:lnTo>
                  <a:pt x="264567" y="569367"/>
                </a:lnTo>
                <a:lnTo>
                  <a:pt x="0" y="569367"/>
                </a:lnTo>
                <a:lnTo>
                  <a:pt x="0" y="534620"/>
                </a:lnTo>
                <a:lnTo>
                  <a:pt x="84735" y="534620"/>
                </a:lnTo>
                <a:lnTo>
                  <a:pt x="84735" y="57912"/>
                </a:lnTo>
                <a:cubicBezTo>
                  <a:pt x="84824" y="51346"/>
                  <a:pt x="83579" y="45885"/>
                  <a:pt x="81001" y="41529"/>
                </a:cubicBezTo>
                <a:cubicBezTo>
                  <a:pt x="78423" y="37173"/>
                  <a:pt x="73978" y="34913"/>
                  <a:pt x="67666" y="34747"/>
                </a:cubicBezTo>
                <a:lnTo>
                  <a:pt x="5487" y="34747"/>
                </a:lnTo>
                <a:lnTo>
                  <a:pt x="5487" y="0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zh-CN" altLang="en-US" sz="4800" b="1" spc="15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9222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 dir="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组合 18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15" name="组合 14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2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7" name="文本框 16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6992808" y="2065448"/>
            <a:ext cx="3946987" cy="2402498"/>
            <a:chOff x="6992808" y="2065448"/>
            <a:chExt cx="3946987" cy="2402498"/>
          </a:xfrm>
        </p:grpSpPr>
        <p:sp>
          <p:nvSpPr>
            <p:cNvPr id="44" name="矩形 1"/>
            <p:cNvSpPr>
              <a:spLocks noChangeArrowheads="1"/>
            </p:cNvSpPr>
            <p:nvPr/>
          </p:nvSpPr>
          <p:spPr bwMode="auto">
            <a:xfrm>
              <a:off x="6992808" y="2713620"/>
              <a:ext cx="3946987" cy="17543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>
                <a:lnSpc>
                  <a:spcPct val="150000"/>
                </a:lnSpc>
              </a:pP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dirty="0" smtClean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坚持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。</a:t>
              </a:r>
            </a:p>
          </p:txBody>
        </p:sp>
        <p:cxnSp>
          <p:nvCxnSpPr>
            <p:cNvPr id="48" name="直接连接符 47"/>
            <p:cNvCxnSpPr/>
            <p:nvPr/>
          </p:nvCxnSpPr>
          <p:spPr bwMode="auto">
            <a:xfrm>
              <a:off x="7080833" y="2555759"/>
              <a:ext cx="3770937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组合 4"/>
            <p:cNvGrpSpPr/>
            <p:nvPr/>
          </p:nvGrpSpPr>
          <p:grpSpPr>
            <a:xfrm>
              <a:off x="6992808" y="2065448"/>
              <a:ext cx="2765693" cy="461665"/>
              <a:chOff x="940613" y="2146509"/>
              <a:chExt cx="2765693" cy="461665"/>
            </a:xfrm>
          </p:grpSpPr>
          <p:sp>
            <p:nvSpPr>
              <p:cNvPr id="50" name="TextBox 265"/>
              <p:cNvSpPr txBox="1"/>
              <p:nvPr/>
            </p:nvSpPr>
            <p:spPr bwMode="auto">
              <a:xfrm>
                <a:off x="940613" y="2146509"/>
                <a:ext cx="1569660" cy="461665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itchFamily="34" charset="-122"/>
                    <a:ea typeface="微软雅黑" pitchFamily="34" charset="-122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5pPr>
                <a:lvl6pPr>
                  <a:defRPr>
                    <a:latin typeface="Calibri" pitchFamily="34" charset="0"/>
                    <a:ea typeface="宋体" pitchFamily="2" charset="-122"/>
                  </a:defRPr>
                </a:lvl6pPr>
                <a:lvl7pPr>
                  <a:defRPr>
                    <a:latin typeface="Calibri" pitchFamily="34" charset="0"/>
                    <a:ea typeface="宋体" pitchFamily="2" charset="-122"/>
                  </a:defRPr>
                </a:lvl7pPr>
                <a:lvl8pPr>
                  <a:defRPr>
                    <a:latin typeface="Calibri" pitchFamily="34" charset="0"/>
                    <a:ea typeface="宋体" pitchFamily="2" charset="-122"/>
                  </a:defRPr>
                </a:lvl8pPr>
                <a:lvl9pPr>
                  <a:defRPr>
                    <a:latin typeface="Calibri" pitchFamily="34" charset="0"/>
                    <a:ea typeface="宋体" pitchFamily="2" charset="-122"/>
                  </a:defRPr>
                </a:lvl9pPr>
              </a:lstStyle>
              <a:p>
                <a:pPr>
                  <a:defRPr/>
                </a:pPr>
                <a:r>
                  <a:rPr lang="zh-CN" altLang="en-US" sz="2400" dirty="0">
                    <a:solidFill>
                      <a:srgbClr val="C00000"/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添加标题</a:t>
                </a:r>
              </a:p>
            </p:txBody>
          </p:sp>
          <p:sp>
            <p:nvSpPr>
              <p:cNvPr id="51" name="矩形 86"/>
              <p:cNvSpPr>
                <a:spLocks noChangeArrowheads="1"/>
              </p:cNvSpPr>
              <p:nvPr/>
            </p:nvSpPr>
            <p:spPr bwMode="auto">
              <a:xfrm>
                <a:off x="2553426" y="2192675"/>
                <a:ext cx="1152880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en-US" altLang="zh-CN" dirty="0">
                    <a:solidFill>
                      <a:schemeClr val="bg1">
                        <a:lumMod val="95000"/>
                      </a:schemeClr>
                    </a:solidFill>
                  </a:rPr>
                  <a:t>Add a title</a:t>
                </a:r>
                <a:endParaRPr lang="zh-CN" altLang="en-US" dirty="0">
                  <a:solidFill>
                    <a:schemeClr val="bg1">
                      <a:lumMod val="95000"/>
                    </a:schemeClr>
                  </a:solidFill>
                </a:endParaRPr>
              </a:p>
            </p:txBody>
          </p:sp>
          <p:cxnSp>
            <p:nvCxnSpPr>
              <p:cNvPr id="52" name="直接连接符 51"/>
              <p:cNvCxnSpPr/>
              <p:nvPr/>
            </p:nvCxnSpPr>
            <p:spPr bwMode="auto">
              <a:xfrm>
                <a:off x="2531850" y="2305110"/>
                <a:ext cx="0" cy="144462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" name="任意多边形 7"/>
          <p:cNvSpPr/>
          <p:nvPr/>
        </p:nvSpPr>
        <p:spPr>
          <a:xfrm>
            <a:off x="1619872" y="2567536"/>
            <a:ext cx="4167145" cy="2573971"/>
          </a:xfrm>
          <a:custGeom>
            <a:avLst/>
            <a:gdLst>
              <a:gd name="connsiteX0" fmla="*/ 0 w 3973135"/>
              <a:gd name="connsiteY0" fmla="*/ 0 h 2454135"/>
              <a:gd name="connsiteX1" fmla="*/ 3973135 w 3973135"/>
              <a:gd name="connsiteY1" fmla="*/ 0 h 2454135"/>
              <a:gd name="connsiteX2" fmla="*/ 3973135 w 3973135"/>
              <a:gd name="connsiteY2" fmla="*/ 2454135 h 2454135"/>
              <a:gd name="connsiteX3" fmla="*/ 0 w 3973135"/>
              <a:gd name="connsiteY3" fmla="*/ 2454135 h 2454135"/>
              <a:gd name="connsiteX4" fmla="*/ 0 w 3973135"/>
              <a:gd name="connsiteY4" fmla="*/ 0 h 2454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73135" h="2454135">
                <a:moveTo>
                  <a:pt x="0" y="0"/>
                </a:moveTo>
                <a:lnTo>
                  <a:pt x="3973135" y="0"/>
                </a:lnTo>
                <a:lnTo>
                  <a:pt x="3973135" y="2454135"/>
                </a:lnTo>
                <a:lnTo>
                  <a:pt x="0" y="245413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247650" rIns="247650" bIns="247650" numCol="1" spcCol="1270" anchor="ctr" anchorCtr="0">
            <a:noAutofit/>
          </a:bodyPr>
          <a:lstStyle/>
          <a:p>
            <a:pPr lvl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zh-CN" altLang="en-US" sz="6500" kern="1200" dirty="0"/>
          </a:p>
        </p:txBody>
      </p:sp>
      <p:sp>
        <p:nvSpPr>
          <p:cNvPr id="9" name="半闭框 8"/>
          <p:cNvSpPr/>
          <p:nvPr/>
        </p:nvSpPr>
        <p:spPr>
          <a:xfrm>
            <a:off x="1252206" y="2200184"/>
            <a:ext cx="1000786" cy="1001045"/>
          </a:xfrm>
          <a:prstGeom prst="halfFrame">
            <a:avLst>
              <a:gd name="adj1" fmla="val 25770"/>
              <a:gd name="adj2" fmla="val 25770"/>
            </a:avLst>
          </a:prstGeom>
          <a:noFill/>
          <a:ln>
            <a:solidFill>
              <a:schemeClr val="lt1">
                <a:hueOff val="0"/>
                <a:satOff val="0"/>
                <a:lumOff val="0"/>
                <a:alpha val="2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半闭框 9"/>
          <p:cNvSpPr/>
          <p:nvPr/>
        </p:nvSpPr>
        <p:spPr>
          <a:xfrm rot="5400000">
            <a:off x="5182755" y="2200314"/>
            <a:ext cx="1001045" cy="1000786"/>
          </a:xfrm>
          <a:prstGeom prst="halfFrame">
            <a:avLst>
              <a:gd name="adj1" fmla="val 25770"/>
              <a:gd name="adj2" fmla="val 25770"/>
            </a:avLst>
          </a:prstGeom>
          <a:noFill/>
          <a:ln>
            <a:solidFill>
              <a:schemeClr val="lt1">
                <a:hueOff val="0"/>
                <a:satOff val="0"/>
                <a:lumOff val="0"/>
                <a:alpha val="2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" name="半闭框 10"/>
          <p:cNvSpPr/>
          <p:nvPr/>
        </p:nvSpPr>
        <p:spPr>
          <a:xfrm rot="16200000">
            <a:off x="1252077" y="4508445"/>
            <a:ext cx="1001045" cy="1000786"/>
          </a:xfrm>
          <a:prstGeom prst="halfFrame">
            <a:avLst>
              <a:gd name="adj1" fmla="val 25770"/>
              <a:gd name="adj2" fmla="val 25770"/>
            </a:avLst>
          </a:prstGeom>
          <a:noFill/>
          <a:ln>
            <a:solidFill>
              <a:schemeClr val="lt1">
                <a:hueOff val="0"/>
                <a:satOff val="0"/>
                <a:lumOff val="0"/>
                <a:alpha val="2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半闭框 11"/>
          <p:cNvSpPr/>
          <p:nvPr/>
        </p:nvSpPr>
        <p:spPr>
          <a:xfrm rot="10800000">
            <a:off x="5182884" y="4508316"/>
            <a:ext cx="1000786" cy="1001045"/>
          </a:xfrm>
          <a:prstGeom prst="halfFrame">
            <a:avLst>
              <a:gd name="adj1" fmla="val 25770"/>
              <a:gd name="adj2" fmla="val 25770"/>
            </a:avLst>
          </a:prstGeom>
          <a:noFill/>
          <a:ln>
            <a:solidFill>
              <a:schemeClr val="lt1">
                <a:hueOff val="0"/>
                <a:satOff val="0"/>
                <a:lumOff val="0"/>
                <a:alpha val="2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558585" y="2348880"/>
            <a:ext cx="4354103" cy="3056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959985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图片 72"/>
          <p:cNvPicPr>
            <a:picLocks noChangeAspect="1"/>
          </p:cNvPicPr>
          <p:nvPr/>
        </p:nvPicPr>
        <p:blipFill>
          <a:blip r:embed="rId2" cstate="print"/>
          <a:srcRect l="14093" t="6761" r="3779" b="9892"/>
          <a:stretch>
            <a:fillRect/>
          </a:stretch>
        </p:blipFill>
        <p:spPr>
          <a:xfrm>
            <a:off x="8639391" y="1890731"/>
            <a:ext cx="1453718" cy="1453718"/>
          </a:xfrm>
          <a:custGeom>
            <a:avLst/>
            <a:gdLst>
              <a:gd name="connsiteX0" fmla="*/ 726859 w 1453718"/>
              <a:gd name="connsiteY0" fmla="*/ 0 h 1453718"/>
              <a:gd name="connsiteX1" fmla="*/ 1453718 w 1453718"/>
              <a:gd name="connsiteY1" fmla="*/ 726859 h 1453718"/>
              <a:gd name="connsiteX2" fmla="*/ 726859 w 1453718"/>
              <a:gd name="connsiteY2" fmla="*/ 1453718 h 1453718"/>
              <a:gd name="connsiteX3" fmla="*/ 0 w 1453718"/>
              <a:gd name="connsiteY3" fmla="*/ 726859 h 1453718"/>
              <a:gd name="connsiteX4" fmla="*/ 726859 w 1453718"/>
              <a:gd name="connsiteY4" fmla="*/ 0 h 1453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3718" h="1453718">
                <a:moveTo>
                  <a:pt x="726859" y="0"/>
                </a:moveTo>
                <a:cubicBezTo>
                  <a:pt x="1128292" y="0"/>
                  <a:pt x="1453718" y="325426"/>
                  <a:pt x="1453718" y="726859"/>
                </a:cubicBezTo>
                <a:cubicBezTo>
                  <a:pt x="1453718" y="1128292"/>
                  <a:pt x="1128292" y="1453718"/>
                  <a:pt x="726859" y="1453718"/>
                </a:cubicBezTo>
                <a:cubicBezTo>
                  <a:pt x="325426" y="1453718"/>
                  <a:pt x="0" y="1128292"/>
                  <a:pt x="0" y="726859"/>
                </a:cubicBezTo>
                <a:cubicBezTo>
                  <a:pt x="0" y="325426"/>
                  <a:pt x="325426" y="0"/>
                  <a:pt x="726859" y="0"/>
                </a:cubicBezTo>
                <a:close/>
              </a:path>
            </a:pathLst>
          </a:custGeom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</p:pic>
      <p:pic>
        <p:nvPicPr>
          <p:cNvPr id="70" name="图片 69"/>
          <p:cNvPicPr>
            <a:picLocks noChangeAspect="1"/>
          </p:cNvPicPr>
          <p:nvPr/>
        </p:nvPicPr>
        <p:blipFill>
          <a:blip r:embed="rId3" cstate="print"/>
          <a:srcRect l="17190" t="12956" r="9785" b="12956"/>
          <a:stretch>
            <a:fillRect/>
          </a:stretch>
        </p:blipFill>
        <p:spPr>
          <a:xfrm>
            <a:off x="7004266" y="1890731"/>
            <a:ext cx="1453718" cy="1453718"/>
          </a:xfrm>
          <a:custGeom>
            <a:avLst/>
            <a:gdLst>
              <a:gd name="connsiteX0" fmla="*/ 726859 w 1453718"/>
              <a:gd name="connsiteY0" fmla="*/ 0 h 1453718"/>
              <a:gd name="connsiteX1" fmla="*/ 1453718 w 1453718"/>
              <a:gd name="connsiteY1" fmla="*/ 726859 h 1453718"/>
              <a:gd name="connsiteX2" fmla="*/ 726859 w 1453718"/>
              <a:gd name="connsiteY2" fmla="*/ 1453718 h 1453718"/>
              <a:gd name="connsiteX3" fmla="*/ 0 w 1453718"/>
              <a:gd name="connsiteY3" fmla="*/ 726859 h 1453718"/>
              <a:gd name="connsiteX4" fmla="*/ 726859 w 1453718"/>
              <a:gd name="connsiteY4" fmla="*/ 0 h 1453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3718" h="1453718">
                <a:moveTo>
                  <a:pt x="726859" y="0"/>
                </a:moveTo>
                <a:cubicBezTo>
                  <a:pt x="1128292" y="0"/>
                  <a:pt x="1453718" y="325426"/>
                  <a:pt x="1453718" y="726859"/>
                </a:cubicBezTo>
                <a:cubicBezTo>
                  <a:pt x="1453718" y="1128292"/>
                  <a:pt x="1128292" y="1453718"/>
                  <a:pt x="726859" y="1453718"/>
                </a:cubicBezTo>
                <a:cubicBezTo>
                  <a:pt x="325426" y="1453718"/>
                  <a:pt x="0" y="1128292"/>
                  <a:pt x="0" y="726859"/>
                </a:cubicBezTo>
                <a:cubicBezTo>
                  <a:pt x="0" y="325426"/>
                  <a:pt x="325426" y="0"/>
                  <a:pt x="726859" y="0"/>
                </a:cubicBezTo>
                <a:close/>
              </a:path>
            </a:pathLst>
          </a:custGeom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</p:pic>
      <p:pic>
        <p:nvPicPr>
          <p:cNvPr id="69" name="图片 68"/>
          <p:cNvPicPr>
            <a:picLocks noChangeAspect="1"/>
          </p:cNvPicPr>
          <p:nvPr/>
        </p:nvPicPr>
        <p:blipFill>
          <a:blip r:embed="rId4" cstate="print"/>
          <a:srcRect l="17069" t="12222" r="9201" b="12222"/>
          <a:stretch>
            <a:fillRect/>
          </a:stretch>
        </p:blipFill>
        <p:spPr>
          <a:xfrm>
            <a:off x="5369141" y="1890731"/>
            <a:ext cx="1453718" cy="1453718"/>
          </a:xfrm>
          <a:custGeom>
            <a:avLst/>
            <a:gdLst>
              <a:gd name="connsiteX0" fmla="*/ 726859 w 1453718"/>
              <a:gd name="connsiteY0" fmla="*/ 0 h 1453718"/>
              <a:gd name="connsiteX1" fmla="*/ 1453718 w 1453718"/>
              <a:gd name="connsiteY1" fmla="*/ 726859 h 1453718"/>
              <a:gd name="connsiteX2" fmla="*/ 726859 w 1453718"/>
              <a:gd name="connsiteY2" fmla="*/ 1453718 h 1453718"/>
              <a:gd name="connsiteX3" fmla="*/ 0 w 1453718"/>
              <a:gd name="connsiteY3" fmla="*/ 726859 h 1453718"/>
              <a:gd name="connsiteX4" fmla="*/ 726859 w 1453718"/>
              <a:gd name="connsiteY4" fmla="*/ 0 h 1453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3718" h="1453718">
                <a:moveTo>
                  <a:pt x="726859" y="0"/>
                </a:moveTo>
                <a:cubicBezTo>
                  <a:pt x="1128292" y="0"/>
                  <a:pt x="1453718" y="325426"/>
                  <a:pt x="1453718" y="726859"/>
                </a:cubicBezTo>
                <a:cubicBezTo>
                  <a:pt x="1453718" y="1128292"/>
                  <a:pt x="1128292" y="1453718"/>
                  <a:pt x="726859" y="1453718"/>
                </a:cubicBezTo>
                <a:cubicBezTo>
                  <a:pt x="325426" y="1453718"/>
                  <a:pt x="0" y="1128292"/>
                  <a:pt x="0" y="726859"/>
                </a:cubicBezTo>
                <a:cubicBezTo>
                  <a:pt x="0" y="325426"/>
                  <a:pt x="325426" y="0"/>
                  <a:pt x="726859" y="0"/>
                </a:cubicBezTo>
                <a:close/>
              </a:path>
            </a:pathLst>
          </a:custGeom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</p:pic>
      <p:pic>
        <p:nvPicPr>
          <p:cNvPr id="67" name="图片 66"/>
          <p:cNvPicPr>
            <a:picLocks noChangeAspect="1"/>
          </p:cNvPicPr>
          <p:nvPr/>
        </p:nvPicPr>
        <p:blipFill>
          <a:blip r:embed="rId5" cstate="print"/>
          <a:srcRect l="9336" t="1181" r="15850" b="24731"/>
          <a:stretch>
            <a:fillRect/>
          </a:stretch>
        </p:blipFill>
        <p:spPr>
          <a:xfrm>
            <a:off x="3734016" y="1890731"/>
            <a:ext cx="1453718" cy="1453718"/>
          </a:xfrm>
          <a:custGeom>
            <a:avLst/>
            <a:gdLst>
              <a:gd name="connsiteX0" fmla="*/ 726859 w 1453718"/>
              <a:gd name="connsiteY0" fmla="*/ 0 h 1453718"/>
              <a:gd name="connsiteX1" fmla="*/ 1453718 w 1453718"/>
              <a:gd name="connsiteY1" fmla="*/ 726859 h 1453718"/>
              <a:gd name="connsiteX2" fmla="*/ 726859 w 1453718"/>
              <a:gd name="connsiteY2" fmla="*/ 1453718 h 1453718"/>
              <a:gd name="connsiteX3" fmla="*/ 0 w 1453718"/>
              <a:gd name="connsiteY3" fmla="*/ 726859 h 1453718"/>
              <a:gd name="connsiteX4" fmla="*/ 726859 w 1453718"/>
              <a:gd name="connsiteY4" fmla="*/ 0 h 1453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3718" h="1453718">
                <a:moveTo>
                  <a:pt x="726859" y="0"/>
                </a:moveTo>
                <a:cubicBezTo>
                  <a:pt x="1128292" y="0"/>
                  <a:pt x="1453718" y="325426"/>
                  <a:pt x="1453718" y="726859"/>
                </a:cubicBezTo>
                <a:cubicBezTo>
                  <a:pt x="1453718" y="1128292"/>
                  <a:pt x="1128292" y="1453718"/>
                  <a:pt x="726859" y="1453718"/>
                </a:cubicBezTo>
                <a:cubicBezTo>
                  <a:pt x="325426" y="1453718"/>
                  <a:pt x="0" y="1128292"/>
                  <a:pt x="0" y="726859"/>
                </a:cubicBezTo>
                <a:cubicBezTo>
                  <a:pt x="0" y="325426"/>
                  <a:pt x="325426" y="0"/>
                  <a:pt x="726859" y="0"/>
                </a:cubicBezTo>
                <a:close/>
              </a:path>
            </a:pathLst>
          </a:custGeom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</p:pic>
      <p:pic>
        <p:nvPicPr>
          <p:cNvPr id="62" name="图片 61"/>
          <p:cNvPicPr>
            <a:picLocks noChangeAspect="1"/>
          </p:cNvPicPr>
          <p:nvPr/>
        </p:nvPicPr>
        <p:blipFill>
          <a:blip r:embed="rId6" cstate="print"/>
          <a:srcRect l="8969" t="3593" r="3138" b="8514"/>
          <a:stretch>
            <a:fillRect/>
          </a:stretch>
        </p:blipFill>
        <p:spPr>
          <a:xfrm>
            <a:off x="2098891" y="1890731"/>
            <a:ext cx="1453718" cy="1453718"/>
          </a:xfrm>
          <a:custGeom>
            <a:avLst/>
            <a:gdLst>
              <a:gd name="connsiteX0" fmla="*/ 726859 w 1453718"/>
              <a:gd name="connsiteY0" fmla="*/ 0 h 1453718"/>
              <a:gd name="connsiteX1" fmla="*/ 1453718 w 1453718"/>
              <a:gd name="connsiteY1" fmla="*/ 726859 h 1453718"/>
              <a:gd name="connsiteX2" fmla="*/ 726859 w 1453718"/>
              <a:gd name="connsiteY2" fmla="*/ 1453718 h 1453718"/>
              <a:gd name="connsiteX3" fmla="*/ 0 w 1453718"/>
              <a:gd name="connsiteY3" fmla="*/ 726859 h 1453718"/>
              <a:gd name="connsiteX4" fmla="*/ 726859 w 1453718"/>
              <a:gd name="connsiteY4" fmla="*/ 0 h 14537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3718" h="1453718">
                <a:moveTo>
                  <a:pt x="726859" y="0"/>
                </a:moveTo>
                <a:cubicBezTo>
                  <a:pt x="1128292" y="0"/>
                  <a:pt x="1453718" y="325426"/>
                  <a:pt x="1453718" y="726859"/>
                </a:cubicBezTo>
                <a:cubicBezTo>
                  <a:pt x="1453718" y="1128292"/>
                  <a:pt x="1128292" y="1453718"/>
                  <a:pt x="726859" y="1453718"/>
                </a:cubicBezTo>
                <a:cubicBezTo>
                  <a:pt x="325426" y="1453718"/>
                  <a:pt x="0" y="1128292"/>
                  <a:pt x="0" y="726859"/>
                </a:cubicBezTo>
                <a:cubicBezTo>
                  <a:pt x="0" y="325426"/>
                  <a:pt x="325426" y="0"/>
                  <a:pt x="726859" y="0"/>
                </a:cubicBezTo>
                <a:close/>
              </a:path>
            </a:pathLst>
          </a:custGeom>
          <a:ln>
            <a:solidFill>
              <a:schemeClr val="lt1">
                <a:hueOff val="0"/>
                <a:satOff val="0"/>
                <a:lumOff val="0"/>
              </a:schemeClr>
            </a:solidFill>
          </a:ln>
        </p:spPr>
      </p:pic>
      <p:grpSp>
        <p:nvGrpSpPr>
          <p:cNvPr id="19" name="组合 18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15" name="组合 14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2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7" name="文本框 16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sp>
        <p:nvSpPr>
          <p:cNvPr id="22" name="任意多边形 21"/>
          <p:cNvSpPr/>
          <p:nvPr/>
        </p:nvSpPr>
        <p:spPr>
          <a:xfrm>
            <a:off x="2032000" y="1628800"/>
            <a:ext cx="1587499" cy="4365517"/>
          </a:xfrm>
          <a:custGeom>
            <a:avLst/>
            <a:gdLst>
              <a:gd name="connsiteX0" fmla="*/ 0 w 1587499"/>
              <a:gd name="connsiteY0" fmla="*/ 158750 h 4365517"/>
              <a:gd name="connsiteX1" fmla="*/ 158750 w 1587499"/>
              <a:gd name="connsiteY1" fmla="*/ 0 h 4365517"/>
              <a:gd name="connsiteX2" fmla="*/ 1428749 w 1587499"/>
              <a:gd name="connsiteY2" fmla="*/ 0 h 4365517"/>
              <a:gd name="connsiteX3" fmla="*/ 1587499 w 1587499"/>
              <a:gd name="connsiteY3" fmla="*/ 158750 h 4365517"/>
              <a:gd name="connsiteX4" fmla="*/ 1587499 w 1587499"/>
              <a:gd name="connsiteY4" fmla="*/ 4206767 h 4365517"/>
              <a:gd name="connsiteX5" fmla="*/ 1428749 w 1587499"/>
              <a:gd name="connsiteY5" fmla="*/ 4365517 h 4365517"/>
              <a:gd name="connsiteX6" fmla="*/ 158750 w 1587499"/>
              <a:gd name="connsiteY6" fmla="*/ 4365517 h 4365517"/>
              <a:gd name="connsiteX7" fmla="*/ 0 w 1587499"/>
              <a:gd name="connsiteY7" fmla="*/ 4206767 h 4365517"/>
              <a:gd name="connsiteX8" fmla="*/ 0 w 1587499"/>
              <a:gd name="connsiteY8" fmla="*/ 158750 h 4365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7499" h="4365517">
                <a:moveTo>
                  <a:pt x="0" y="158750"/>
                </a:moveTo>
                <a:cubicBezTo>
                  <a:pt x="0" y="71075"/>
                  <a:pt x="71075" y="0"/>
                  <a:pt x="158750" y="0"/>
                </a:cubicBezTo>
                <a:lnTo>
                  <a:pt x="1428749" y="0"/>
                </a:lnTo>
                <a:cubicBezTo>
                  <a:pt x="1516424" y="0"/>
                  <a:pt x="1587499" y="71075"/>
                  <a:pt x="1587499" y="158750"/>
                </a:cubicBezTo>
                <a:lnTo>
                  <a:pt x="1587499" y="4206767"/>
                </a:lnTo>
                <a:cubicBezTo>
                  <a:pt x="1587499" y="4294442"/>
                  <a:pt x="1516424" y="4365517"/>
                  <a:pt x="1428749" y="4365517"/>
                </a:cubicBezTo>
                <a:lnTo>
                  <a:pt x="158750" y="4365517"/>
                </a:lnTo>
                <a:cubicBezTo>
                  <a:pt x="71075" y="4365517"/>
                  <a:pt x="0" y="4294442"/>
                  <a:pt x="0" y="4206767"/>
                </a:cubicBezTo>
                <a:lnTo>
                  <a:pt x="0" y="158750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56" tIns="1838662" rIns="92456" bIns="965561" numCol="1" spcCol="1270" anchor="ctr" anchorCtr="0">
            <a:noAutofit/>
          </a:bodyPr>
          <a:lstStyle/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13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en-US" sz="13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3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</a:t>
            </a:r>
            <a:endParaRPr lang="zh-CN" altLang="en-US" sz="1300" kern="1200" dirty="0"/>
          </a:p>
        </p:txBody>
      </p:sp>
      <p:sp>
        <p:nvSpPr>
          <p:cNvPr id="24" name="任意多边形 23"/>
          <p:cNvSpPr/>
          <p:nvPr/>
        </p:nvSpPr>
        <p:spPr>
          <a:xfrm>
            <a:off x="3667125" y="1628800"/>
            <a:ext cx="1587499" cy="4365517"/>
          </a:xfrm>
          <a:custGeom>
            <a:avLst/>
            <a:gdLst>
              <a:gd name="connsiteX0" fmla="*/ 0 w 1587499"/>
              <a:gd name="connsiteY0" fmla="*/ 158750 h 4365517"/>
              <a:gd name="connsiteX1" fmla="*/ 158750 w 1587499"/>
              <a:gd name="connsiteY1" fmla="*/ 0 h 4365517"/>
              <a:gd name="connsiteX2" fmla="*/ 1428749 w 1587499"/>
              <a:gd name="connsiteY2" fmla="*/ 0 h 4365517"/>
              <a:gd name="connsiteX3" fmla="*/ 1587499 w 1587499"/>
              <a:gd name="connsiteY3" fmla="*/ 158750 h 4365517"/>
              <a:gd name="connsiteX4" fmla="*/ 1587499 w 1587499"/>
              <a:gd name="connsiteY4" fmla="*/ 4206767 h 4365517"/>
              <a:gd name="connsiteX5" fmla="*/ 1428749 w 1587499"/>
              <a:gd name="connsiteY5" fmla="*/ 4365517 h 4365517"/>
              <a:gd name="connsiteX6" fmla="*/ 158750 w 1587499"/>
              <a:gd name="connsiteY6" fmla="*/ 4365517 h 4365517"/>
              <a:gd name="connsiteX7" fmla="*/ 0 w 1587499"/>
              <a:gd name="connsiteY7" fmla="*/ 4206767 h 4365517"/>
              <a:gd name="connsiteX8" fmla="*/ 0 w 1587499"/>
              <a:gd name="connsiteY8" fmla="*/ 158750 h 4365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7499" h="4365517">
                <a:moveTo>
                  <a:pt x="0" y="158750"/>
                </a:moveTo>
                <a:cubicBezTo>
                  <a:pt x="0" y="71075"/>
                  <a:pt x="71075" y="0"/>
                  <a:pt x="158750" y="0"/>
                </a:cubicBezTo>
                <a:lnTo>
                  <a:pt x="1428749" y="0"/>
                </a:lnTo>
                <a:cubicBezTo>
                  <a:pt x="1516424" y="0"/>
                  <a:pt x="1587499" y="71075"/>
                  <a:pt x="1587499" y="158750"/>
                </a:cubicBezTo>
                <a:lnTo>
                  <a:pt x="1587499" y="4206767"/>
                </a:lnTo>
                <a:cubicBezTo>
                  <a:pt x="1587499" y="4294442"/>
                  <a:pt x="1516424" y="4365517"/>
                  <a:pt x="1428749" y="4365517"/>
                </a:cubicBezTo>
                <a:lnTo>
                  <a:pt x="158750" y="4365517"/>
                </a:lnTo>
                <a:cubicBezTo>
                  <a:pt x="71075" y="4365517"/>
                  <a:pt x="0" y="4294442"/>
                  <a:pt x="0" y="4206767"/>
                </a:cubicBezTo>
                <a:lnTo>
                  <a:pt x="0" y="158750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56" tIns="1838662" rIns="92456" bIns="965561" numCol="1" spcCol="1270" anchor="ctr" anchorCtr="0">
            <a:noAutofit/>
          </a:bodyPr>
          <a:lstStyle/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zh-CN" sz="1300" kern="12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300" kern="12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300" kern="12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300" kern="12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300" kern="1200" dirty="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坚持精益求精、拒绝平庸的做事精神</a:t>
            </a:r>
            <a:endParaRPr lang="zh-CN" altLang="en-US" sz="1300" kern="1200" dirty="0"/>
          </a:p>
        </p:txBody>
      </p:sp>
      <p:sp>
        <p:nvSpPr>
          <p:cNvPr id="26" name="任意多边形 25"/>
          <p:cNvSpPr/>
          <p:nvPr/>
        </p:nvSpPr>
        <p:spPr>
          <a:xfrm>
            <a:off x="5302250" y="1628800"/>
            <a:ext cx="1587499" cy="4365517"/>
          </a:xfrm>
          <a:custGeom>
            <a:avLst/>
            <a:gdLst>
              <a:gd name="connsiteX0" fmla="*/ 0 w 1587499"/>
              <a:gd name="connsiteY0" fmla="*/ 158750 h 4365517"/>
              <a:gd name="connsiteX1" fmla="*/ 158750 w 1587499"/>
              <a:gd name="connsiteY1" fmla="*/ 0 h 4365517"/>
              <a:gd name="connsiteX2" fmla="*/ 1428749 w 1587499"/>
              <a:gd name="connsiteY2" fmla="*/ 0 h 4365517"/>
              <a:gd name="connsiteX3" fmla="*/ 1587499 w 1587499"/>
              <a:gd name="connsiteY3" fmla="*/ 158750 h 4365517"/>
              <a:gd name="connsiteX4" fmla="*/ 1587499 w 1587499"/>
              <a:gd name="connsiteY4" fmla="*/ 4206767 h 4365517"/>
              <a:gd name="connsiteX5" fmla="*/ 1428749 w 1587499"/>
              <a:gd name="connsiteY5" fmla="*/ 4365517 h 4365517"/>
              <a:gd name="connsiteX6" fmla="*/ 158750 w 1587499"/>
              <a:gd name="connsiteY6" fmla="*/ 4365517 h 4365517"/>
              <a:gd name="connsiteX7" fmla="*/ 0 w 1587499"/>
              <a:gd name="connsiteY7" fmla="*/ 4206767 h 4365517"/>
              <a:gd name="connsiteX8" fmla="*/ 0 w 1587499"/>
              <a:gd name="connsiteY8" fmla="*/ 158750 h 4365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7499" h="4365517">
                <a:moveTo>
                  <a:pt x="0" y="158750"/>
                </a:moveTo>
                <a:cubicBezTo>
                  <a:pt x="0" y="71075"/>
                  <a:pt x="71075" y="0"/>
                  <a:pt x="158750" y="0"/>
                </a:cubicBezTo>
                <a:lnTo>
                  <a:pt x="1428749" y="0"/>
                </a:lnTo>
                <a:cubicBezTo>
                  <a:pt x="1516424" y="0"/>
                  <a:pt x="1587499" y="71075"/>
                  <a:pt x="1587499" y="158750"/>
                </a:cubicBezTo>
                <a:lnTo>
                  <a:pt x="1587499" y="4206767"/>
                </a:lnTo>
                <a:cubicBezTo>
                  <a:pt x="1587499" y="4294442"/>
                  <a:pt x="1516424" y="4365517"/>
                  <a:pt x="1428749" y="4365517"/>
                </a:cubicBezTo>
                <a:lnTo>
                  <a:pt x="158750" y="4365517"/>
                </a:lnTo>
                <a:cubicBezTo>
                  <a:pt x="71075" y="4365517"/>
                  <a:pt x="0" y="4294442"/>
                  <a:pt x="0" y="4206767"/>
                </a:cubicBezTo>
                <a:lnTo>
                  <a:pt x="0" y="158750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56" tIns="1838662" rIns="92456" bIns="965561" numCol="1" spcCol="1270" anchor="ctr" anchorCtr="0">
            <a:noAutofit/>
          </a:bodyPr>
          <a:lstStyle/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13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en-US" sz="13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3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</a:t>
            </a:r>
            <a:endParaRPr lang="zh-CN" altLang="en-US" sz="1300" kern="1200" dirty="0"/>
          </a:p>
        </p:txBody>
      </p:sp>
      <p:sp>
        <p:nvSpPr>
          <p:cNvPr id="28" name="任意多边形 27"/>
          <p:cNvSpPr/>
          <p:nvPr/>
        </p:nvSpPr>
        <p:spPr>
          <a:xfrm>
            <a:off x="6937375" y="1628800"/>
            <a:ext cx="1587499" cy="4365517"/>
          </a:xfrm>
          <a:custGeom>
            <a:avLst/>
            <a:gdLst>
              <a:gd name="connsiteX0" fmla="*/ 0 w 1587499"/>
              <a:gd name="connsiteY0" fmla="*/ 158750 h 4365517"/>
              <a:gd name="connsiteX1" fmla="*/ 158750 w 1587499"/>
              <a:gd name="connsiteY1" fmla="*/ 0 h 4365517"/>
              <a:gd name="connsiteX2" fmla="*/ 1428749 w 1587499"/>
              <a:gd name="connsiteY2" fmla="*/ 0 h 4365517"/>
              <a:gd name="connsiteX3" fmla="*/ 1587499 w 1587499"/>
              <a:gd name="connsiteY3" fmla="*/ 158750 h 4365517"/>
              <a:gd name="connsiteX4" fmla="*/ 1587499 w 1587499"/>
              <a:gd name="connsiteY4" fmla="*/ 4206767 h 4365517"/>
              <a:gd name="connsiteX5" fmla="*/ 1428749 w 1587499"/>
              <a:gd name="connsiteY5" fmla="*/ 4365517 h 4365517"/>
              <a:gd name="connsiteX6" fmla="*/ 158750 w 1587499"/>
              <a:gd name="connsiteY6" fmla="*/ 4365517 h 4365517"/>
              <a:gd name="connsiteX7" fmla="*/ 0 w 1587499"/>
              <a:gd name="connsiteY7" fmla="*/ 4206767 h 4365517"/>
              <a:gd name="connsiteX8" fmla="*/ 0 w 1587499"/>
              <a:gd name="connsiteY8" fmla="*/ 158750 h 4365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7499" h="4365517">
                <a:moveTo>
                  <a:pt x="0" y="158750"/>
                </a:moveTo>
                <a:cubicBezTo>
                  <a:pt x="0" y="71075"/>
                  <a:pt x="71075" y="0"/>
                  <a:pt x="158750" y="0"/>
                </a:cubicBezTo>
                <a:lnTo>
                  <a:pt x="1428749" y="0"/>
                </a:lnTo>
                <a:cubicBezTo>
                  <a:pt x="1516424" y="0"/>
                  <a:pt x="1587499" y="71075"/>
                  <a:pt x="1587499" y="158750"/>
                </a:cubicBezTo>
                <a:lnTo>
                  <a:pt x="1587499" y="4206767"/>
                </a:lnTo>
                <a:cubicBezTo>
                  <a:pt x="1587499" y="4294442"/>
                  <a:pt x="1516424" y="4365517"/>
                  <a:pt x="1428749" y="4365517"/>
                </a:cubicBezTo>
                <a:lnTo>
                  <a:pt x="158750" y="4365517"/>
                </a:lnTo>
                <a:cubicBezTo>
                  <a:pt x="71075" y="4365517"/>
                  <a:pt x="0" y="4294442"/>
                  <a:pt x="0" y="4206767"/>
                </a:cubicBezTo>
                <a:lnTo>
                  <a:pt x="0" y="158750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56" tIns="1838662" rIns="92456" bIns="965561" numCol="1" spcCol="1270" anchor="ctr" anchorCtr="0">
            <a:noAutofit/>
          </a:bodyPr>
          <a:lstStyle/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zh-CN" sz="1300" kern="120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拥有国内顶尖的</a:t>
            </a:r>
            <a:r>
              <a:rPr lang="en-US" altLang="zh-CN" sz="1300" kern="120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300" kern="120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制作技术、顶级的</a:t>
            </a:r>
            <a:r>
              <a:rPr lang="en-US" altLang="zh-CN" sz="1300" kern="120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zh-CN" sz="1300" kern="1200" smtClean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团队坚持精益求精、拒绝平庸的做事精神</a:t>
            </a:r>
            <a:endParaRPr lang="zh-CN" altLang="en-US" sz="1300" kern="1200" dirty="0"/>
          </a:p>
        </p:txBody>
      </p:sp>
      <p:sp>
        <p:nvSpPr>
          <p:cNvPr id="30" name="任意多边形 29"/>
          <p:cNvSpPr/>
          <p:nvPr/>
        </p:nvSpPr>
        <p:spPr>
          <a:xfrm>
            <a:off x="8572499" y="1628800"/>
            <a:ext cx="1587499" cy="4365517"/>
          </a:xfrm>
          <a:custGeom>
            <a:avLst/>
            <a:gdLst>
              <a:gd name="connsiteX0" fmla="*/ 0 w 1587499"/>
              <a:gd name="connsiteY0" fmla="*/ 158750 h 4365517"/>
              <a:gd name="connsiteX1" fmla="*/ 158750 w 1587499"/>
              <a:gd name="connsiteY1" fmla="*/ 0 h 4365517"/>
              <a:gd name="connsiteX2" fmla="*/ 1428749 w 1587499"/>
              <a:gd name="connsiteY2" fmla="*/ 0 h 4365517"/>
              <a:gd name="connsiteX3" fmla="*/ 1587499 w 1587499"/>
              <a:gd name="connsiteY3" fmla="*/ 158750 h 4365517"/>
              <a:gd name="connsiteX4" fmla="*/ 1587499 w 1587499"/>
              <a:gd name="connsiteY4" fmla="*/ 4206767 h 4365517"/>
              <a:gd name="connsiteX5" fmla="*/ 1428749 w 1587499"/>
              <a:gd name="connsiteY5" fmla="*/ 4365517 h 4365517"/>
              <a:gd name="connsiteX6" fmla="*/ 158750 w 1587499"/>
              <a:gd name="connsiteY6" fmla="*/ 4365517 h 4365517"/>
              <a:gd name="connsiteX7" fmla="*/ 0 w 1587499"/>
              <a:gd name="connsiteY7" fmla="*/ 4206767 h 4365517"/>
              <a:gd name="connsiteX8" fmla="*/ 0 w 1587499"/>
              <a:gd name="connsiteY8" fmla="*/ 158750 h 4365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7499" h="4365517">
                <a:moveTo>
                  <a:pt x="0" y="158750"/>
                </a:moveTo>
                <a:cubicBezTo>
                  <a:pt x="0" y="71075"/>
                  <a:pt x="71075" y="0"/>
                  <a:pt x="158750" y="0"/>
                </a:cubicBezTo>
                <a:lnTo>
                  <a:pt x="1428749" y="0"/>
                </a:lnTo>
                <a:cubicBezTo>
                  <a:pt x="1516424" y="0"/>
                  <a:pt x="1587499" y="71075"/>
                  <a:pt x="1587499" y="158750"/>
                </a:cubicBezTo>
                <a:lnTo>
                  <a:pt x="1587499" y="4206767"/>
                </a:lnTo>
                <a:cubicBezTo>
                  <a:pt x="1587499" y="4294442"/>
                  <a:pt x="1516424" y="4365517"/>
                  <a:pt x="1428749" y="4365517"/>
                </a:cubicBezTo>
                <a:lnTo>
                  <a:pt x="158750" y="4365517"/>
                </a:lnTo>
                <a:cubicBezTo>
                  <a:pt x="71075" y="4365517"/>
                  <a:pt x="0" y="4294442"/>
                  <a:pt x="0" y="4206767"/>
                </a:cubicBezTo>
                <a:lnTo>
                  <a:pt x="0" y="158750"/>
                </a:lnTo>
                <a:close/>
              </a:path>
            </a:pathLst>
          </a:custGeom>
          <a:noFill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2456" tIns="1838662" rIns="92456" bIns="965561" numCol="1" spcCol="1270" anchor="ctr" anchorCtr="0">
            <a:noAutofit/>
          </a:bodyPr>
          <a:lstStyle/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13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锐普广告有限公司是中国第一家精品</a:t>
            </a:r>
            <a:r>
              <a:rPr lang="en-US" altLang="en-US" sz="13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300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计机构</a:t>
            </a:r>
            <a:endParaRPr lang="zh-CN" altLang="en-US" sz="1300" kern="1200" dirty="0"/>
          </a:p>
        </p:txBody>
      </p:sp>
      <p:sp>
        <p:nvSpPr>
          <p:cNvPr id="32" name="左右箭头 31"/>
          <p:cNvSpPr/>
          <p:nvPr/>
        </p:nvSpPr>
        <p:spPr>
          <a:xfrm>
            <a:off x="2357119" y="4941168"/>
            <a:ext cx="7477760" cy="654827"/>
          </a:xfrm>
          <a:prstGeom prst="leftRightArrow">
            <a:avLst/>
          </a:prstGeom>
          <a:solidFill>
            <a:srgbClr val="860C0C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文本框 3"/>
          <p:cNvSpPr txBox="1"/>
          <p:nvPr/>
        </p:nvSpPr>
        <p:spPr>
          <a:xfrm>
            <a:off x="5213803" y="5083915"/>
            <a:ext cx="17020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pc="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员</a:t>
            </a:r>
            <a:endParaRPr lang="zh-CN" altLang="en-US" spc="6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31225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3" name="组合 2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5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4" name="文本框 3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grpSp>
        <p:nvGrpSpPr>
          <p:cNvPr id="86" name="组合 85"/>
          <p:cNvGrpSpPr/>
          <p:nvPr/>
        </p:nvGrpSpPr>
        <p:grpSpPr>
          <a:xfrm>
            <a:off x="3909546" y="1547060"/>
            <a:ext cx="4418702" cy="4402220"/>
            <a:chOff x="3470429" y="1488015"/>
            <a:chExt cx="4418702" cy="4402220"/>
          </a:xfrm>
        </p:grpSpPr>
        <p:grpSp>
          <p:nvGrpSpPr>
            <p:cNvPr id="44" name="组合 43"/>
            <p:cNvGrpSpPr/>
            <p:nvPr/>
          </p:nvGrpSpPr>
          <p:grpSpPr>
            <a:xfrm>
              <a:off x="3470429" y="1488015"/>
              <a:ext cx="4418702" cy="4402220"/>
              <a:chOff x="1636793" y="1772816"/>
              <a:chExt cx="4418702" cy="4402220"/>
            </a:xfrm>
          </p:grpSpPr>
          <p:sp>
            <p:nvSpPr>
              <p:cNvPr id="34" name="Oval 508"/>
              <p:cNvSpPr>
                <a:spLocks noChangeArrowheads="1"/>
              </p:cNvSpPr>
              <p:nvPr/>
            </p:nvSpPr>
            <p:spPr bwMode="auto">
              <a:xfrm>
                <a:off x="1636793" y="1772816"/>
                <a:ext cx="4418702" cy="4402220"/>
              </a:xfrm>
              <a:prstGeom prst="ellipse">
                <a:avLst/>
              </a:prstGeom>
              <a:solidFill>
                <a:srgbClr val="5E5E5E">
                  <a:alpha val="27000"/>
                </a:srgb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pic>
            <p:nvPicPr>
              <p:cNvPr id="43" name="图片 42"/>
              <p:cNvPicPr>
                <a:picLocks noChangeAspect="1"/>
              </p:cNvPicPr>
              <p:nvPr/>
            </p:nvPicPr>
            <p:blipFill>
              <a:blip r:embed="rId2" cstate="print"/>
              <a:srcRect l="3753" t="3090" r="36456" b="5451"/>
              <a:stretch>
                <a:fillRect/>
              </a:stretch>
            </p:blipFill>
            <p:spPr>
              <a:xfrm>
                <a:off x="1884111" y="2003642"/>
                <a:ext cx="3940568" cy="3940568"/>
              </a:xfrm>
              <a:custGeom>
                <a:avLst/>
                <a:gdLst>
                  <a:gd name="connsiteX0" fmla="*/ 1970284 w 3940568"/>
                  <a:gd name="connsiteY0" fmla="*/ 0 h 3940568"/>
                  <a:gd name="connsiteX1" fmla="*/ 3940568 w 3940568"/>
                  <a:gd name="connsiteY1" fmla="*/ 1970284 h 3940568"/>
                  <a:gd name="connsiteX2" fmla="*/ 1970284 w 3940568"/>
                  <a:gd name="connsiteY2" fmla="*/ 3940568 h 3940568"/>
                  <a:gd name="connsiteX3" fmla="*/ 0 w 3940568"/>
                  <a:gd name="connsiteY3" fmla="*/ 1970284 h 3940568"/>
                  <a:gd name="connsiteX4" fmla="*/ 1970284 w 3940568"/>
                  <a:gd name="connsiteY4" fmla="*/ 0 h 3940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40568" h="3940568">
                    <a:moveTo>
                      <a:pt x="1970284" y="0"/>
                    </a:moveTo>
                    <a:cubicBezTo>
                      <a:pt x="3058442" y="0"/>
                      <a:pt x="3940568" y="882126"/>
                      <a:pt x="3940568" y="1970284"/>
                    </a:cubicBezTo>
                    <a:cubicBezTo>
                      <a:pt x="3940568" y="3058442"/>
                      <a:pt x="3058442" y="3940568"/>
                      <a:pt x="1970284" y="3940568"/>
                    </a:cubicBezTo>
                    <a:cubicBezTo>
                      <a:pt x="882126" y="3940568"/>
                      <a:pt x="0" y="3058442"/>
                      <a:pt x="0" y="1970284"/>
                    </a:cubicBezTo>
                    <a:cubicBezTo>
                      <a:pt x="0" y="882126"/>
                      <a:pt x="882126" y="0"/>
                      <a:pt x="1970284" y="0"/>
                    </a:cubicBezTo>
                    <a:close/>
                  </a:path>
                </a:pathLst>
              </a:custGeom>
            </p:spPr>
          </p:pic>
          <p:sp>
            <p:nvSpPr>
              <p:cNvPr id="36" name="Freeform 510"/>
              <p:cNvSpPr>
                <a:spLocks noEditPoints="1"/>
              </p:cNvSpPr>
              <p:nvPr/>
            </p:nvSpPr>
            <p:spPr bwMode="auto">
              <a:xfrm>
                <a:off x="3170147" y="3339154"/>
                <a:ext cx="1319020" cy="1286046"/>
              </a:xfrm>
              <a:custGeom>
                <a:avLst/>
                <a:gdLst>
                  <a:gd name="T0" fmla="*/ 17 w 34"/>
                  <a:gd name="T1" fmla="*/ 0 h 33"/>
                  <a:gd name="T2" fmla="*/ 0 w 34"/>
                  <a:gd name="T3" fmla="*/ 16 h 33"/>
                  <a:gd name="T4" fmla="*/ 17 w 34"/>
                  <a:gd name="T5" fmla="*/ 33 h 33"/>
                  <a:gd name="T6" fmla="*/ 34 w 34"/>
                  <a:gd name="T7" fmla="*/ 16 h 33"/>
                  <a:gd name="T8" fmla="*/ 17 w 34"/>
                  <a:gd name="T9" fmla="*/ 0 h 33"/>
                  <a:gd name="T10" fmla="*/ 17 w 34"/>
                  <a:gd name="T11" fmla="*/ 25 h 33"/>
                  <a:gd name="T12" fmla="*/ 9 w 34"/>
                  <a:gd name="T13" fmla="*/ 16 h 33"/>
                  <a:gd name="T14" fmla="*/ 17 w 34"/>
                  <a:gd name="T15" fmla="*/ 8 h 33"/>
                  <a:gd name="T16" fmla="*/ 26 w 34"/>
                  <a:gd name="T17" fmla="*/ 16 h 33"/>
                  <a:gd name="T18" fmla="*/ 17 w 34"/>
                  <a:gd name="T19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0"/>
                    </a:moveTo>
                    <a:cubicBezTo>
                      <a:pt x="8" y="0"/>
                      <a:pt x="0" y="7"/>
                      <a:pt x="0" y="16"/>
                    </a:cubicBezTo>
                    <a:cubicBezTo>
                      <a:pt x="0" y="26"/>
                      <a:pt x="8" y="33"/>
                      <a:pt x="17" y="33"/>
                    </a:cubicBezTo>
                    <a:cubicBezTo>
                      <a:pt x="27" y="33"/>
                      <a:pt x="34" y="26"/>
                      <a:pt x="34" y="16"/>
                    </a:cubicBezTo>
                    <a:cubicBezTo>
                      <a:pt x="34" y="7"/>
                      <a:pt x="27" y="0"/>
                      <a:pt x="17" y="0"/>
                    </a:cubicBezTo>
                    <a:close/>
                    <a:moveTo>
                      <a:pt x="17" y="25"/>
                    </a:moveTo>
                    <a:cubicBezTo>
                      <a:pt x="13" y="25"/>
                      <a:pt x="9" y="21"/>
                      <a:pt x="9" y="16"/>
                    </a:cubicBezTo>
                    <a:cubicBezTo>
                      <a:pt x="9" y="12"/>
                      <a:pt x="13" y="8"/>
                      <a:pt x="17" y="8"/>
                    </a:cubicBezTo>
                    <a:cubicBezTo>
                      <a:pt x="22" y="8"/>
                      <a:pt x="26" y="12"/>
                      <a:pt x="26" y="16"/>
                    </a:cubicBezTo>
                    <a:cubicBezTo>
                      <a:pt x="26" y="21"/>
                      <a:pt x="22" y="25"/>
                      <a:pt x="17" y="25"/>
                    </a:cubicBezTo>
                    <a:close/>
                  </a:path>
                </a:pathLst>
              </a:custGeom>
              <a:solidFill>
                <a:srgbClr val="333333">
                  <a:alpha val="85000"/>
                </a:srgb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7" name="Freeform 511"/>
              <p:cNvSpPr>
                <a:spLocks/>
              </p:cNvSpPr>
              <p:nvPr/>
            </p:nvSpPr>
            <p:spPr bwMode="auto">
              <a:xfrm>
                <a:off x="2065472" y="3091826"/>
                <a:ext cx="1022236" cy="741954"/>
              </a:xfrm>
              <a:custGeom>
                <a:avLst/>
                <a:gdLst>
                  <a:gd name="T0" fmla="*/ 26 w 26"/>
                  <a:gd name="T1" fmla="*/ 13 h 19"/>
                  <a:gd name="T2" fmla="*/ 6 w 26"/>
                  <a:gd name="T3" fmla="*/ 0 h 19"/>
                  <a:gd name="T4" fmla="*/ 0 w 26"/>
                  <a:gd name="T5" fmla="*/ 19 h 19"/>
                  <a:gd name="T6" fmla="*/ 24 w 26"/>
                  <a:gd name="T7" fmla="*/ 19 h 19"/>
                  <a:gd name="T8" fmla="*/ 26 w 26"/>
                  <a:gd name="T9" fmla="*/ 1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9">
                    <a:moveTo>
                      <a:pt x="26" y="13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3" y="6"/>
                      <a:pt x="1" y="12"/>
                      <a:pt x="0" y="19"/>
                    </a:cubicBezTo>
                    <a:cubicBezTo>
                      <a:pt x="24" y="19"/>
                      <a:pt x="24" y="19"/>
                      <a:pt x="24" y="19"/>
                    </a:cubicBezTo>
                    <a:cubicBezTo>
                      <a:pt x="25" y="17"/>
                      <a:pt x="25" y="15"/>
                      <a:pt x="26" y="13"/>
                    </a:cubicBezTo>
                    <a:close/>
                  </a:path>
                </a:pathLst>
              </a:custGeom>
              <a:solidFill>
                <a:srgbClr val="5E5E5E">
                  <a:alpha val="71000"/>
                </a:srgb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8" name="Freeform 512"/>
              <p:cNvSpPr>
                <a:spLocks/>
              </p:cNvSpPr>
              <p:nvPr/>
            </p:nvSpPr>
            <p:spPr bwMode="auto">
              <a:xfrm>
                <a:off x="2065472" y="4114063"/>
                <a:ext cx="1220089" cy="1286046"/>
              </a:xfrm>
              <a:custGeom>
                <a:avLst/>
                <a:gdLst>
                  <a:gd name="T0" fmla="*/ 24 w 31"/>
                  <a:gd name="T1" fmla="*/ 0 h 33"/>
                  <a:gd name="T2" fmla="*/ 0 w 31"/>
                  <a:gd name="T3" fmla="*/ 0 h 33"/>
                  <a:gd name="T4" fmla="*/ 20 w 31"/>
                  <a:gd name="T5" fmla="*/ 33 h 33"/>
                  <a:gd name="T6" fmla="*/ 31 w 31"/>
                  <a:gd name="T7" fmla="*/ 12 h 33"/>
                  <a:gd name="T8" fmla="*/ 24 w 31"/>
                  <a:gd name="T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33">
                    <a:moveTo>
                      <a:pt x="24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4"/>
                      <a:pt x="9" y="26"/>
                      <a:pt x="20" y="3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8" y="9"/>
                      <a:pt x="25" y="5"/>
                      <a:pt x="24" y="0"/>
                    </a:cubicBezTo>
                    <a:close/>
                  </a:path>
                </a:pathLst>
              </a:custGeom>
              <a:solidFill>
                <a:srgbClr val="5E5E5E">
                  <a:alpha val="71000"/>
                </a:srgb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9" name="Freeform 513"/>
              <p:cNvSpPr>
                <a:spLocks/>
              </p:cNvSpPr>
              <p:nvPr/>
            </p:nvSpPr>
            <p:spPr bwMode="auto">
              <a:xfrm>
                <a:off x="3054734" y="4542751"/>
                <a:ext cx="2176377" cy="1170633"/>
              </a:xfrm>
              <a:custGeom>
                <a:avLst/>
                <a:gdLst>
                  <a:gd name="T0" fmla="*/ 20 w 56"/>
                  <a:gd name="T1" fmla="*/ 7 h 30"/>
                  <a:gd name="T2" fmla="*/ 12 w 56"/>
                  <a:gd name="T3" fmla="*/ 5 h 30"/>
                  <a:gd name="T4" fmla="*/ 0 w 56"/>
                  <a:gd name="T5" fmla="*/ 26 h 30"/>
                  <a:gd name="T6" fmla="*/ 20 w 56"/>
                  <a:gd name="T7" fmla="*/ 30 h 30"/>
                  <a:gd name="T8" fmla="*/ 56 w 56"/>
                  <a:gd name="T9" fmla="*/ 13 h 30"/>
                  <a:gd name="T10" fmla="*/ 36 w 56"/>
                  <a:gd name="T11" fmla="*/ 0 h 30"/>
                  <a:gd name="T12" fmla="*/ 20 w 56"/>
                  <a:gd name="T13" fmla="*/ 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" h="30">
                    <a:moveTo>
                      <a:pt x="20" y="7"/>
                    </a:moveTo>
                    <a:cubicBezTo>
                      <a:pt x="17" y="7"/>
                      <a:pt x="14" y="6"/>
                      <a:pt x="12" y="5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6" y="29"/>
                      <a:pt x="13" y="30"/>
                      <a:pt x="20" y="30"/>
                    </a:cubicBezTo>
                    <a:cubicBezTo>
                      <a:pt x="35" y="30"/>
                      <a:pt x="48" y="24"/>
                      <a:pt x="56" y="13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2" y="4"/>
                      <a:pt x="27" y="7"/>
                      <a:pt x="20" y="7"/>
                    </a:cubicBezTo>
                    <a:close/>
                  </a:path>
                </a:pathLst>
              </a:custGeom>
              <a:solidFill>
                <a:srgbClr val="C00000">
                  <a:alpha val="71000"/>
                </a:srgb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45" name="文本框 44"/>
            <p:cNvSpPr txBox="1"/>
            <p:nvPr/>
          </p:nvSpPr>
          <p:spPr>
            <a:xfrm>
              <a:off x="4091406" y="3013661"/>
              <a:ext cx="7200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3200" dirty="0" smtClean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A</a:t>
              </a:r>
              <a:endParaRPr lang="zh-CN" altLang="en-US" sz="3200" dirty="0" smtClean="0">
                <a:solidFill>
                  <a:schemeClr val="bg1"/>
                </a:solidFill>
                <a:latin typeface="张海山锐谐体" panose="02000000000000000000" pitchFamily="2" charset="-122"/>
                <a:ea typeface="张海山锐谐体" panose="02000000000000000000" pitchFamily="2" charset="-122"/>
              </a:endParaRPr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4297514" y="4035907"/>
              <a:ext cx="72008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3200" dirty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B</a:t>
              </a:r>
              <a:endParaRPr lang="zh-CN" altLang="en-US" sz="3200" dirty="0" smtClean="0">
                <a:solidFill>
                  <a:schemeClr val="bg1"/>
                </a:solidFill>
                <a:latin typeface="张海山锐谐体" panose="02000000000000000000" pitchFamily="2" charset="-122"/>
                <a:ea typeface="张海山锐谐体" panose="02000000000000000000" pitchFamily="2" charset="-122"/>
              </a:endParaRPr>
            </a:p>
          </p:txBody>
        </p:sp>
        <p:sp>
          <p:nvSpPr>
            <p:cNvPr id="47" name="文本框 46"/>
            <p:cNvSpPr txBox="1"/>
            <p:nvPr/>
          </p:nvSpPr>
          <p:spPr>
            <a:xfrm>
              <a:off x="5688031" y="4530548"/>
              <a:ext cx="72008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4000" dirty="0">
                  <a:solidFill>
                    <a:schemeClr val="bg1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C</a:t>
              </a:r>
            </a:p>
          </p:txBody>
        </p:sp>
      </p:grpSp>
      <p:sp>
        <p:nvSpPr>
          <p:cNvPr id="54" name="任意多边形 53"/>
          <p:cNvSpPr/>
          <p:nvPr/>
        </p:nvSpPr>
        <p:spPr>
          <a:xfrm>
            <a:off x="2282403" y="3014092"/>
            <a:ext cx="2157413" cy="342900"/>
          </a:xfrm>
          <a:custGeom>
            <a:avLst/>
            <a:gdLst>
              <a:gd name="connsiteX0" fmla="*/ 2157413 w 2157413"/>
              <a:gd name="connsiteY0" fmla="*/ 342900 h 342900"/>
              <a:gd name="connsiteX1" fmla="*/ 0 w 2157413"/>
              <a:gd name="connsiteY1" fmla="*/ 342900 h 342900"/>
              <a:gd name="connsiteX2" fmla="*/ 0 w 2157413"/>
              <a:gd name="connsiteY2" fmla="*/ 0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157413" h="342900">
                <a:moveTo>
                  <a:pt x="2157413" y="342900"/>
                </a:moveTo>
                <a:lnTo>
                  <a:pt x="0" y="342900"/>
                </a:lnTo>
                <a:lnTo>
                  <a:pt x="0" y="0"/>
                </a:lnTo>
              </a:path>
            </a:pathLst>
          </a:custGeom>
          <a:noFill/>
          <a:ln w="15875">
            <a:solidFill>
              <a:schemeClr val="bg1">
                <a:lumMod val="85000"/>
              </a:schemeClr>
            </a:solidFill>
            <a:headEnd w="lg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任意多边形 54"/>
          <p:cNvSpPr/>
          <p:nvPr/>
        </p:nvSpPr>
        <p:spPr>
          <a:xfrm>
            <a:off x="2984203" y="4165905"/>
            <a:ext cx="1671637" cy="371475"/>
          </a:xfrm>
          <a:custGeom>
            <a:avLst/>
            <a:gdLst>
              <a:gd name="connsiteX0" fmla="*/ 1671637 w 1671637"/>
              <a:gd name="connsiteY0" fmla="*/ 0 h 371475"/>
              <a:gd name="connsiteX1" fmla="*/ 0 w 1671637"/>
              <a:gd name="connsiteY1" fmla="*/ 0 h 371475"/>
              <a:gd name="connsiteX2" fmla="*/ 0 w 1671637"/>
              <a:gd name="connsiteY2" fmla="*/ 371475 h 37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71637" h="371475">
                <a:moveTo>
                  <a:pt x="1671637" y="0"/>
                </a:moveTo>
                <a:lnTo>
                  <a:pt x="0" y="0"/>
                </a:lnTo>
                <a:lnTo>
                  <a:pt x="0" y="371475"/>
                </a:lnTo>
              </a:path>
            </a:pathLst>
          </a:custGeom>
          <a:noFill/>
          <a:ln w="15875">
            <a:solidFill>
              <a:schemeClr val="bg1">
                <a:lumMod val="85000"/>
              </a:schemeClr>
            </a:solidFill>
            <a:headEnd w="lg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4" name="组合 63"/>
          <p:cNvGrpSpPr/>
          <p:nvPr/>
        </p:nvGrpSpPr>
        <p:grpSpPr>
          <a:xfrm>
            <a:off x="8537506" y="1663806"/>
            <a:ext cx="2765693" cy="2356332"/>
            <a:chOff x="8631938" y="1669024"/>
            <a:chExt cx="2765693" cy="2356332"/>
          </a:xfrm>
        </p:grpSpPr>
        <p:sp>
          <p:nvSpPr>
            <p:cNvPr id="57" name="矩形 1"/>
            <p:cNvSpPr>
              <a:spLocks noChangeArrowheads="1"/>
            </p:cNvSpPr>
            <p:nvPr/>
          </p:nvSpPr>
          <p:spPr bwMode="auto">
            <a:xfrm>
              <a:off x="8631938" y="2317196"/>
              <a:ext cx="2765693" cy="17081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>
                <a:lnSpc>
                  <a:spcPct val="150000"/>
                </a:lnSpc>
              </a:pP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</a:t>
              </a:r>
              <a:r>
                <a:rPr lang="zh-CN" altLang="zh-CN" sz="1400" dirty="0" smtClean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拥有国内顶尖的</a:t>
              </a:r>
              <a:r>
                <a:rPr lang="en-US" altLang="zh-CN" sz="1400" dirty="0" smtClean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 dirty="0" smtClean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</a:t>
              </a:r>
              <a:r>
                <a:rPr lang="zh-CN" altLang="en-US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、顶级的</a:t>
              </a:r>
              <a:r>
                <a:rPr lang="en-US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en-US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团队坚持精益求精、拒绝平庸的做事精神</a:t>
              </a:r>
              <a:endParaRPr lang="zh-CN" altLang="zh-CN" sz="14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58" name="直接连接符 57"/>
            <p:cNvCxnSpPr/>
            <p:nvPr/>
          </p:nvCxnSpPr>
          <p:spPr bwMode="auto">
            <a:xfrm>
              <a:off x="8719963" y="2159335"/>
              <a:ext cx="2677668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265"/>
            <p:cNvSpPr txBox="1"/>
            <p:nvPr/>
          </p:nvSpPr>
          <p:spPr bwMode="auto">
            <a:xfrm>
              <a:off x="8631938" y="1669024"/>
              <a:ext cx="1569660" cy="461665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>
              <a:defPPr>
                <a:defRPr lang="zh-CN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1600" spc="300">
                  <a:latin typeface="微软雅黑" pitchFamily="34" charset="-122"/>
                  <a:ea typeface="微软雅黑" pitchFamily="34" charset="-122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latin typeface="Calibri" pitchFamily="34" charset="0"/>
                  <a:ea typeface="宋体" pitchFamily="2" charset="-122"/>
                </a:defRPr>
              </a:lvl5pPr>
              <a:lvl6pPr>
                <a:defRPr>
                  <a:latin typeface="Calibri" pitchFamily="34" charset="0"/>
                  <a:ea typeface="宋体" pitchFamily="2" charset="-122"/>
                </a:defRPr>
              </a:lvl6pPr>
              <a:lvl7pPr>
                <a:defRPr>
                  <a:latin typeface="Calibri" pitchFamily="34" charset="0"/>
                  <a:ea typeface="宋体" pitchFamily="2" charset="-122"/>
                </a:defRPr>
              </a:lvl7pPr>
              <a:lvl8pPr>
                <a:defRPr>
                  <a:latin typeface="Calibri" pitchFamily="34" charset="0"/>
                  <a:ea typeface="宋体" pitchFamily="2" charset="-122"/>
                </a:defRPr>
              </a:lvl8pPr>
              <a:lvl9pPr>
                <a:defRPr>
                  <a:latin typeface="Calibri" pitchFamily="34" charset="0"/>
                  <a:ea typeface="宋体" pitchFamily="2" charset="-122"/>
                </a:defRPr>
              </a:lvl9pPr>
            </a:lstStyle>
            <a:p>
              <a:pPr>
                <a:defRPr/>
              </a:pPr>
              <a:r>
                <a:rPr lang="zh-CN" altLang="en-US" sz="2400" dirty="0">
                  <a:solidFill>
                    <a:srgbClr val="C00000"/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添加标题</a:t>
              </a:r>
            </a:p>
          </p:txBody>
        </p:sp>
        <p:sp>
          <p:nvSpPr>
            <p:cNvPr id="61" name="矩形 86"/>
            <p:cNvSpPr>
              <a:spLocks noChangeArrowheads="1"/>
            </p:cNvSpPr>
            <p:nvPr/>
          </p:nvSpPr>
          <p:spPr bwMode="auto">
            <a:xfrm>
              <a:off x="10244751" y="1715190"/>
              <a:ext cx="115288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</a:rPr>
                <a:t>Add a title</a:t>
              </a:r>
              <a:endParaRPr lang="zh-CN" altLang="en-US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cxnSp>
          <p:nvCxnSpPr>
            <p:cNvPr id="62" name="直接连接符 61"/>
            <p:cNvCxnSpPr/>
            <p:nvPr/>
          </p:nvCxnSpPr>
          <p:spPr bwMode="auto">
            <a:xfrm>
              <a:off x="10223175" y="1827625"/>
              <a:ext cx="0" cy="144462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8" name="组合 77"/>
          <p:cNvGrpSpPr/>
          <p:nvPr/>
        </p:nvGrpSpPr>
        <p:grpSpPr>
          <a:xfrm>
            <a:off x="888802" y="1928799"/>
            <a:ext cx="2437611" cy="1068153"/>
            <a:chOff x="1146599" y="1916832"/>
            <a:chExt cx="2437611" cy="1068153"/>
          </a:xfrm>
        </p:grpSpPr>
        <p:sp>
          <p:nvSpPr>
            <p:cNvPr id="66" name="矩形 1"/>
            <p:cNvSpPr>
              <a:spLocks noChangeArrowheads="1"/>
            </p:cNvSpPr>
            <p:nvPr/>
          </p:nvSpPr>
          <p:spPr bwMode="auto">
            <a:xfrm>
              <a:off x="1146599" y="2246321"/>
              <a:ext cx="2437611" cy="738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>
                <a:lnSpc>
                  <a:spcPct val="150000"/>
                </a:lnSpc>
              </a:pP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</a:t>
              </a:r>
              <a:r>
                <a:rPr lang="zh-CN" altLang="zh-CN" sz="1400" dirty="0" smtClean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zh-CN" altLang="zh-CN" sz="14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77" name="组合 76"/>
            <p:cNvGrpSpPr/>
            <p:nvPr/>
          </p:nvGrpSpPr>
          <p:grpSpPr>
            <a:xfrm>
              <a:off x="1168918" y="1916832"/>
              <a:ext cx="2392973" cy="400110"/>
              <a:chOff x="1194579" y="1966869"/>
              <a:chExt cx="2392973" cy="400110"/>
            </a:xfrm>
          </p:grpSpPr>
          <p:sp>
            <p:nvSpPr>
              <p:cNvPr id="68" name="TextBox 265"/>
              <p:cNvSpPr txBox="1"/>
              <p:nvPr/>
            </p:nvSpPr>
            <p:spPr bwMode="auto">
              <a:xfrm>
                <a:off x="1194579" y="1966869"/>
                <a:ext cx="1364476" cy="40011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itchFamily="34" charset="-122"/>
                    <a:ea typeface="微软雅黑" pitchFamily="34" charset="-122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5pPr>
                <a:lvl6pPr>
                  <a:defRPr>
                    <a:latin typeface="Calibri" pitchFamily="34" charset="0"/>
                    <a:ea typeface="宋体" pitchFamily="2" charset="-122"/>
                  </a:defRPr>
                </a:lvl6pPr>
                <a:lvl7pPr>
                  <a:defRPr>
                    <a:latin typeface="Calibri" pitchFamily="34" charset="0"/>
                    <a:ea typeface="宋体" pitchFamily="2" charset="-122"/>
                  </a:defRPr>
                </a:lvl7pPr>
                <a:lvl8pPr>
                  <a:defRPr>
                    <a:latin typeface="Calibri" pitchFamily="34" charset="0"/>
                    <a:ea typeface="宋体" pitchFamily="2" charset="-122"/>
                  </a:defRPr>
                </a:lvl8pPr>
                <a:lvl9pPr>
                  <a:defRPr>
                    <a:latin typeface="Calibri" pitchFamily="34" charset="0"/>
                    <a:ea typeface="宋体" pitchFamily="2" charset="-122"/>
                  </a:defRPr>
                </a:lvl9pPr>
              </a:lstStyle>
              <a:p>
                <a:pPr>
                  <a:defRPr/>
                </a:pPr>
                <a:r>
                  <a:rPr lang="zh-CN" altLang="en-US" sz="2000" dirty="0">
                    <a:solidFill>
                      <a:schemeClr val="bg1">
                        <a:lumMod val="65000"/>
                      </a:schemeClr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添加标题</a:t>
                </a:r>
              </a:p>
            </p:txBody>
          </p:sp>
          <p:sp>
            <p:nvSpPr>
              <p:cNvPr id="69" name="矩形 86"/>
              <p:cNvSpPr>
                <a:spLocks noChangeArrowheads="1"/>
              </p:cNvSpPr>
              <p:nvPr/>
            </p:nvSpPr>
            <p:spPr bwMode="auto">
              <a:xfrm>
                <a:off x="2545279" y="1997647"/>
                <a:ext cx="1042273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en-US" altLang="zh-CN" sz="1600" dirty="0">
                    <a:solidFill>
                      <a:schemeClr val="bg1">
                        <a:lumMod val="95000"/>
                      </a:schemeClr>
                    </a:solidFill>
                  </a:rPr>
                  <a:t>Add a title</a:t>
                </a:r>
                <a:endParaRPr lang="zh-CN" altLang="en-US" sz="1600" dirty="0">
                  <a:solidFill>
                    <a:schemeClr val="bg1">
                      <a:lumMod val="95000"/>
                    </a:schemeClr>
                  </a:solidFill>
                </a:endParaRPr>
              </a:p>
            </p:txBody>
          </p:sp>
          <p:cxnSp>
            <p:nvCxnSpPr>
              <p:cNvPr id="70" name="直接连接符 69"/>
              <p:cNvCxnSpPr/>
              <p:nvPr/>
            </p:nvCxnSpPr>
            <p:spPr bwMode="auto">
              <a:xfrm>
                <a:off x="2552167" y="2094693"/>
                <a:ext cx="0" cy="144462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9" name="组合 78"/>
          <p:cNvGrpSpPr/>
          <p:nvPr/>
        </p:nvGrpSpPr>
        <p:grpSpPr>
          <a:xfrm>
            <a:off x="1337838" y="4827391"/>
            <a:ext cx="2437611" cy="1068153"/>
            <a:chOff x="1146599" y="1916832"/>
            <a:chExt cx="2437611" cy="1068153"/>
          </a:xfrm>
        </p:grpSpPr>
        <p:sp>
          <p:nvSpPr>
            <p:cNvPr id="80" name="矩形 1"/>
            <p:cNvSpPr>
              <a:spLocks noChangeArrowheads="1"/>
            </p:cNvSpPr>
            <p:nvPr/>
          </p:nvSpPr>
          <p:spPr bwMode="auto">
            <a:xfrm>
              <a:off x="1146599" y="2246321"/>
              <a:ext cx="2437611" cy="738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>
                <a:lnSpc>
                  <a:spcPct val="150000"/>
                </a:lnSpc>
              </a:pP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sz="14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</a:t>
              </a:r>
              <a:r>
                <a:rPr lang="zh-CN" altLang="zh-CN" sz="1400" dirty="0" smtClean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  <a:endParaRPr lang="zh-CN" altLang="zh-CN" sz="1400" dirty="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81" name="组合 80"/>
            <p:cNvGrpSpPr/>
            <p:nvPr/>
          </p:nvGrpSpPr>
          <p:grpSpPr>
            <a:xfrm>
              <a:off x="1168918" y="1916832"/>
              <a:ext cx="2392973" cy="400110"/>
              <a:chOff x="1194579" y="1966869"/>
              <a:chExt cx="2392973" cy="400110"/>
            </a:xfrm>
          </p:grpSpPr>
          <p:sp>
            <p:nvSpPr>
              <p:cNvPr id="82" name="TextBox 265"/>
              <p:cNvSpPr txBox="1"/>
              <p:nvPr/>
            </p:nvSpPr>
            <p:spPr bwMode="auto">
              <a:xfrm>
                <a:off x="1194579" y="1966869"/>
                <a:ext cx="1364476" cy="400110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itchFamily="34" charset="-122"/>
                    <a:ea typeface="微软雅黑" pitchFamily="34" charset="-122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5pPr>
                <a:lvl6pPr>
                  <a:defRPr>
                    <a:latin typeface="Calibri" pitchFamily="34" charset="0"/>
                    <a:ea typeface="宋体" pitchFamily="2" charset="-122"/>
                  </a:defRPr>
                </a:lvl6pPr>
                <a:lvl7pPr>
                  <a:defRPr>
                    <a:latin typeface="Calibri" pitchFamily="34" charset="0"/>
                    <a:ea typeface="宋体" pitchFamily="2" charset="-122"/>
                  </a:defRPr>
                </a:lvl7pPr>
                <a:lvl8pPr>
                  <a:defRPr>
                    <a:latin typeface="Calibri" pitchFamily="34" charset="0"/>
                    <a:ea typeface="宋体" pitchFamily="2" charset="-122"/>
                  </a:defRPr>
                </a:lvl8pPr>
                <a:lvl9pPr>
                  <a:defRPr>
                    <a:latin typeface="Calibri" pitchFamily="34" charset="0"/>
                    <a:ea typeface="宋体" pitchFamily="2" charset="-122"/>
                  </a:defRPr>
                </a:lvl9pPr>
              </a:lstStyle>
              <a:p>
                <a:pPr>
                  <a:defRPr/>
                </a:pPr>
                <a:r>
                  <a:rPr lang="zh-CN" altLang="en-US" sz="2000" dirty="0">
                    <a:solidFill>
                      <a:schemeClr val="bg1">
                        <a:lumMod val="65000"/>
                      </a:schemeClr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添加标题</a:t>
                </a:r>
              </a:p>
            </p:txBody>
          </p:sp>
          <p:sp>
            <p:nvSpPr>
              <p:cNvPr id="83" name="矩形 86"/>
              <p:cNvSpPr>
                <a:spLocks noChangeArrowheads="1"/>
              </p:cNvSpPr>
              <p:nvPr/>
            </p:nvSpPr>
            <p:spPr bwMode="auto">
              <a:xfrm>
                <a:off x="2545279" y="1997647"/>
                <a:ext cx="1042273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en-US" altLang="zh-CN" sz="1600" dirty="0">
                    <a:solidFill>
                      <a:schemeClr val="bg1">
                        <a:lumMod val="95000"/>
                      </a:schemeClr>
                    </a:solidFill>
                  </a:rPr>
                  <a:t>Add a title</a:t>
                </a:r>
                <a:endParaRPr lang="zh-CN" altLang="en-US" sz="1600" dirty="0">
                  <a:solidFill>
                    <a:schemeClr val="bg1">
                      <a:lumMod val="95000"/>
                    </a:schemeClr>
                  </a:solidFill>
                </a:endParaRPr>
              </a:p>
            </p:txBody>
          </p:sp>
          <p:cxnSp>
            <p:nvCxnSpPr>
              <p:cNvPr id="84" name="直接连接符 83"/>
              <p:cNvCxnSpPr/>
              <p:nvPr/>
            </p:nvCxnSpPr>
            <p:spPr bwMode="auto">
              <a:xfrm>
                <a:off x="2552167" y="2094693"/>
                <a:ext cx="0" cy="144462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87" name="任意多边形 86"/>
          <p:cNvSpPr/>
          <p:nvPr/>
        </p:nvSpPr>
        <p:spPr>
          <a:xfrm>
            <a:off x="6886575" y="4157663"/>
            <a:ext cx="2800350" cy="842962"/>
          </a:xfrm>
          <a:custGeom>
            <a:avLst/>
            <a:gdLst>
              <a:gd name="connsiteX0" fmla="*/ 0 w 2800350"/>
              <a:gd name="connsiteY0" fmla="*/ 842962 h 842962"/>
              <a:gd name="connsiteX1" fmla="*/ 2800350 w 2800350"/>
              <a:gd name="connsiteY1" fmla="*/ 842962 h 842962"/>
              <a:gd name="connsiteX2" fmla="*/ 2800350 w 2800350"/>
              <a:gd name="connsiteY2" fmla="*/ 0 h 84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00350" h="842962">
                <a:moveTo>
                  <a:pt x="0" y="842962"/>
                </a:moveTo>
                <a:lnTo>
                  <a:pt x="2800350" y="842962"/>
                </a:lnTo>
                <a:lnTo>
                  <a:pt x="2800350" y="0"/>
                </a:lnTo>
              </a:path>
            </a:pathLst>
          </a:custGeom>
          <a:noFill/>
          <a:ln w="15875">
            <a:solidFill>
              <a:schemeClr val="bg1">
                <a:lumMod val="85000"/>
              </a:schemeClr>
            </a:solidFill>
            <a:headEnd w="lg" len="med"/>
            <a:tailEnd type="oval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xmlns="" val="33592378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6" name="组合 5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8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7" name="文本框 6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6612919" y="2067871"/>
            <a:ext cx="3946987" cy="2402498"/>
            <a:chOff x="6992808" y="2065448"/>
            <a:chExt cx="3946987" cy="2402498"/>
          </a:xfrm>
        </p:grpSpPr>
        <p:sp>
          <p:nvSpPr>
            <p:cNvPr id="11" name="矩形 1"/>
            <p:cNvSpPr>
              <a:spLocks noChangeArrowheads="1"/>
            </p:cNvSpPr>
            <p:nvPr/>
          </p:nvSpPr>
          <p:spPr bwMode="auto">
            <a:xfrm>
              <a:off x="6992808" y="2713620"/>
              <a:ext cx="3946987" cy="17543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>
                <a:lnSpc>
                  <a:spcPct val="150000"/>
                </a:lnSpc>
              </a:pP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锐普广告有限公司是中国第一家精品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机构。拥有国内顶尖的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制作技术、顶级的</a:t>
              </a:r>
              <a:r>
                <a:rPr lang="en-US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PT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设计</a:t>
              </a:r>
              <a:r>
                <a:rPr lang="zh-CN" altLang="zh-CN" dirty="0" smtClean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团队坚持</a:t>
              </a:r>
              <a:r>
                <a:rPr lang="zh-CN" altLang="zh-CN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精益求精、拒绝平庸的做事精神。</a:t>
              </a:r>
            </a:p>
          </p:txBody>
        </p:sp>
        <p:cxnSp>
          <p:nvCxnSpPr>
            <p:cNvPr id="12" name="直接连接符 11"/>
            <p:cNvCxnSpPr/>
            <p:nvPr/>
          </p:nvCxnSpPr>
          <p:spPr bwMode="auto">
            <a:xfrm>
              <a:off x="7080833" y="2555759"/>
              <a:ext cx="3770937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组合 12"/>
            <p:cNvGrpSpPr/>
            <p:nvPr/>
          </p:nvGrpSpPr>
          <p:grpSpPr>
            <a:xfrm>
              <a:off x="6992808" y="2065448"/>
              <a:ext cx="2765693" cy="461665"/>
              <a:chOff x="940613" y="2146509"/>
              <a:chExt cx="2765693" cy="461665"/>
            </a:xfrm>
          </p:grpSpPr>
          <p:sp>
            <p:nvSpPr>
              <p:cNvPr id="14" name="TextBox 265"/>
              <p:cNvSpPr txBox="1"/>
              <p:nvPr/>
            </p:nvSpPr>
            <p:spPr bwMode="auto">
              <a:xfrm>
                <a:off x="940613" y="2146509"/>
                <a:ext cx="1569660" cy="461665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>
                <a:defPPr>
                  <a:defRPr lang="zh-CN"/>
                </a:defPPr>
                <a:lvl1pPr fontAlgn="auto">
                  <a:spcBef>
                    <a:spcPts val="0"/>
                  </a:spcBef>
                  <a:spcAft>
                    <a:spcPts val="0"/>
                  </a:spcAft>
                  <a:defRPr sz="1600" spc="300">
                    <a:latin typeface="微软雅黑" pitchFamily="34" charset="-122"/>
                    <a:ea typeface="微软雅黑" pitchFamily="34" charset="-122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latin typeface="Calibri" pitchFamily="34" charset="0"/>
                    <a:ea typeface="宋体" pitchFamily="2" charset="-122"/>
                  </a:defRPr>
                </a:lvl5pPr>
                <a:lvl6pPr>
                  <a:defRPr>
                    <a:latin typeface="Calibri" pitchFamily="34" charset="0"/>
                    <a:ea typeface="宋体" pitchFamily="2" charset="-122"/>
                  </a:defRPr>
                </a:lvl6pPr>
                <a:lvl7pPr>
                  <a:defRPr>
                    <a:latin typeface="Calibri" pitchFamily="34" charset="0"/>
                    <a:ea typeface="宋体" pitchFamily="2" charset="-122"/>
                  </a:defRPr>
                </a:lvl7pPr>
                <a:lvl8pPr>
                  <a:defRPr>
                    <a:latin typeface="Calibri" pitchFamily="34" charset="0"/>
                    <a:ea typeface="宋体" pitchFamily="2" charset="-122"/>
                  </a:defRPr>
                </a:lvl8pPr>
                <a:lvl9pPr>
                  <a:defRPr>
                    <a:latin typeface="Calibri" pitchFamily="34" charset="0"/>
                    <a:ea typeface="宋体" pitchFamily="2" charset="-122"/>
                  </a:defRPr>
                </a:lvl9pPr>
              </a:lstStyle>
              <a:p>
                <a:pPr>
                  <a:defRPr/>
                </a:pPr>
                <a:r>
                  <a:rPr lang="zh-CN" altLang="en-US" sz="2400" dirty="0">
                    <a:solidFill>
                      <a:srgbClr val="C00000"/>
                    </a:solidFill>
                    <a:latin typeface="张海山锐谐体" panose="02000000000000000000" pitchFamily="2" charset="-122"/>
                    <a:ea typeface="张海山锐谐体" panose="02000000000000000000" pitchFamily="2" charset="-122"/>
                  </a:rPr>
                  <a:t>添加标题</a:t>
                </a:r>
              </a:p>
            </p:txBody>
          </p:sp>
          <p:sp>
            <p:nvSpPr>
              <p:cNvPr id="15" name="矩形 86"/>
              <p:cNvSpPr>
                <a:spLocks noChangeArrowheads="1"/>
              </p:cNvSpPr>
              <p:nvPr/>
            </p:nvSpPr>
            <p:spPr bwMode="auto">
              <a:xfrm>
                <a:off x="2553426" y="2192675"/>
                <a:ext cx="1152880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宋体" panose="02010600030101010101" pitchFamily="2" charset="-122"/>
                  </a:defRPr>
                </a:lvl9pPr>
              </a:lstStyle>
              <a:p>
                <a:r>
                  <a:rPr lang="en-US" altLang="zh-CN" dirty="0">
                    <a:solidFill>
                      <a:schemeClr val="bg1">
                        <a:lumMod val="95000"/>
                      </a:schemeClr>
                    </a:solidFill>
                  </a:rPr>
                  <a:t>Add a title</a:t>
                </a:r>
                <a:endParaRPr lang="zh-CN" altLang="en-US" dirty="0">
                  <a:solidFill>
                    <a:schemeClr val="bg1">
                      <a:lumMod val="95000"/>
                    </a:schemeClr>
                  </a:solidFill>
                </a:endParaRPr>
              </a:p>
            </p:txBody>
          </p:sp>
          <p:cxnSp>
            <p:nvCxnSpPr>
              <p:cNvPr id="16" name="直接连接符 15"/>
              <p:cNvCxnSpPr/>
              <p:nvPr/>
            </p:nvCxnSpPr>
            <p:spPr bwMode="auto">
              <a:xfrm>
                <a:off x="2531850" y="2305110"/>
                <a:ext cx="0" cy="144462"/>
              </a:xfrm>
              <a:prstGeom prst="line">
                <a:avLst/>
              </a:prstGeom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3" name="组合 42"/>
          <p:cNvGrpSpPr/>
          <p:nvPr/>
        </p:nvGrpSpPr>
        <p:grpSpPr>
          <a:xfrm>
            <a:off x="1632094" y="1748039"/>
            <a:ext cx="3890986" cy="4112274"/>
            <a:chOff x="4367808" y="1809243"/>
            <a:chExt cx="3065190" cy="3239513"/>
          </a:xfrm>
        </p:grpSpPr>
        <p:sp>
          <p:nvSpPr>
            <p:cNvPr id="2" name="Freeform 213"/>
            <p:cNvSpPr>
              <a:spLocks/>
            </p:cNvSpPr>
            <p:nvPr/>
          </p:nvSpPr>
          <p:spPr bwMode="auto">
            <a:xfrm>
              <a:off x="4367808" y="2056206"/>
              <a:ext cx="1714180" cy="2992550"/>
            </a:xfrm>
            <a:custGeom>
              <a:avLst/>
              <a:gdLst>
                <a:gd name="T0" fmla="*/ 49 w 50"/>
                <a:gd name="T1" fmla="*/ 82 h 87"/>
                <a:gd name="T2" fmla="*/ 42 w 50"/>
                <a:gd name="T3" fmla="*/ 82 h 87"/>
                <a:gd name="T4" fmla="*/ 34 w 50"/>
                <a:gd name="T5" fmla="*/ 74 h 87"/>
                <a:gd name="T6" fmla="*/ 34 w 50"/>
                <a:gd name="T7" fmla="*/ 63 h 87"/>
                <a:gd name="T8" fmla="*/ 34 w 50"/>
                <a:gd name="T9" fmla="*/ 62 h 87"/>
                <a:gd name="T10" fmla="*/ 34 w 50"/>
                <a:gd name="T11" fmla="*/ 62 h 87"/>
                <a:gd name="T12" fmla="*/ 34 w 50"/>
                <a:gd name="T13" fmla="*/ 57 h 87"/>
                <a:gd name="T14" fmla="*/ 26 w 50"/>
                <a:gd name="T15" fmla="*/ 57 h 87"/>
                <a:gd name="T16" fmla="*/ 20 w 50"/>
                <a:gd name="T17" fmla="*/ 56 h 87"/>
                <a:gd name="T18" fmla="*/ 19 w 50"/>
                <a:gd name="T19" fmla="*/ 56 h 87"/>
                <a:gd name="T20" fmla="*/ 19 w 50"/>
                <a:gd name="T21" fmla="*/ 56 h 87"/>
                <a:gd name="T22" fmla="*/ 17 w 50"/>
                <a:gd name="T23" fmla="*/ 54 h 87"/>
                <a:gd name="T24" fmla="*/ 13 w 50"/>
                <a:gd name="T25" fmla="*/ 48 h 87"/>
                <a:gd name="T26" fmla="*/ 16 w 50"/>
                <a:gd name="T27" fmla="*/ 40 h 87"/>
                <a:gd name="T28" fmla="*/ 19 w 50"/>
                <a:gd name="T29" fmla="*/ 35 h 87"/>
                <a:gd name="T30" fmla="*/ 19 w 50"/>
                <a:gd name="T31" fmla="*/ 34 h 87"/>
                <a:gd name="T32" fmla="*/ 20 w 50"/>
                <a:gd name="T33" fmla="*/ 33 h 87"/>
                <a:gd name="T34" fmla="*/ 20 w 50"/>
                <a:gd name="T35" fmla="*/ 33 h 87"/>
                <a:gd name="T36" fmla="*/ 23 w 50"/>
                <a:gd name="T37" fmla="*/ 28 h 87"/>
                <a:gd name="T38" fmla="*/ 24 w 50"/>
                <a:gd name="T39" fmla="*/ 27 h 87"/>
                <a:gd name="T40" fmla="*/ 24 w 50"/>
                <a:gd name="T41" fmla="*/ 26 h 87"/>
                <a:gd name="T42" fmla="*/ 38 w 50"/>
                <a:gd name="T43" fmla="*/ 4 h 87"/>
                <a:gd name="T44" fmla="*/ 39 w 50"/>
                <a:gd name="T45" fmla="*/ 3 h 87"/>
                <a:gd name="T46" fmla="*/ 39 w 50"/>
                <a:gd name="T47" fmla="*/ 2 h 87"/>
                <a:gd name="T48" fmla="*/ 39 w 50"/>
                <a:gd name="T49" fmla="*/ 2 h 87"/>
                <a:gd name="T50" fmla="*/ 35 w 50"/>
                <a:gd name="T51" fmla="*/ 0 h 87"/>
                <a:gd name="T52" fmla="*/ 27 w 50"/>
                <a:gd name="T53" fmla="*/ 5 h 87"/>
                <a:gd name="T54" fmla="*/ 21 w 50"/>
                <a:gd name="T55" fmla="*/ 15 h 87"/>
                <a:gd name="T56" fmla="*/ 7 w 50"/>
                <a:gd name="T57" fmla="*/ 40 h 87"/>
                <a:gd name="T58" fmla="*/ 1 w 50"/>
                <a:gd name="T59" fmla="*/ 49 h 87"/>
                <a:gd name="T60" fmla="*/ 0 w 50"/>
                <a:gd name="T61" fmla="*/ 55 h 87"/>
                <a:gd name="T62" fmla="*/ 2 w 50"/>
                <a:gd name="T63" fmla="*/ 61 h 87"/>
                <a:gd name="T64" fmla="*/ 9 w 50"/>
                <a:gd name="T65" fmla="*/ 63 h 87"/>
                <a:gd name="T66" fmla="*/ 19 w 50"/>
                <a:gd name="T67" fmla="*/ 63 h 87"/>
                <a:gd name="T68" fmla="*/ 19 w 50"/>
                <a:gd name="T69" fmla="*/ 80 h 87"/>
                <a:gd name="T70" fmla="*/ 25 w 50"/>
                <a:gd name="T71" fmla="*/ 87 h 87"/>
                <a:gd name="T72" fmla="*/ 44 w 50"/>
                <a:gd name="T73" fmla="*/ 87 h 87"/>
                <a:gd name="T74" fmla="*/ 50 w 50"/>
                <a:gd name="T75" fmla="*/ 82 h 87"/>
                <a:gd name="T76" fmla="*/ 50 w 50"/>
                <a:gd name="T77" fmla="*/ 82 h 87"/>
                <a:gd name="T78" fmla="*/ 49 w 50"/>
                <a:gd name="T79" fmla="*/ 8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0" h="87">
                  <a:moveTo>
                    <a:pt x="49" y="82"/>
                  </a:moveTo>
                  <a:cubicBezTo>
                    <a:pt x="42" y="82"/>
                    <a:pt x="42" y="82"/>
                    <a:pt x="42" y="82"/>
                  </a:cubicBezTo>
                  <a:cubicBezTo>
                    <a:pt x="38" y="82"/>
                    <a:pt x="34" y="78"/>
                    <a:pt x="34" y="74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26" y="57"/>
                    <a:pt x="26" y="57"/>
                    <a:pt x="26" y="57"/>
                  </a:cubicBezTo>
                  <a:cubicBezTo>
                    <a:pt x="24" y="57"/>
                    <a:pt x="22" y="57"/>
                    <a:pt x="20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8" y="55"/>
                    <a:pt x="17" y="55"/>
                    <a:pt x="17" y="54"/>
                  </a:cubicBezTo>
                  <a:cubicBezTo>
                    <a:pt x="15" y="53"/>
                    <a:pt x="13" y="50"/>
                    <a:pt x="13" y="48"/>
                  </a:cubicBezTo>
                  <a:cubicBezTo>
                    <a:pt x="13" y="45"/>
                    <a:pt x="14" y="43"/>
                    <a:pt x="16" y="40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1" y="31"/>
                    <a:pt x="22" y="30"/>
                    <a:pt x="23" y="28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9" y="19"/>
                    <a:pt x="34" y="10"/>
                    <a:pt x="38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8" y="1"/>
                    <a:pt x="36" y="0"/>
                    <a:pt x="35" y="0"/>
                  </a:cubicBezTo>
                  <a:cubicBezTo>
                    <a:pt x="32" y="0"/>
                    <a:pt x="29" y="2"/>
                    <a:pt x="27" y="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17" y="22"/>
                    <a:pt x="11" y="33"/>
                    <a:pt x="7" y="40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52"/>
                    <a:pt x="0" y="54"/>
                    <a:pt x="0" y="55"/>
                  </a:cubicBezTo>
                  <a:cubicBezTo>
                    <a:pt x="0" y="58"/>
                    <a:pt x="1" y="60"/>
                    <a:pt x="2" y="61"/>
                  </a:cubicBezTo>
                  <a:cubicBezTo>
                    <a:pt x="4" y="62"/>
                    <a:pt x="6" y="63"/>
                    <a:pt x="9" y="63"/>
                  </a:cubicBezTo>
                  <a:cubicBezTo>
                    <a:pt x="19" y="63"/>
                    <a:pt x="19" y="63"/>
                    <a:pt x="19" y="63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19" y="84"/>
                    <a:pt x="22" y="87"/>
                    <a:pt x="25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7" y="87"/>
                    <a:pt x="49" y="85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lnTo>
                    <a:pt x="49" y="82"/>
                  </a:lnTo>
                  <a:close/>
                </a:path>
              </a:pathLst>
            </a:custGeom>
            <a:solidFill>
              <a:schemeClr val="bg1">
                <a:alpha val="43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" name="Freeform 214"/>
            <p:cNvSpPr>
              <a:spLocks/>
            </p:cNvSpPr>
            <p:nvPr/>
          </p:nvSpPr>
          <p:spPr bwMode="auto">
            <a:xfrm>
              <a:off x="4919832" y="1809243"/>
              <a:ext cx="2513166" cy="2963496"/>
            </a:xfrm>
            <a:custGeom>
              <a:avLst/>
              <a:gdLst>
                <a:gd name="T0" fmla="*/ 71 w 73"/>
                <a:gd name="T1" fmla="*/ 49 h 86"/>
                <a:gd name="T2" fmla="*/ 71 w 73"/>
                <a:gd name="T3" fmla="*/ 49 h 86"/>
                <a:gd name="T4" fmla="*/ 66 w 73"/>
                <a:gd name="T5" fmla="*/ 41 h 86"/>
                <a:gd name="T6" fmla="*/ 49 w 73"/>
                <a:gd name="T7" fmla="*/ 12 h 86"/>
                <a:gd name="T8" fmla="*/ 44 w 73"/>
                <a:gd name="T9" fmla="*/ 5 h 86"/>
                <a:gd name="T10" fmla="*/ 36 w 73"/>
                <a:gd name="T11" fmla="*/ 0 h 86"/>
                <a:gd name="T12" fmla="*/ 29 w 73"/>
                <a:gd name="T13" fmla="*/ 5 h 86"/>
                <a:gd name="T14" fmla="*/ 25 w 73"/>
                <a:gd name="T15" fmla="*/ 11 h 86"/>
                <a:gd name="T16" fmla="*/ 25 w 73"/>
                <a:gd name="T17" fmla="*/ 11 h 86"/>
                <a:gd name="T18" fmla="*/ 25 w 73"/>
                <a:gd name="T19" fmla="*/ 12 h 86"/>
                <a:gd name="T20" fmla="*/ 24 w 73"/>
                <a:gd name="T21" fmla="*/ 12 h 86"/>
                <a:gd name="T22" fmla="*/ 12 w 73"/>
                <a:gd name="T23" fmla="*/ 33 h 86"/>
                <a:gd name="T24" fmla="*/ 11 w 73"/>
                <a:gd name="T25" fmla="*/ 34 h 86"/>
                <a:gd name="T26" fmla="*/ 11 w 73"/>
                <a:gd name="T27" fmla="*/ 34 h 86"/>
                <a:gd name="T28" fmla="*/ 7 w 73"/>
                <a:gd name="T29" fmla="*/ 41 h 86"/>
                <a:gd name="T30" fmla="*/ 4 w 73"/>
                <a:gd name="T31" fmla="*/ 46 h 86"/>
                <a:gd name="T32" fmla="*/ 3 w 73"/>
                <a:gd name="T33" fmla="*/ 47 h 86"/>
                <a:gd name="T34" fmla="*/ 3 w 73"/>
                <a:gd name="T35" fmla="*/ 48 h 86"/>
                <a:gd name="T36" fmla="*/ 2 w 73"/>
                <a:gd name="T37" fmla="*/ 49 h 86"/>
                <a:gd name="T38" fmla="*/ 0 w 73"/>
                <a:gd name="T39" fmla="*/ 55 h 86"/>
                <a:gd name="T40" fmla="*/ 3 w 73"/>
                <a:gd name="T41" fmla="*/ 59 h 86"/>
                <a:gd name="T42" fmla="*/ 3 w 73"/>
                <a:gd name="T43" fmla="*/ 60 h 86"/>
                <a:gd name="T44" fmla="*/ 4 w 73"/>
                <a:gd name="T45" fmla="*/ 60 h 86"/>
                <a:gd name="T46" fmla="*/ 10 w 73"/>
                <a:gd name="T47" fmla="*/ 61 h 86"/>
                <a:gd name="T48" fmla="*/ 19 w 73"/>
                <a:gd name="T49" fmla="*/ 61 h 86"/>
                <a:gd name="T50" fmla="*/ 20 w 73"/>
                <a:gd name="T51" fmla="*/ 61 h 86"/>
                <a:gd name="T52" fmla="*/ 21 w 73"/>
                <a:gd name="T53" fmla="*/ 61 h 86"/>
                <a:gd name="T54" fmla="*/ 21 w 73"/>
                <a:gd name="T55" fmla="*/ 69 h 86"/>
                <a:gd name="T56" fmla="*/ 21 w 73"/>
                <a:gd name="T57" fmla="*/ 69 h 86"/>
                <a:gd name="T58" fmla="*/ 21 w 73"/>
                <a:gd name="T59" fmla="*/ 70 h 86"/>
                <a:gd name="T60" fmla="*/ 21 w 73"/>
                <a:gd name="T61" fmla="*/ 81 h 86"/>
                <a:gd name="T62" fmla="*/ 26 w 73"/>
                <a:gd name="T63" fmla="*/ 86 h 86"/>
                <a:gd name="T64" fmla="*/ 33 w 73"/>
                <a:gd name="T65" fmla="*/ 86 h 86"/>
                <a:gd name="T66" fmla="*/ 34 w 73"/>
                <a:gd name="T67" fmla="*/ 86 h 86"/>
                <a:gd name="T68" fmla="*/ 35 w 73"/>
                <a:gd name="T69" fmla="*/ 86 h 86"/>
                <a:gd name="T70" fmla="*/ 47 w 73"/>
                <a:gd name="T71" fmla="*/ 86 h 86"/>
                <a:gd name="T72" fmla="*/ 52 w 73"/>
                <a:gd name="T73" fmla="*/ 81 h 86"/>
                <a:gd name="T74" fmla="*/ 52 w 73"/>
                <a:gd name="T75" fmla="*/ 67 h 86"/>
                <a:gd name="T76" fmla="*/ 52 w 73"/>
                <a:gd name="T77" fmla="*/ 66 h 86"/>
                <a:gd name="T78" fmla="*/ 52 w 73"/>
                <a:gd name="T79" fmla="*/ 64 h 86"/>
                <a:gd name="T80" fmla="*/ 52 w 73"/>
                <a:gd name="T81" fmla="*/ 61 h 86"/>
                <a:gd name="T82" fmla="*/ 52 w 73"/>
                <a:gd name="T83" fmla="*/ 61 h 86"/>
                <a:gd name="T84" fmla="*/ 53 w 73"/>
                <a:gd name="T85" fmla="*/ 61 h 86"/>
                <a:gd name="T86" fmla="*/ 53 w 73"/>
                <a:gd name="T87" fmla="*/ 61 h 86"/>
                <a:gd name="T88" fmla="*/ 54 w 73"/>
                <a:gd name="T89" fmla="*/ 61 h 86"/>
                <a:gd name="T90" fmla="*/ 54 w 73"/>
                <a:gd name="T91" fmla="*/ 61 h 86"/>
                <a:gd name="T92" fmla="*/ 63 w 73"/>
                <a:gd name="T93" fmla="*/ 61 h 86"/>
                <a:gd name="T94" fmla="*/ 73 w 73"/>
                <a:gd name="T95" fmla="*/ 55 h 86"/>
                <a:gd name="T96" fmla="*/ 71 w 73"/>
                <a:gd name="T97" fmla="*/ 49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3" h="86">
                  <a:moveTo>
                    <a:pt x="71" y="49"/>
                  </a:moveTo>
                  <a:cubicBezTo>
                    <a:pt x="71" y="49"/>
                    <a:pt x="71" y="49"/>
                    <a:pt x="71" y="49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1" y="33"/>
                    <a:pt x="53" y="20"/>
                    <a:pt x="49" y="12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2" y="1"/>
                    <a:pt x="39" y="0"/>
                    <a:pt x="36" y="0"/>
                  </a:cubicBezTo>
                  <a:cubicBezTo>
                    <a:pt x="34" y="0"/>
                    <a:pt x="31" y="1"/>
                    <a:pt x="29" y="5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1" y="18"/>
                    <a:pt x="16" y="26"/>
                    <a:pt x="12" y="33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9" y="37"/>
                    <a:pt x="8" y="39"/>
                    <a:pt x="7" y="41"/>
                  </a:cubicBezTo>
                  <a:cubicBezTo>
                    <a:pt x="4" y="46"/>
                    <a:pt x="4" y="46"/>
                    <a:pt x="4" y="46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1" y="51"/>
                    <a:pt x="0" y="53"/>
                    <a:pt x="0" y="55"/>
                  </a:cubicBezTo>
                  <a:cubicBezTo>
                    <a:pt x="0" y="56"/>
                    <a:pt x="1" y="58"/>
                    <a:pt x="3" y="59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6" y="61"/>
                    <a:pt x="7" y="61"/>
                    <a:pt x="10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1" y="61"/>
                    <a:pt x="21" y="61"/>
                    <a:pt x="21" y="61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4"/>
                    <a:pt x="23" y="86"/>
                    <a:pt x="26" y="86"/>
                  </a:cubicBezTo>
                  <a:cubicBezTo>
                    <a:pt x="33" y="86"/>
                    <a:pt x="33" y="86"/>
                    <a:pt x="33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5" y="86"/>
                    <a:pt x="35" y="86"/>
                    <a:pt x="35" y="86"/>
                  </a:cubicBezTo>
                  <a:cubicBezTo>
                    <a:pt x="47" y="86"/>
                    <a:pt x="47" y="86"/>
                    <a:pt x="47" y="86"/>
                  </a:cubicBezTo>
                  <a:cubicBezTo>
                    <a:pt x="50" y="86"/>
                    <a:pt x="52" y="84"/>
                    <a:pt x="52" y="81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70" y="61"/>
                    <a:pt x="73" y="58"/>
                    <a:pt x="73" y="55"/>
                  </a:cubicBezTo>
                  <a:cubicBezTo>
                    <a:pt x="73" y="53"/>
                    <a:pt x="72" y="51"/>
                    <a:pt x="71" y="49"/>
                  </a:cubicBezTo>
                  <a:close/>
                </a:path>
              </a:pathLst>
            </a:custGeom>
            <a:solidFill>
              <a:srgbClr val="C00000">
                <a:alpha val="77000"/>
              </a:srgb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椭圆 23"/>
            <p:cNvSpPr/>
            <p:nvPr/>
          </p:nvSpPr>
          <p:spPr>
            <a:xfrm>
              <a:off x="5606591" y="2721167"/>
              <a:ext cx="1139648" cy="1139648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3355659" y="3139896"/>
            <a:ext cx="1153179" cy="1716629"/>
            <a:chOff x="6445655" y="3649618"/>
            <a:chExt cx="1153179" cy="1716629"/>
          </a:xfrm>
        </p:grpSpPr>
        <p:sp>
          <p:nvSpPr>
            <p:cNvPr id="31" name="Freeform 5"/>
            <p:cNvSpPr>
              <a:spLocks/>
            </p:cNvSpPr>
            <p:nvPr/>
          </p:nvSpPr>
          <p:spPr bwMode="auto">
            <a:xfrm>
              <a:off x="6445655" y="3856707"/>
              <a:ext cx="290134" cy="400512"/>
            </a:xfrm>
            <a:custGeom>
              <a:avLst/>
              <a:gdLst>
                <a:gd name="T0" fmla="*/ 0 w 268"/>
                <a:gd name="T1" fmla="*/ 232 h 370"/>
                <a:gd name="T2" fmla="*/ 134 w 268"/>
                <a:gd name="T3" fmla="*/ 370 h 370"/>
                <a:gd name="T4" fmla="*/ 268 w 268"/>
                <a:gd name="T5" fmla="*/ 232 h 370"/>
                <a:gd name="T6" fmla="*/ 184 w 268"/>
                <a:gd name="T7" fmla="*/ 105 h 370"/>
                <a:gd name="T8" fmla="*/ 193 w 268"/>
                <a:gd name="T9" fmla="*/ 94 h 370"/>
                <a:gd name="T10" fmla="*/ 228 w 268"/>
                <a:gd name="T11" fmla="*/ 44 h 370"/>
                <a:gd name="T12" fmla="*/ 187 w 268"/>
                <a:gd name="T13" fmla="*/ 48 h 370"/>
                <a:gd name="T14" fmla="*/ 38 w 268"/>
                <a:gd name="T15" fmla="*/ 19 h 370"/>
                <a:gd name="T16" fmla="*/ 91 w 268"/>
                <a:gd name="T17" fmla="*/ 94 h 370"/>
                <a:gd name="T18" fmla="*/ 97 w 268"/>
                <a:gd name="T19" fmla="*/ 101 h 370"/>
                <a:gd name="T20" fmla="*/ 0 w 268"/>
                <a:gd name="T21" fmla="*/ 232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" h="370">
                  <a:moveTo>
                    <a:pt x="0" y="232"/>
                  </a:moveTo>
                  <a:cubicBezTo>
                    <a:pt x="0" y="308"/>
                    <a:pt x="60" y="370"/>
                    <a:pt x="134" y="370"/>
                  </a:cubicBezTo>
                  <a:cubicBezTo>
                    <a:pt x="208" y="370"/>
                    <a:pt x="268" y="308"/>
                    <a:pt x="268" y="232"/>
                  </a:cubicBezTo>
                  <a:cubicBezTo>
                    <a:pt x="268" y="175"/>
                    <a:pt x="233" y="126"/>
                    <a:pt x="184" y="105"/>
                  </a:cubicBezTo>
                  <a:cubicBezTo>
                    <a:pt x="193" y="94"/>
                    <a:pt x="193" y="94"/>
                    <a:pt x="193" y="94"/>
                  </a:cubicBezTo>
                  <a:cubicBezTo>
                    <a:pt x="193" y="94"/>
                    <a:pt x="225" y="47"/>
                    <a:pt x="228" y="44"/>
                  </a:cubicBezTo>
                  <a:cubicBezTo>
                    <a:pt x="233" y="36"/>
                    <a:pt x="241" y="0"/>
                    <a:pt x="187" y="48"/>
                  </a:cubicBezTo>
                  <a:cubicBezTo>
                    <a:pt x="134" y="97"/>
                    <a:pt x="42" y="7"/>
                    <a:pt x="38" y="19"/>
                  </a:cubicBezTo>
                  <a:cubicBezTo>
                    <a:pt x="35" y="31"/>
                    <a:pt x="91" y="94"/>
                    <a:pt x="91" y="94"/>
                  </a:cubicBezTo>
                  <a:cubicBezTo>
                    <a:pt x="97" y="101"/>
                    <a:pt x="97" y="101"/>
                    <a:pt x="97" y="101"/>
                  </a:cubicBezTo>
                  <a:cubicBezTo>
                    <a:pt x="41" y="117"/>
                    <a:pt x="0" y="170"/>
                    <a:pt x="0" y="23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2" name="Freeform 6"/>
            <p:cNvSpPr>
              <a:spLocks/>
            </p:cNvSpPr>
            <p:nvPr/>
          </p:nvSpPr>
          <p:spPr bwMode="auto">
            <a:xfrm>
              <a:off x="6539213" y="4017542"/>
              <a:ext cx="108275" cy="167143"/>
            </a:xfrm>
            <a:custGeom>
              <a:avLst/>
              <a:gdLst>
                <a:gd name="T0" fmla="*/ 42 w 100"/>
                <a:gd name="T1" fmla="*/ 87 h 155"/>
                <a:gd name="T2" fmla="*/ 1 w 100"/>
                <a:gd name="T3" fmla="*/ 52 h 155"/>
                <a:gd name="T4" fmla="*/ 39 w 100"/>
                <a:gd name="T5" fmla="*/ 18 h 155"/>
                <a:gd name="T6" fmla="*/ 39 w 100"/>
                <a:gd name="T7" fmla="*/ 0 h 155"/>
                <a:gd name="T8" fmla="*/ 61 w 100"/>
                <a:gd name="T9" fmla="*/ 0 h 155"/>
                <a:gd name="T10" fmla="*/ 61 w 100"/>
                <a:gd name="T11" fmla="*/ 17 h 155"/>
                <a:gd name="T12" fmla="*/ 94 w 100"/>
                <a:gd name="T13" fmla="*/ 23 h 155"/>
                <a:gd name="T14" fmla="*/ 87 w 100"/>
                <a:gd name="T15" fmla="*/ 45 h 155"/>
                <a:gd name="T16" fmla="*/ 55 w 100"/>
                <a:gd name="T17" fmla="*/ 38 h 155"/>
                <a:gd name="T18" fmla="*/ 36 w 100"/>
                <a:gd name="T19" fmla="*/ 49 h 155"/>
                <a:gd name="T20" fmla="*/ 62 w 100"/>
                <a:gd name="T21" fmla="*/ 65 h 155"/>
                <a:gd name="T22" fmla="*/ 100 w 100"/>
                <a:gd name="T23" fmla="*/ 101 h 155"/>
                <a:gd name="T24" fmla="*/ 60 w 100"/>
                <a:gd name="T25" fmla="*/ 136 h 155"/>
                <a:gd name="T26" fmla="*/ 60 w 100"/>
                <a:gd name="T27" fmla="*/ 155 h 155"/>
                <a:gd name="T28" fmla="*/ 38 w 100"/>
                <a:gd name="T29" fmla="*/ 155 h 155"/>
                <a:gd name="T30" fmla="*/ 38 w 100"/>
                <a:gd name="T31" fmla="*/ 137 h 155"/>
                <a:gd name="T32" fmla="*/ 0 w 100"/>
                <a:gd name="T33" fmla="*/ 129 h 155"/>
                <a:gd name="T34" fmla="*/ 7 w 100"/>
                <a:gd name="T35" fmla="*/ 107 h 155"/>
                <a:gd name="T36" fmla="*/ 44 w 100"/>
                <a:gd name="T37" fmla="*/ 115 h 155"/>
                <a:gd name="T38" fmla="*/ 65 w 100"/>
                <a:gd name="T39" fmla="*/ 103 h 155"/>
                <a:gd name="T40" fmla="*/ 42 w 100"/>
                <a:gd name="T41" fmla="*/ 87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0" h="155">
                  <a:moveTo>
                    <a:pt x="42" y="87"/>
                  </a:moveTo>
                  <a:cubicBezTo>
                    <a:pt x="18" y="80"/>
                    <a:pt x="1" y="71"/>
                    <a:pt x="1" y="52"/>
                  </a:cubicBezTo>
                  <a:cubicBezTo>
                    <a:pt x="1" y="35"/>
                    <a:pt x="15" y="22"/>
                    <a:pt x="39" y="1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76" y="18"/>
                    <a:pt x="86" y="20"/>
                    <a:pt x="94" y="23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1" y="43"/>
                    <a:pt x="71" y="38"/>
                    <a:pt x="55" y="38"/>
                  </a:cubicBezTo>
                  <a:cubicBezTo>
                    <a:pt x="40" y="38"/>
                    <a:pt x="36" y="44"/>
                    <a:pt x="36" y="49"/>
                  </a:cubicBezTo>
                  <a:cubicBezTo>
                    <a:pt x="36" y="55"/>
                    <a:pt x="43" y="59"/>
                    <a:pt x="62" y="65"/>
                  </a:cubicBezTo>
                  <a:cubicBezTo>
                    <a:pt x="89" y="73"/>
                    <a:pt x="100" y="83"/>
                    <a:pt x="100" y="101"/>
                  </a:cubicBezTo>
                  <a:cubicBezTo>
                    <a:pt x="100" y="117"/>
                    <a:pt x="86" y="132"/>
                    <a:pt x="60" y="136"/>
                  </a:cubicBezTo>
                  <a:cubicBezTo>
                    <a:pt x="60" y="155"/>
                    <a:pt x="60" y="155"/>
                    <a:pt x="60" y="155"/>
                  </a:cubicBezTo>
                  <a:cubicBezTo>
                    <a:pt x="38" y="155"/>
                    <a:pt x="38" y="155"/>
                    <a:pt x="38" y="155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23" y="136"/>
                    <a:pt x="8" y="133"/>
                    <a:pt x="0" y="129"/>
                  </a:cubicBezTo>
                  <a:cubicBezTo>
                    <a:pt x="7" y="107"/>
                    <a:pt x="7" y="107"/>
                    <a:pt x="7" y="107"/>
                  </a:cubicBezTo>
                  <a:cubicBezTo>
                    <a:pt x="16" y="111"/>
                    <a:pt x="29" y="115"/>
                    <a:pt x="44" y="115"/>
                  </a:cubicBezTo>
                  <a:cubicBezTo>
                    <a:pt x="57" y="115"/>
                    <a:pt x="65" y="111"/>
                    <a:pt x="65" y="103"/>
                  </a:cubicBezTo>
                  <a:cubicBezTo>
                    <a:pt x="65" y="96"/>
                    <a:pt x="58" y="92"/>
                    <a:pt x="42" y="87"/>
                  </a:cubicBezTo>
                  <a:close/>
                </a:path>
              </a:pathLst>
            </a:custGeom>
            <a:solidFill>
              <a:srgbClr val="33333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3" name="Line 7"/>
            <p:cNvSpPr>
              <a:spLocks noChangeShapeType="1"/>
            </p:cNvSpPr>
            <p:nvPr/>
          </p:nvSpPr>
          <p:spPr bwMode="auto">
            <a:xfrm>
              <a:off x="6585466" y="4111100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4" name="Line 8"/>
            <p:cNvSpPr>
              <a:spLocks noChangeShapeType="1"/>
            </p:cNvSpPr>
            <p:nvPr/>
          </p:nvSpPr>
          <p:spPr bwMode="auto">
            <a:xfrm>
              <a:off x="6585466" y="4111100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5" name="Freeform 9"/>
            <p:cNvSpPr>
              <a:spLocks noEditPoints="1"/>
            </p:cNvSpPr>
            <p:nvPr/>
          </p:nvSpPr>
          <p:spPr bwMode="auto">
            <a:xfrm>
              <a:off x="7280317" y="3939752"/>
              <a:ext cx="318517" cy="317466"/>
            </a:xfrm>
            <a:custGeom>
              <a:avLst/>
              <a:gdLst>
                <a:gd name="T0" fmla="*/ 147 w 294"/>
                <a:gd name="T1" fmla="*/ 0 h 294"/>
                <a:gd name="T2" fmla="*/ 0 w 294"/>
                <a:gd name="T3" fmla="*/ 147 h 294"/>
                <a:gd name="T4" fmla="*/ 147 w 294"/>
                <a:gd name="T5" fmla="*/ 294 h 294"/>
                <a:gd name="T6" fmla="*/ 294 w 294"/>
                <a:gd name="T7" fmla="*/ 147 h 294"/>
                <a:gd name="T8" fmla="*/ 147 w 294"/>
                <a:gd name="T9" fmla="*/ 0 h 294"/>
                <a:gd name="T10" fmla="*/ 147 w 294"/>
                <a:gd name="T11" fmla="*/ 261 h 294"/>
                <a:gd name="T12" fmla="*/ 33 w 294"/>
                <a:gd name="T13" fmla="*/ 147 h 294"/>
                <a:gd name="T14" fmla="*/ 147 w 294"/>
                <a:gd name="T15" fmla="*/ 32 h 294"/>
                <a:gd name="T16" fmla="*/ 262 w 294"/>
                <a:gd name="T17" fmla="*/ 147 h 294"/>
                <a:gd name="T18" fmla="*/ 147 w 294"/>
                <a:gd name="T19" fmla="*/ 261 h 294"/>
                <a:gd name="T20" fmla="*/ 147 w 294"/>
                <a:gd name="T21" fmla="*/ 261 h 294"/>
                <a:gd name="T22" fmla="*/ 147 w 294"/>
                <a:gd name="T23" fmla="*/ 26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4" h="294">
                  <a:moveTo>
                    <a:pt x="147" y="0"/>
                  </a:moveTo>
                  <a:cubicBezTo>
                    <a:pt x="66" y="0"/>
                    <a:pt x="0" y="66"/>
                    <a:pt x="0" y="147"/>
                  </a:cubicBezTo>
                  <a:cubicBezTo>
                    <a:pt x="0" y="228"/>
                    <a:pt x="66" y="294"/>
                    <a:pt x="147" y="294"/>
                  </a:cubicBezTo>
                  <a:cubicBezTo>
                    <a:pt x="228" y="294"/>
                    <a:pt x="294" y="228"/>
                    <a:pt x="294" y="147"/>
                  </a:cubicBezTo>
                  <a:cubicBezTo>
                    <a:pt x="294" y="66"/>
                    <a:pt x="228" y="0"/>
                    <a:pt x="147" y="0"/>
                  </a:cubicBezTo>
                  <a:close/>
                  <a:moveTo>
                    <a:pt x="147" y="261"/>
                  </a:moveTo>
                  <a:cubicBezTo>
                    <a:pt x="84" y="261"/>
                    <a:pt x="33" y="210"/>
                    <a:pt x="33" y="147"/>
                  </a:cubicBezTo>
                  <a:cubicBezTo>
                    <a:pt x="33" y="83"/>
                    <a:pt x="84" y="32"/>
                    <a:pt x="147" y="32"/>
                  </a:cubicBezTo>
                  <a:cubicBezTo>
                    <a:pt x="210" y="32"/>
                    <a:pt x="262" y="83"/>
                    <a:pt x="262" y="147"/>
                  </a:cubicBezTo>
                  <a:cubicBezTo>
                    <a:pt x="262" y="210"/>
                    <a:pt x="210" y="261"/>
                    <a:pt x="147" y="261"/>
                  </a:cubicBezTo>
                  <a:close/>
                  <a:moveTo>
                    <a:pt x="147" y="261"/>
                  </a:moveTo>
                  <a:cubicBezTo>
                    <a:pt x="147" y="261"/>
                    <a:pt x="147" y="261"/>
                    <a:pt x="147" y="26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6" name="Freeform 10"/>
            <p:cNvSpPr>
              <a:spLocks noEditPoints="1"/>
            </p:cNvSpPr>
            <p:nvPr/>
          </p:nvSpPr>
          <p:spPr bwMode="auto">
            <a:xfrm>
              <a:off x="7333929" y="4041720"/>
              <a:ext cx="213396" cy="81995"/>
            </a:xfrm>
            <a:custGeom>
              <a:avLst/>
              <a:gdLst>
                <a:gd name="T0" fmla="*/ 192 w 197"/>
                <a:gd name="T1" fmla="*/ 11 h 76"/>
                <a:gd name="T2" fmla="*/ 170 w 197"/>
                <a:gd name="T3" fmla="*/ 4 h 76"/>
                <a:gd name="T4" fmla="*/ 102 w 197"/>
                <a:gd name="T5" fmla="*/ 41 h 76"/>
                <a:gd name="T6" fmla="*/ 25 w 197"/>
                <a:gd name="T7" fmla="*/ 4 h 76"/>
                <a:gd name="T8" fmla="*/ 4 w 197"/>
                <a:gd name="T9" fmla="*/ 11 h 76"/>
                <a:gd name="T10" fmla="*/ 11 w 197"/>
                <a:gd name="T11" fmla="*/ 33 h 76"/>
                <a:gd name="T12" fmla="*/ 95 w 197"/>
                <a:gd name="T13" fmla="*/ 74 h 76"/>
                <a:gd name="T14" fmla="*/ 102 w 197"/>
                <a:gd name="T15" fmla="*/ 76 h 76"/>
                <a:gd name="T16" fmla="*/ 110 w 197"/>
                <a:gd name="T17" fmla="*/ 74 h 76"/>
                <a:gd name="T18" fmla="*/ 186 w 197"/>
                <a:gd name="T19" fmla="*/ 33 h 76"/>
                <a:gd name="T20" fmla="*/ 192 w 197"/>
                <a:gd name="T21" fmla="*/ 11 h 76"/>
                <a:gd name="T22" fmla="*/ 192 w 197"/>
                <a:gd name="T23" fmla="*/ 11 h 76"/>
                <a:gd name="T24" fmla="*/ 192 w 197"/>
                <a:gd name="T25" fmla="*/ 1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7" h="76">
                  <a:moveTo>
                    <a:pt x="192" y="11"/>
                  </a:moveTo>
                  <a:cubicBezTo>
                    <a:pt x="188" y="3"/>
                    <a:pt x="178" y="0"/>
                    <a:pt x="170" y="4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17" y="0"/>
                    <a:pt x="7" y="3"/>
                    <a:pt x="4" y="11"/>
                  </a:cubicBezTo>
                  <a:cubicBezTo>
                    <a:pt x="0" y="20"/>
                    <a:pt x="3" y="29"/>
                    <a:pt x="11" y="33"/>
                  </a:cubicBezTo>
                  <a:cubicBezTo>
                    <a:pt x="95" y="74"/>
                    <a:pt x="95" y="74"/>
                    <a:pt x="95" y="74"/>
                  </a:cubicBezTo>
                  <a:cubicBezTo>
                    <a:pt x="97" y="76"/>
                    <a:pt x="100" y="76"/>
                    <a:pt x="102" y="76"/>
                  </a:cubicBezTo>
                  <a:cubicBezTo>
                    <a:pt x="105" y="76"/>
                    <a:pt x="108" y="75"/>
                    <a:pt x="110" y="74"/>
                  </a:cubicBezTo>
                  <a:cubicBezTo>
                    <a:pt x="186" y="33"/>
                    <a:pt x="186" y="33"/>
                    <a:pt x="186" y="33"/>
                  </a:cubicBezTo>
                  <a:cubicBezTo>
                    <a:pt x="194" y="29"/>
                    <a:pt x="197" y="19"/>
                    <a:pt x="192" y="11"/>
                  </a:cubicBezTo>
                  <a:close/>
                  <a:moveTo>
                    <a:pt x="192" y="11"/>
                  </a:moveTo>
                  <a:cubicBezTo>
                    <a:pt x="192" y="11"/>
                    <a:pt x="192" y="11"/>
                    <a:pt x="192" y="1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7" name="Freeform 11"/>
            <p:cNvSpPr>
              <a:spLocks/>
            </p:cNvSpPr>
            <p:nvPr/>
          </p:nvSpPr>
          <p:spPr bwMode="auto">
            <a:xfrm>
              <a:off x="6833552" y="3649618"/>
              <a:ext cx="350053" cy="354258"/>
            </a:xfrm>
            <a:custGeom>
              <a:avLst/>
              <a:gdLst>
                <a:gd name="T0" fmla="*/ 161 w 323"/>
                <a:gd name="T1" fmla="*/ 328 h 328"/>
                <a:gd name="T2" fmla="*/ 323 w 323"/>
                <a:gd name="T3" fmla="*/ 164 h 328"/>
                <a:gd name="T4" fmla="*/ 161 w 323"/>
                <a:gd name="T5" fmla="*/ 0 h 328"/>
                <a:gd name="T6" fmla="*/ 0 w 323"/>
                <a:gd name="T7" fmla="*/ 164 h 328"/>
                <a:gd name="T8" fmla="*/ 161 w 323"/>
                <a:gd name="T9" fmla="*/ 328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3" h="328">
                  <a:moveTo>
                    <a:pt x="161" y="328"/>
                  </a:moveTo>
                  <a:cubicBezTo>
                    <a:pt x="251" y="327"/>
                    <a:pt x="323" y="254"/>
                    <a:pt x="323" y="164"/>
                  </a:cubicBezTo>
                  <a:cubicBezTo>
                    <a:pt x="323" y="75"/>
                    <a:pt x="251" y="2"/>
                    <a:pt x="161" y="0"/>
                  </a:cubicBezTo>
                  <a:cubicBezTo>
                    <a:pt x="72" y="2"/>
                    <a:pt x="0" y="75"/>
                    <a:pt x="0" y="164"/>
                  </a:cubicBezTo>
                  <a:cubicBezTo>
                    <a:pt x="0" y="254"/>
                    <a:pt x="72" y="327"/>
                    <a:pt x="161" y="32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8" name="Line 12"/>
            <p:cNvSpPr>
              <a:spLocks noChangeShapeType="1"/>
            </p:cNvSpPr>
            <p:nvPr/>
          </p:nvSpPr>
          <p:spPr bwMode="auto">
            <a:xfrm>
              <a:off x="7008053" y="400387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9" name="Line 13"/>
            <p:cNvSpPr>
              <a:spLocks noChangeShapeType="1"/>
            </p:cNvSpPr>
            <p:nvPr/>
          </p:nvSpPr>
          <p:spPr bwMode="auto">
            <a:xfrm>
              <a:off x="7008053" y="4003876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0" name="Freeform 14"/>
            <p:cNvSpPr>
              <a:spLocks/>
            </p:cNvSpPr>
            <p:nvPr/>
          </p:nvSpPr>
          <p:spPr bwMode="auto">
            <a:xfrm>
              <a:off x="6486652" y="4015440"/>
              <a:ext cx="1043853" cy="1350807"/>
            </a:xfrm>
            <a:custGeom>
              <a:avLst/>
              <a:gdLst>
                <a:gd name="T0" fmla="*/ 901 w 965"/>
                <a:gd name="T1" fmla="*/ 261 h 1250"/>
                <a:gd name="T2" fmla="*/ 769 w 965"/>
                <a:gd name="T3" fmla="*/ 256 h 1250"/>
                <a:gd name="T4" fmla="*/ 740 w 965"/>
                <a:gd name="T5" fmla="*/ 213 h 1250"/>
                <a:gd name="T6" fmla="*/ 623 w 965"/>
                <a:gd name="T7" fmla="*/ 62 h 1250"/>
                <a:gd name="T8" fmla="*/ 524 w 965"/>
                <a:gd name="T9" fmla="*/ 0 h 1250"/>
                <a:gd name="T10" fmla="*/ 524 w 965"/>
                <a:gd name="T11" fmla="*/ 0 h 1250"/>
                <a:gd name="T12" fmla="*/ 484 w 965"/>
                <a:gd name="T13" fmla="*/ 41 h 1250"/>
                <a:gd name="T14" fmla="*/ 482 w 965"/>
                <a:gd name="T15" fmla="*/ 40 h 1250"/>
                <a:gd name="T16" fmla="*/ 524 w 965"/>
                <a:gd name="T17" fmla="*/ 312 h 1250"/>
                <a:gd name="T18" fmla="*/ 484 w 965"/>
                <a:gd name="T19" fmla="*/ 366 h 1250"/>
                <a:gd name="T20" fmla="*/ 484 w 965"/>
                <a:gd name="T21" fmla="*/ 366 h 1250"/>
                <a:gd name="T22" fmla="*/ 482 w 965"/>
                <a:gd name="T23" fmla="*/ 365 h 1250"/>
                <a:gd name="T24" fmla="*/ 481 w 965"/>
                <a:gd name="T25" fmla="*/ 366 h 1250"/>
                <a:gd name="T26" fmla="*/ 481 w 965"/>
                <a:gd name="T27" fmla="*/ 366 h 1250"/>
                <a:gd name="T28" fmla="*/ 441 w 965"/>
                <a:gd name="T29" fmla="*/ 312 h 1250"/>
                <a:gd name="T30" fmla="*/ 482 w 965"/>
                <a:gd name="T31" fmla="*/ 40 h 1250"/>
                <a:gd name="T32" fmla="*/ 481 w 965"/>
                <a:gd name="T33" fmla="*/ 41 h 1250"/>
                <a:gd name="T34" fmla="*/ 441 w 965"/>
                <a:gd name="T35" fmla="*/ 0 h 1250"/>
                <a:gd name="T36" fmla="*/ 441 w 965"/>
                <a:gd name="T37" fmla="*/ 0 h 1250"/>
                <a:gd name="T38" fmla="*/ 342 w 965"/>
                <a:gd name="T39" fmla="*/ 62 h 1250"/>
                <a:gd name="T40" fmla="*/ 225 w 965"/>
                <a:gd name="T41" fmla="*/ 213 h 1250"/>
                <a:gd name="T42" fmla="*/ 196 w 965"/>
                <a:gd name="T43" fmla="*/ 256 h 1250"/>
                <a:gd name="T44" fmla="*/ 64 w 965"/>
                <a:gd name="T45" fmla="*/ 261 h 1250"/>
                <a:gd name="T46" fmla="*/ 0 w 965"/>
                <a:gd name="T47" fmla="*/ 325 h 1250"/>
                <a:gd name="T48" fmla="*/ 64 w 965"/>
                <a:gd name="T49" fmla="*/ 389 h 1250"/>
                <a:gd name="T50" fmla="*/ 64 w 965"/>
                <a:gd name="T51" fmla="*/ 389 h 1250"/>
                <a:gd name="T52" fmla="*/ 256 w 965"/>
                <a:gd name="T53" fmla="*/ 371 h 1250"/>
                <a:gd name="T54" fmla="*/ 313 w 965"/>
                <a:gd name="T55" fmla="*/ 311 h 1250"/>
                <a:gd name="T56" fmla="*/ 313 w 965"/>
                <a:gd name="T57" fmla="*/ 500 h 1250"/>
                <a:gd name="T58" fmla="*/ 328 w 965"/>
                <a:gd name="T59" fmla="*/ 564 h 1250"/>
                <a:gd name="T60" fmla="*/ 327 w 965"/>
                <a:gd name="T61" fmla="*/ 1174 h 1250"/>
                <a:gd name="T62" fmla="*/ 398 w 965"/>
                <a:gd name="T63" fmla="*/ 1250 h 1250"/>
                <a:gd name="T64" fmla="*/ 474 w 965"/>
                <a:gd name="T65" fmla="*/ 1174 h 1250"/>
                <a:gd name="T66" fmla="*/ 474 w 965"/>
                <a:gd name="T67" fmla="*/ 650 h 1250"/>
                <a:gd name="T68" fmla="*/ 482 w 965"/>
                <a:gd name="T69" fmla="*/ 650 h 1250"/>
                <a:gd name="T70" fmla="*/ 491 w 965"/>
                <a:gd name="T71" fmla="*/ 650 h 1250"/>
                <a:gd name="T72" fmla="*/ 491 w 965"/>
                <a:gd name="T73" fmla="*/ 1174 h 1250"/>
                <a:gd name="T74" fmla="*/ 566 w 965"/>
                <a:gd name="T75" fmla="*/ 1250 h 1250"/>
                <a:gd name="T76" fmla="*/ 638 w 965"/>
                <a:gd name="T77" fmla="*/ 1174 h 1250"/>
                <a:gd name="T78" fmla="*/ 637 w 965"/>
                <a:gd name="T79" fmla="*/ 564 h 1250"/>
                <a:gd name="T80" fmla="*/ 652 w 965"/>
                <a:gd name="T81" fmla="*/ 500 h 1250"/>
                <a:gd name="T82" fmla="*/ 652 w 965"/>
                <a:gd name="T83" fmla="*/ 311 h 1250"/>
                <a:gd name="T84" fmla="*/ 709 w 965"/>
                <a:gd name="T85" fmla="*/ 371 h 1250"/>
                <a:gd name="T86" fmla="*/ 901 w 965"/>
                <a:gd name="T87" fmla="*/ 389 h 1250"/>
                <a:gd name="T88" fmla="*/ 901 w 965"/>
                <a:gd name="T89" fmla="*/ 389 h 1250"/>
                <a:gd name="T90" fmla="*/ 965 w 965"/>
                <a:gd name="T91" fmla="*/ 325 h 1250"/>
                <a:gd name="T92" fmla="*/ 901 w 965"/>
                <a:gd name="T93" fmla="*/ 261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65" h="1250">
                  <a:moveTo>
                    <a:pt x="901" y="261"/>
                  </a:moveTo>
                  <a:cubicBezTo>
                    <a:pt x="854" y="261"/>
                    <a:pt x="795" y="259"/>
                    <a:pt x="769" y="256"/>
                  </a:cubicBezTo>
                  <a:cubicBezTo>
                    <a:pt x="761" y="245"/>
                    <a:pt x="749" y="227"/>
                    <a:pt x="740" y="213"/>
                  </a:cubicBezTo>
                  <a:cubicBezTo>
                    <a:pt x="706" y="162"/>
                    <a:pt x="667" y="103"/>
                    <a:pt x="623" y="62"/>
                  </a:cubicBezTo>
                  <a:cubicBezTo>
                    <a:pt x="591" y="31"/>
                    <a:pt x="562" y="10"/>
                    <a:pt x="524" y="0"/>
                  </a:cubicBezTo>
                  <a:cubicBezTo>
                    <a:pt x="524" y="0"/>
                    <a:pt x="524" y="0"/>
                    <a:pt x="524" y="0"/>
                  </a:cubicBezTo>
                  <a:cubicBezTo>
                    <a:pt x="484" y="41"/>
                    <a:pt x="484" y="41"/>
                    <a:pt x="484" y="41"/>
                  </a:cubicBezTo>
                  <a:cubicBezTo>
                    <a:pt x="482" y="40"/>
                    <a:pt x="482" y="40"/>
                    <a:pt x="482" y="40"/>
                  </a:cubicBezTo>
                  <a:cubicBezTo>
                    <a:pt x="524" y="312"/>
                    <a:pt x="524" y="312"/>
                    <a:pt x="524" y="312"/>
                  </a:cubicBezTo>
                  <a:cubicBezTo>
                    <a:pt x="484" y="366"/>
                    <a:pt x="484" y="366"/>
                    <a:pt x="484" y="366"/>
                  </a:cubicBezTo>
                  <a:cubicBezTo>
                    <a:pt x="484" y="366"/>
                    <a:pt x="484" y="366"/>
                    <a:pt x="484" y="366"/>
                  </a:cubicBezTo>
                  <a:cubicBezTo>
                    <a:pt x="482" y="365"/>
                    <a:pt x="482" y="365"/>
                    <a:pt x="482" y="365"/>
                  </a:cubicBezTo>
                  <a:cubicBezTo>
                    <a:pt x="481" y="366"/>
                    <a:pt x="481" y="366"/>
                    <a:pt x="481" y="366"/>
                  </a:cubicBezTo>
                  <a:cubicBezTo>
                    <a:pt x="481" y="366"/>
                    <a:pt x="481" y="366"/>
                    <a:pt x="481" y="366"/>
                  </a:cubicBezTo>
                  <a:cubicBezTo>
                    <a:pt x="441" y="312"/>
                    <a:pt x="441" y="312"/>
                    <a:pt x="441" y="312"/>
                  </a:cubicBezTo>
                  <a:cubicBezTo>
                    <a:pt x="482" y="40"/>
                    <a:pt x="482" y="40"/>
                    <a:pt x="482" y="40"/>
                  </a:cubicBezTo>
                  <a:cubicBezTo>
                    <a:pt x="481" y="41"/>
                    <a:pt x="481" y="41"/>
                    <a:pt x="481" y="41"/>
                  </a:cubicBezTo>
                  <a:cubicBezTo>
                    <a:pt x="441" y="0"/>
                    <a:pt x="441" y="0"/>
                    <a:pt x="441" y="0"/>
                  </a:cubicBezTo>
                  <a:cubicBezTo>
                    <a:pt x="441" y="0"/>
                    <a:pt x="441" y="0"/>
                    <a:pt x="441" y="0"/>
                  </a:cubicBezTo>
                  <a:cubicBezTo>
                    <a:pt x="403" y="10"/>
                    <a:pt x="374" y="31"/>
                    <a:pt x="342" y="62"/>
                  </a:cubicBezTo>
                  <a:cubicBezTo>
                    <a:pt x="298" y="103"/>
                    <a:pt x="259" y="162"/>
                    <a:pt x="225" y="213"/>
                  </a:cubicBezTo>
                  <a:cubicBezTo>
                    <a:pt x="216" y="227"/>
                    <a:pt x="204" y="245"/>
                    <a:pt x="196" y="256"/>
                  </a:cubicBezTo>
                  <a:cubicBezTo>
                    <a:pt x="170" y="259"/>
                    <a:pt x="111" y="261"/>
                    <a:pt x="64" y="261"/>
                  </a:cubicBezTo>
                  <a:cubicBezTo>
                    <a:pt x="29" y="261"/>
                    <a:pt x="0" y="290"/>
                    <a:pt x="0" y="325"/>
                  </a:cubicBezTo>
                  <a:cubicBezTo>
                    <a:pt x="0" y="360"/>
                    <a:pt x="29" y="389"/>
                    <a:pt x="64" y="389"/>
                  </a:cubicBezTo>
                  <a:cubicBezTo>
                    <a:pt x="64" y="389"/>
                    <a:pt x="64" y="389"/>
                    <a:pt x="64" y="389"/>
                  </a:cubicBezTo>
                  <a:cubicBezTo>
                    <a:pt x="219" y="389"/>
                    <a:pt x="246" y="376"/>
                    <a:pt x="256" y="371"/>
                  </a:cubicBezTo>
                  <a:cubicBezTo>
                    <a:pt x="276" y="362"/>
                    <a:pt x="290" y="344"/>
                    <a:pt x="313" y="311"/>
                  </a:cubicBezTo>
                  <a:cubicBezTo>
                    <a:pt x="313" y="500"/>
                    <a:pt x="313" y="500"/>
                    <a:pt x="313" y="500"/>
                  </a:cubicBezTo>
                  <a:cubicBezTo>
                    <a:pt x="313" y="528"/>
                    <a:pt x="325" y="560"/>
                    <a:pt x="328" y="564"/>
                  </a:cubicBezTo>
                  <a:cubicBezTo>
                    <a:pt x="327" y="567"/>
                    <a:pt x="327" y="1174"/>
                    <a:pt x="327" y="1174"/>
                  </a:cubicBezTo>
                  <a:cubicBezTo>
                    <a:pt x="327" y="1216"/>
                    <a:pt x="357" y="1250"/>
                    <a:pt x="398" y="1250"/>
                  </a:cubicBezTo>
                  <a:cubicBezTo>
                    <a:pt x="440" y="1250"/>
                    <a:pt x="474" y="1216"/>
                    <a:pt x="474" y="1174"/>
                  </a:cubicBezTo>
                  <a:cubicBezTo>
                    <a:pt x="474" y="650"/>
                    <a:pt x="474" y="650"/>
                    <a:pt x="474" y="650"/>
                  </a:cubicBezTo>
                  <a:cubicBezTo>
                    <a:pt x="482" y="650"/>
                    <a:pt x="482" y="650"/>
                    <a:pt x="482" y="650"/>
                  </a:cubicBezTo>
                  <a:cubicBezTo>
                    <a:pt x="491" y="650"/>
                    <a:pt x="491" y="650"/>
                    <a:pt x="491" y="650"/>
                  </a:cubicBezTo>
                  <a:cubicBezTo>
                    <a:pt x="491" y="1174"/>
                    <a:pt x="491" y="1174"/>
                    <a:pt x="491" y="1174"/>
                  </a:cubicBezTo>
                  <a:cubicBezTo>
                    <a:pt x="491" y="1216"/>
                    <a:pt x="525" y="1250"/>
                    <a:pt x="566" y="1250"/>
                  </a:cubicBezTo>
                  <a:cubicBezTo>
                    <a:pt x="608" y="1250"/>
                    <a:pt x="638" y="1216"/>
                    <a:pt x="638" y="1174"/>
                  </a:cubicBezTo>
                  <a:cubicBezTo>
                    <a:pt x="638" y="1174"/>
                    <a:pt x="638" y="567"/>
                    <a:pt x="637" y="564"/>
                  </a:cubicBezTo>
                  <a:cubicBezTo>
                    <a:pt x="640" y="560"/>
                    <a:pt x="652" y="528"/>
                    <a:pt x="652" y="500"/>
                  </a:cubicBezTo>
                  <a:cubicBezTo>
                    <a:pt x="652" y="311"/>
                    <a:pt x="652" y="311"/>
                    <a:pt x="652" y="311"/>
                  </a:cubicBezTo>
                  <a:cubicBezTo>
                    <a:pt x="675" y="344"/>
                    <a:pt x="689" y="362"/>
                    <a:pt x="709" y="371"/>
                  </a:cubicBezTo>
                  <a:cubicBezTo>
                    <a:pt x="719" y="376"/>
                    <a:pt x="746" y="389"/>
                    <a:pt x="901" y="389"/>
                  </a:cubicBezTo>
                  <a:cubicBezTo>
                    <a:pt x="901" y="389"/>
                    <a:pt x="901" y="389"/>
                    <a:pt x="901" y="389"/>
                  </a:cubicBezTo>
                  <a:cubicBezTo>
                    <a:pt x="936" y="389"/>
                    <a:pt x="965" y="360"/>
                    <a:pt x="965" y="325"/>
                  </a:cubicBezTo>
                  <a:cubicBezTo>
                    <a:pt x="965" y="290"/>
                    <a:pt x="936" y="261"/>
                    <a:pt x="901" y="26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1" name="Line 15"/>
            <p:cNvSpPr>
              <a:spLocks noChangeShapeType="1"/>
            </p:cNvSpPr>
            <p:nvPr/>
          </p:nvSpPr>
          <p:spPr bwMode="auto">
            <a:xfrm>
              <a:off x="7461125" y="429716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42" name="Line 16"/>
            <p:cNvSpPr>
              <a:spLocks noChangeShapeType="1"/>
            </p:cNvSpPr>
            <p:nvPr/>
          </p:nvSpPr>
          <p:spPr bwMode="auto">
            <a:xfrm>
              <a:off x="7461125" y="429716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39813525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 dir="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/>
        </p:nvSpPr>
        <p:spPr bwMode="auto">
          <a:xfrm>
            <a:off x="4171308" y="2564242"/>
            <a:ext cx="1123390" cy="574365"/>
          </a:xfrm>
          <a:custGeom>
            <a:avLst/>
            <a:gdLst>
              <a:gd name="T0" fmla="*/ 272 w 337"/>
              <a:gd name="T1" fmla="*/ 84 h 172"/>
              <a:gd name="T2" fmla="*/ 202 w 337"/>
              <a:gd name="T3" fmla="*/ 79 h 172"/>
              <a:gd name="T4" fmla="*/ 189 w 337"/>
              <a:gd name="T5" fmla="*/ 60 h 172"/>
              <a:gd name="T6" fmla="*/ 159 w 337"/>
              <a:gd name="T7" fmla="*/ 44 h 172"/>
              <a:gd name="T8" fmla="*/ 103 w 337"/>
              <a:gd name="T9" fmla="*/ 0 h 172"/>
              <a:gd name="T10" fmla="*/ 65 w 337"/>
              <a:gd name="T11" fmla="*/ 15 h 172"/>
              <a:gd name="T12" fmla="*/ 0 w 337"/>
              <a:gd name="T13" fmla="*/ 76 h 172"/>
              <a:gd name="T14" fmla="*/ 25 w 337"/>
              <a:gd name="T15" fmla="*/ 131 h 172"/>
              <a:gd name="T16" fmla="*/ 107 w 337"/>
              <a:gd name="T17" fmla="*/ 160 h 172"/>
              <a:gd name="T18" fmla="*/ 170 w 337"/>
              <a:gd name="T19" fmla="*/ 125 h 172"/>
              <a:gd name="T20" fmla="*/ 169 w 337"/>
              <a:gd name="T21" fmla="*/ 88 h 172"/>
              <a:gd name="T22" fmla="*/ 127 w 337"/>
              <a:gd name="T23" fmla="*/ 59 h 172"/>
              <a:gd name="T24" fmla="*/ 97 w 337"/>
              <a:gd name="T25" fmla="*/ 48 h 172"/>
              <a:gd name="T26" fmla="*/ 50 w 337"/>
              <a:gd name="T27" fmla="*/ 102 h 172"/>
              <a:gd name="T28" fmla="*/ 113 w 337"/>
              <a:gd name="T29" fmla="*/ 122 h 172"/>
              <a:gd name="T30" fmla="*/ 122 w 337"/>
              <a:gd name="T31" fmla="*/ 103 h 172"/>
              <a:gd name="T32" fmla="*/ 78 w 337"/>
              <a:gd name="T33" fmla="*/ 88 h 172"/>
              <a:gd name="T34" fmla="*/ 112 w 337"/>
              <a:gd name="T35" fmla="*/ 112 h 172"/>
              <a:gd name="T36" fmla="*/ 172 w 337"/>
              <a:gd name="T37" fmla="*/ 115 h 172"/>
              <a:gd name="T38" fmla="*/ 240 w 337"/>
              <a:gd name="T39" fmla="*/ 98 h 172"/>
              <a:gd name="T40" fmla="*/ 327 w 337"/>
              <a:gd name="T41" fmla="*/ 128 h 172"/>
              <a:gd name="T42" fmla="*/ 325 w 337"/>
              <a:gd name="T43" fmla="*/ 124 h 172"/>
              <a:gd name="T44" fmla="*/ 323 w 337"/>
              <a:gd name="T45" fmla="*/ 124 h 172"/>
              <a:gd name="T46" fmla="*/ 306 w 337"/>
              <a:gd name="T47" fmla="*/ 119 h 172"/>
              <a:gd name="T48" fmla="*/ 326 w 337"/>
              <a:gd name="T49" fmla="*/ 126 h 172"/>
              <a:gd name="T50" fmla="*/ 264 w 337"/>
              <a:gd name="T51" fmla="*/ 102 h 172"/>
              <a:gd name="T52" fmla="*/ 181 w 337"/>
              <a:gd name="T53" fmla="*/ 109 h 172"/>
              <a:gd name="T54" fmla="*/ 115 w 337"/>
              <a:gd name="T55" fmla="*/ 109 h 172"/>
              <a:gd name="T56" fmla="*/ 95 w 337"/>
              <a:gd name="T57" fmla="*/ 117 h 172"/>
              <a:gd name="T58" fmla="*/ 91 w 337"/>
              <a:gd name="T59" fmla="*/ 82 h 172"/>
              <a:gd name="T60" fmla="*/ 120 w 337"/>
              <a:gd name="T61" fmla="*/ 103 h 172"/>
              <a:gd name="T62" fmla="*/ 92 w 337"/>
              <a:gd name="T63" fmla="*/ 128 h 172"/>
              <a:gd name="T64" fmla="*/ 54 w 337"/>
              <a:gd name="T65" fmla="*/ 97 h 172"/>
              <a:gd name="T66" fmla="*/ 117 w 337"/>
              <a:gd name="T67" fmla="*/ 57 h 172"/>
              <a:gd name="T68" fmla="*/ 127 w 337"/>
              <a:gd name="T69" fmla="*/ 63 h 172"/>
              <a:gd name="T70" fmla="*/ 163 w 337"/>
              <a:gd name="T71" fmla="*/ 78 h 172"/>
              <a:gd name="T72" fmla="*/ 162 w 337"/>
              <a:gd name="T73" fmla="*/ 106 h 172"/>
              <a:gd name="T74" fmla="*/ 162 w 337"/>
              <a:gd name="T75" fmla="*/ 109 h 172"/>
              <a:gd name="T76" fmla="*/ 113 w 337"/>
              <a:gd name="T77" fmla="*/ 160 h 172"/>
              <a:gd name="T78" fmla="*/ 107 w 337"/>
              <a:gd name="T79" fmla="*/ 158 h 172"/>
              <a:gd name="T80" fmla="*/ 29 w 337"/>
              <a:gd name="T81" fmla="*/ 130 h 172"/>
              <a:gd name="T82" fmla="*/ 27 w 337"/>
              <a:gd name="T83" fmla="*/ 116 h 172"/>
              <a:gd name="T84" fmla="*/ 4 w 337"/>
              <a:gd name="T85" fmla="*/ 72 h 172"/>
              <a:gd name="T86" fmla="*/ 64 w 337"/>
              <a:gd name="T87" fmla="*/ 19 h 172"/>
              <a:gd name="T88" fmla="*/ 67 w 337"/>
              <a:gd name="T89" fmla="*/ 19 h 172"/>
              <a:gd name="T90" fmla="*/ 155 w 337"/>
              <a:gd name="T91" fmla="*/ 40 h 172"/>
              <a:gd name="T92" fmla="*/ 158 w 337"/>
              <a:gd name="T93" fmla="*/ 46 h 172"/>
              <a:gd name="T94" fmla="*/ 186 w 337"/>
              <a:gd name="T95" fmla="*/ 62 h 172"/>
              <a:gd name="T96" fmla="*/ 202 w 337"/>
              <a:gd name="T97" fmla="*/ 83 h 172"/>
              <a:gd name="T98" fmla="*/ 270 w 337"/>
              <a:gd name="T99" fmla="*/ 88 h 172"/>
              <a:gd name="T100" fmla="*/ 305 w 337"/>
              <a:gd name="T101" fmla="*/ 121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37" h="172">
                <a:moveTo>
                  <a:pt x="306" y="119"/>
                </a:moveTo>
                <a:cubicBezTo>
                  <a:pt x="308" y="118"/>
                  <a:pt x="308" y="118"/>
                  <a:pt x="308" y="118"/>
                </a:cubicBezTo>
                <a:cubicBezTo>
                  <a:pt x="308" y="118"/>
                  <a:pt x="303" y="112"/>
                  <a:pt x="296" y="105"/>
                </a:cubicBezTo>
                <a:cubicBezTo>
                  <a:pt x="289" y="98"/>
                  <a:pt x="281" y="89"/>
                  <a:pt x="272" y="84"/>
                </a:cubicBezTo>
                <a:cubicBezTo>
                  <a:pt x="261" y="78"/>
                  <a:pt x="249" y="77"/>
                  <a:pt x="240" y="77"/>
                </a:cubicBezTo>
                <a:cubicBezTo>
                  <a:pt x="234" y="77"/>
                  <a:pt x="229" y="77"/>
                  <a:pt x="226" y="78"/>
                </a:cubicBezTo>
                <a:cubicBezTo>
                  <a:pt x="222" y="79"/>
                  <a:pt x="216" y="79"/>
                  <a:pt x="211" y="79"/>
                </a:cubicBezTo>
                <a:cubicBezTo>
                  <a:pt x="208" y="79"/>
                  <a:pt x="205" y="79"/>
                  <a:pt x="202" y="79"/>
                </a:cubicBezTo>
                <a:cubicBezTo>
                  <a:pt x="200" y="78"/>
                  <a:pt x="198" y="78"/>
                  <a:pt x="198" y="77"/>
                </a:cubicBezTo>
                <a:cubicBezTo>
                  <a:pt x="196" y="76"/>
                  <a:pt x="195" y="73"/>
                  <a:pt x="194" y="69"/>
                </a:cubicBezTo>
                <a:cubicBezTo>
                  <a:pt x="193" y="68"/>
                  <a:pt x="192" y="66"/>
                  <a:pt x="192" y="64"/>
                </a:cubicBezTo>
                <a:cubicBezTo>
                  <a:pt x="191" y="63"/>
                  <a:pt x="190" y="61"/>
                  <a:pt x="189" y="60"/>
                </a:cubicBezTo>
                <a:cubicBezTo>
                  <a:pt x="188" y="58"/>
                  <a:pt x="184" y="53"/>
                  <a:pt x="179" y="49"/>
                </a:cubicBezTo>
                <a:cubicBezTo>
                  <a:pt x="174" y="45"/>
                  <a:pt x="168" y="42"/>
                  <a:pt x="162" y="42"/>
                </a:cubicBezTo>
                <a:cubicBezTo>
                  <a:pt x="161" y="42"/>
                  <a:pt x="160" y="42"/>
                  <a:pt x="159" y="42"/>
                </a:cubicBezTo>
                <a:cubicBezTo>
                  <a:pt x="159" y="44"/>
                  <a:pt x="159" y="44"/>
                  <a:pt x="159" y="44"/>
                </a:cubicBezTo>
                <a:cubicBezTo>
                  <a:pt x="161" y="43"/>
                  <a:pt x="161" y="43"/>
                  <a:pt x="161" y="43"/>
                </a:cubicBezTo>
                <a:cubicBezTo>
                  <a:pt x="161" y="43"/>
                  <a:pt x="157" y="35"/>
                  <a:pt x="150" y="26"/>
                </a:cubicBezTo>
                <a:cubicBezTo>
                  <a:pt x="143" y="17"/>
                  <a:pt x="132" y="7"/>
                  <a:pt x="117" y="2"/>
                </a:cubicBezTo>
                <a:cubicBezTo>
                  <a:pt x="112" y="0"/>
                  <a:pt x="107" y="0"/>
                  <a:pt x="103" y="0"/>
                </a:cubicBezTo>
                <a:cubicBezTo>
                  <a:pt x="91" y="0"/>
                  <a:pt x="82" y="4"/>
                  <a:pt x="75" y="8"/>
                </a:cubicBezTo>
                <a:cubicBezTo>
                  <a:pt x="68" y="12"/>
                  <a:pt x="64" y="16"/>
                  <a:pt x="64" y="16"/>
                </a:cubicBezTo>
                <a:cubicBezTo>
                  <a:pt x="65" y="17"/>
                  <a:pt x="65" y="17"/>
                  <a:pt x="65" y="17"/>
                </a:cubicBezTo>
                <a:cubicBezTo>
                  <a:pt x="65" y="15"/>
                  <a:pt x="65" y="15"/>
                  <a:pt x="65" y="15"/>
                </a:cubicBezTo>
                <a:cubicBezTo>
                  <a:pt x="65" y="15"/>
                  <a:pt x="63" y="15"/>
                  <a:pt x="60" y="15"/>
                </a:cubicBezTo>
                <a:cubicBezTo>
                  <a:pt x="52" y="15"/>
                  <a:pt x="38" y="17"/>
                  <a:pt x="26" y="26"/>
                </a:cubicBezTo>
                <a:cubicBezTo>
                  <a:pt x="10" y="39"/>
                  <a:pt x="2" y="56"/>
                  <a:pt x="0" y="72"/>
                </a:cubicBezTo>
                <a:cubicBezTo>
                  <a:pt x="0" y="73"/>
                  <a:pt x="0" y="74"/>
                  <a:pt x="0" y="76"/>
                </a:cubicBezTo>
                <a:cubicBezTo>
                  <a:pt x="0" y="91"/>
                  <a:pt x="8" y="108"/>
                  <a:pt x="24" y="118"/>
                </a:cubicBezTo>
                <a:cubicBezTo>
                  <a:pt x="25" y="116"/>
                  <a:pt x="25" y="116"/>
                  <a:pt x="25" y="116"/>
                </a:cubicBezTo>
                <a:cubicBezTo>
                  <a:pt x="23" y="116"/>
                  <a:pt x="23" y="116"/>
                  <a:pt x="23" y="116"/>
                </a:cubicBezTo>
                <a:cubicBezTo>
                  <a:pt x="23" y="117"/>
                  <a:pt x="23" y="123"/>
                  <a:pt x="25" y="131"/>
                </a:cubicBezTo>
                <a:cubicBezTo>
                  <a:pt x="28" y="139"/>
                  <a:pt x="33" y="150"/>
                  <a:pt x="41" y="158"/>
                </a:cubicBezTo>
                <a:cubicBezTo>
                  <a:pt x="51" y="167"/>
                  <a:pt x="64" y="172"/>
                  <a:pt x="77" y="172"/>
                </a:cubicBezTo>
                <a:cubicBezTo>
                  <a:pt x="88" y="172"/>
                  <a:pt x="98" y="169"/>
                  <a:pt x="108" y="162"/>
                </a:cubicBezTo>
                <a:cubicBezTo>
                  <a:pt x="107" y="160"/>
                  <a:pt x="107" y="160"/>
                  <a:pt x="107" y="160"/>
                </a:cubicBezTo>
                <a:cubicBezTo>
                  <a:pt x="106" y="162"/>
                  <a:pt x="106" y="162"/>
                  <a:pt x="106" y="162"/>
                </a:cubicBezTo>
                <a:cubicBezTo>
                  <a:pt x="106" y="162"/>
                  <a:pt x="114" y="165"/>
                  <a:pt x="125" y="165"/>
                </a:cubicBezTo>
                <a:cubicBezTo>
                  <a:pt x="135" y="165"/>
                  <a:pt x="147" y="163"/>
                  <a:pt x="158" y="153"/>
                </a:cubicBezTo>
                <a:cubicBezTo>
                  <a:pt x="167" y="143"/>
                  <a:pt x="170" y="133"/>
                  <a:pt x="170" y="125"/>
                </a:cubicBezTo>
                <a:cubicBezTo>
                  <a:pt x="170" y="114"/>
                  <a:pt x="165" y="107"/>
                  <a:pt x="165" y="107"/>
                </a:cubicBezTo>
                <a:cubicBezTo>
                  <a:pt x="163" y="108"/>
                  <a:pt x="163" y="108"/>
                  <a:pt x="163" y="108"/>
                </a:cubicBezTo>
                <a:cubicBezTo>
                  <a:pt x="165" y="108"/>
                  <a:pt x="165" y="108"/>
                  <a:pt x="165" y="108"/>
                </a:cubicBezTo>
                <a:cubicBezTo>
                  <a:pt x="165" y="108"/>
                  <a:pt x="169" y="98"/>
                  <a:pt x="169" y="88"/>
                </a:cubicBezTo>
                <a:cubicBezTo>
                  <a:pt x="169" y="84"/>
                  <a:pt x="169" y="80"/>
                  <a:pt x="167" y="76"/>
                </a:cubicBezTo>
                <a:cubicBezTo>
                  <a:pt x="164" y="71"/>
                  <a:pt x="159" y="67"/>
                  <a:pt x="153" y="63"/>
                </a:cubicBezTo>
                <a:cubicBezTo>
                  <a:pt x="148" y="60"/>
                  <a:pt x="141" y="58"/>
                  <a:pt x="134" y="58"/>
                </a:cubicBezTo>
                <a:cubicBezTo>
                  <a:pt x="132" y="58"/>
                  <a:pt x="129" y="58"/>
                  <a:pt x="127" y="59"/>
                </a:cubicBezTo>
                <a:cubicBezTo>
                  <a:pt x="128" y="61"/>
                  <a:pt x="128" y="61"/>
                  <a:pt x="128" y="61"/>
                </a:cubicBezTo>
                <a:cubicBezTo>
                  <a:pt x="129" y="59"/>
                  <a:pt x="129" y="59"/>
                  <a:pt x="129" y="59"/>
                </a:cubicBezTo>
                <a:cubicBezTo>
                  <a:pt x="129" y="59"/>
                  <a:pt x="124" y="56"/>
                  <a:pt x="118" y="54"/>
                </a:cubicBezTo>
                <a:cubicBezTo>
                  <a:pt x="112" y="51"/>
                  <a:pt x="104" y="48"/>
                  <a:pt x="97" y="48"/>
                </a:cubicBezTo>
                <a:cubicBezTo>
                  <a:pt x="93" y="48"/>
                  <a:pt x="90" y="49"/>
                  <a:pt x="86" y="50"/>
                </a:cubicBezTo>
                <a:cubicBezTo>
                  <a:pt x="78" y="54"/>
                  <a:pt x="69" y="60"/>
                  <a:pt x="62" y="68"/>
                </a:cubicBezTo>
                <a:cubicBezTo>
                  <a:pt x="55" y="76"/>
                  <a:pt x="50" y="86"/>
                  <a:pt x="50" y="97"/>
                </a:cubicBezTo>
                <a:cubicBezTo>
                  <a:pt x="50" y="99"/>
                  <a:pt x="50" y="100"/>
                  <a:pt x="50" y="102"/>
                </a:cubicBezTo>
                <a:cubicBezTo>
                  <a:pt x="52" y="113"/>
                  <a:pt x="57" y="121"/>
                  <a:pt x="65" y="126"/>
                </a:cubicBezTo>
                <a:cubicBezTo>
                  <a:pt x="72" y="131"/>
                  <a:pt x="81" y="133"/>
                  <a:pt x="88" y="133"/>
                </a:cubicBezTo>
                <a:cubicBezTo>
                  <a:pt x="89" y="133"/>
                  <a:pt x="91" y="132"/>
                  <a:pt x="92" y="132"/>
                </a:cubicBezTo>
                <a:cubicBezTo>
                  <a:pt x="100" y="131"/>
                  <a:pt x="107" y="127"/>
                  <a:pt x="113" y="122"/>
                </a:cubicBezTo>
                <a:cubicBezTo>
                  <a:pt x="118" y="117"/>
                  <a:pt x="122" y="110"/>
                  <a:pt x="122" y="103"/>
                </a:cubicBezTo>
                <a:cubicBezTo>
                  <a:pt x="122" y="103"/>
                  <a:pt x="122" y="103"/>
                  <a:pt x="122" y="103"/>
                </a:cubicBezTo>
                <a:cubicBezTo>
                  <a:pt x="122" y="103"/>
                  <a:pt x="122" y="103"/>
                  <a:pt x="122" y="103"/>
                </a:cubicBezTo>
                <a:cubicBezTo>
                  <a:pt x="122" y="103"/>
                  <a:pt x="122" y="103"/>
                  <a:pt x="122" y="103"/>
                </a:cubicBezTo>
                <a:cubicBezTo>
                  <a:pt x="122" y="97"/>
                  <a:pt x="119" y="90"/>
                  <a:pt x="114" y="86"/>
                </a:cubicBezTo>
                <a:cubicBezTo>
                  <a:pt x="110" y="81"/>
                  <a:pt x="103" y="77"/>
                  <a:pt x="96" y="77"/>
                </a:cubicBezTo>
                <a:cubicBezTo>
                  <a:pt x="94" y="77"/>
                  <a:pt x="92" y="78"/>
                  <a:pt x="90" y="79"/>
                </a:cubicBezTo>
                <a:cubicBezTo>
                  <a:pt x="84" y="81"/>
                  <a:pt x="81" y="84"/>
                  <a:pt x="78" y="88"/>
                </a:cubicBezTo>
                <a:cubicBezTo>
                  <a:pt x="76" y="92"/>
                  <a:pt x="75" y="96"/>
                  <a:pt x="75" y="100"/>
                </a:cubicBezTo>
                <a:cubicBezTo>
                  <a:pt x="75" y="105"/>
                  <a:pt x="76" y="108"/>
                  <a:pt x="78" y="112"/>
                </a:cubicBezTo>
                <a:cubicBezTo>
                  <a:pt x="81" y="117"/>
                  <a:pt x="88" y="121"/>
                  <a:pt x="95" y="121"/>
                </a:cubicBezTo>
                <a:cubicBezTo>
                  <a:pt x="100" y="121"/>
                  <a:pt x="107" y="118"/>
                  <a:pt x="112" y="112"/>
                </a:cubicBezTo>
                <a:cubicBezTo>
                  <a:pt x="110" y="111"/>
                  <a:pt x="110" y="111"/>
                  <a:pt x="110" y="111"/>
                </a:cubicBezTo>
                <a:cubicBezTo>
                  <a:pt x="110" y="113"/>
                  <a:pt x="110" y="113"/>
                  <a:pt x="110" y="113"/>
                </a:cubicBezTo>
                <a:cubicBezTo>
                  <a:pt x="110" y="113"/>
                  <a:pt x="136" y="116"/>
                  <a:pt x="158" y="116"/>
                </a:cubicBezTo>
                <a:cubicBezTo>
                  <a:pt x="163" y="116"/>
                  <a:pt x="168" y="116"/>
                  <a:pt x="172" y="115"/>
                </a:cubicBezTo>
                <a:cubicBezTo>
                  <a:pt x="176" y="115"/>
                  <a:pt x="180" y="114"/>
                  <a:pt x="183" y="113"/>
                </a:cubicBezTo>
                <a:cubicBezTo>
                  <a:pt x="191" y="109"/>
                  <a:pt x="194" y="107"/>
                  <a:pt x="198" y="105"/>
                </a:cubicBezTo>
                <a:cubicBezTo>
                  <a:pt x="201" y="104"/>
                  <a:pt x="205" y="102"/>
                  <a:pt x="216" y="101"/>
                </a:cubicBezTo>
                <a:cubicBezTo>
                  <a:pt x="225" y="99"/>
                  <a:pt x="233" y="98"/>
                  <a:pt x="240" y="98"/>
                </a:cubicBezTo>
                <a:cubicBezTo>
                  <a:pt x="248" y="98"/>
                  <a:pt x="254" y="100"/>
                  <a:pt x="262" y="106"/>
                </a:cubicBezTo>
                <a:cubicBezTo>
                  <a:pt x="267" y="110"/>
                  <a:pt x="275" y="117"/>
                  <a:pt x="283" y="122"/>
                </a:cubicBezTo>
                <a:cubicBezTo>
                  <a:pt x="292" y="128"/>
                  <a:pt x="301" y="133"/>
                  <a:pt x="311" y="133"/>
                </a:cubicBezTo>
                <a:cubicBezTo>
                  <a:pt x="316" y="133"/>
                  <a:pt x="322" y="131"/>
                  <a:pt x="327" y="128"/>
                </a:cubicBezTo>
                <a:cubicBezTo>
                  <a:pt x="337" y="121"/>
                  <a:pt x="337" y="121"/>
                  <a:pt x="337" y="121"/>
                </a:cubicBezTo>
                <a:cubicBezTo>
                  <a:pt x="325" y="124"/>
                  <a:pt x="325" y="124"/>
                  <a:pt x="325" y="124"/>
                </a:cubicBezTo>
                <a:cubicBezTo>
                  <a:pt x="326" y="124"/>
                  <a:pt x="326" y="124"/>
                  <a:pt x="326" y="124"/>
                </a:cubicBezTo>
                <a:cubicBezTo>
                  <a:pt x="325" y="124"/>
                  <a:pt x="325" y="124"/>
                  <a:pt x="325" y="124"/>
                </a:cubicBezTo>
                <a:cubicBezTo>
                  <a:pt x="325" y="124"/>
                  <a:pt x="325" y="124"/>
                  <a:pt x="325" y="124"/>
                </a:cubicBezTo>
                <a:cubicBezTo>
                  <a:pt x="326" y="124"/>
                  <a:pt x="326" y="124"/>
                  <a:pt x="326" y="124"/>
                </a:cubicBezTo>
                <a:cubicBezTo>
                  <a:pt x="325" y="124"/>
                  <a:pt x="325" y="124"/>
                  <a:pt x="325" y="124"/>
                </a:cubicBezTo>
                <a:cubicBezTo>
                  <a:pt x="325" y="124"/>
                  <a:pt x="325" y="124"/>
                  <a:pt x="323" y="124"/>
                </a:cubicBezTo>
                <a:cubicBezTo>
                  <a:pt x="320" y="124"/>
                  <a:pt x="315" y="123"/>
                  <a:pt x="307" y="118"/>
                </a:cubicBezTo>
                <a:cubicBezTo>
                  <a:pt x="306" y="119"/>
                  <a:pt x="306" y="119"/>
                  <a:pt x="306" y="119"/>
                </a:cubicBezTo>
                <a:cubicBezTo>
                  <a:pt x="308" y="118"/>
                  <a:pt x="308" y="118"/>
                  <a:pt x="308" y="118"/>
                </a:cubicBezTo>
                <a:cubicBezTo>
                  <a:pt x="306" y="119"/>
                  <a:pt x="306" y="119"/>
                  <a:pt x="306" y="119"/>
                </a:cubicBezTo>
                <a:cubicBezTo>
                  <a:pt x="305" y="121"/>
                  <a:pt x="305" y="121"/>
                  <a:pt x="305" y="121"/>
                </a:cubicBezTo>
                <a:cubicBezTo>
                  <a:pt x="313" y="127"/>
                  <a:pt x="320" y="128"/>
                  <a:pt x="323" y="128"/>
                </a:cubicBezTo>
                <a:cubicBezTo>
                  <a:pt x="325" y="128"/>
                  <a:pt x="326" y="128"/>
                  <a:pt x="326" y="128"/>
                </a:cubicBezTo>
                <a:cubicBezTo>
                  <a:pt x="326" y="126"/>
                  <a:pt x="326" y="126"/>
                  <a:pt x="326" y="126"/>
                </a:cubicBezTo>
                <a:cubicBezTo>
                  <a:pt x="325" y="124"/>
                  <a:pt x="325" y="124"/>
                  <a:pt x="325" y="124"/>
                </a:cubicBezTo>
                <a:cubicBezTo>
                  <a:pt x="320" y="127"/>
                  <a:pt x="316" y="129"/>
                  <a:pt x="311" y="129"/>
                </a:cubicBezTo>
                <a:cubicBezTo>
                  <a:pt x="302" y="129"/>
                  <a:pt x="294" y="125"/>
                  <a:pt x="286" y="119"/>
                </a:cubicBezTo>
                <a:cubicBezTo>
                  <a:pt x="277" y="113"/>
                  <a:pt x="270" y="107"/>
                  <a:pt x="264" y="102"/>
                </a:cubicBezTo>
                <a:cubicBezTo>
                  <a:pt x="256" y="96"/>
                  <a:pt x="248" y="94"/>
                  <a:pt x="240" y="94"/>
                </a:cubicBezTo>
                <a:cubicBezTo>
                  <a:pt x="232" y="94"/>
                  <a:pt x="225" y="95"/>
                  <a:pt x="215" y="97"/>
                </a:cubicBezTo>
                <a:cubicBezTo>
                  <a:pt x="205" y="98"/>
                  <a:pt x="200" y="100"/>
                  <a:pt x="196" y="102"/>
                </a:cubicBezTo>
                <a:cubicBezTo>
                  <a:pt x="192" y="104"/>
                  <a:pt x="189" y="106"/>
                  <a:pt x="181" y="109"/>
                </a:cubicBezTo>
                <a:cubicBezTo>
                  <a:pt x="179" y="110"/>
                  <a:pt x="176" y="111"/>
                  <a:pt x="172" y="111"/>
                </a:cubicBezTo>
                <a:cubicBezTo>
                  <a:pt x="167" y="112"/>
                  <a:pt x="163" y="112"/>
                  <a:pt x="158" y="112"/>
                </a:cubicBezTo>
                <a:cubicBezTo>
                  <a:pt x="147" y="112"/>
                  <a:pt x="135" y="111"/>
                  <a:pt x="126" y="110"/>
                </a:cubicBezTo>
                <a:cubicBezTo>
                  <a:pt x="122" y="110"/>
                  <a:pt x="118" y="110"/>
                  <a:pt x="115" y="109"/>
                </a:cubicBezTo>
                <a:cubicBezTo>
                  <a:pt x="112" y="109"/>
                  <a:pt x="111" y="109"/>
                  <a:pt x="111" y="109"/>
                </a:cubicBezTo>
                <a:cubicBezTo>
                  <a:pt x="110" y="109"/>
                  <a:pt x="110" y="109"/>
                  <a:pt x="110" y="109"/>
                </a:cubicBezTo>
                <a:cubicBezTo>
                  <a:pt x="109" y="109"/>
                  <a:pt x="109" y="109"/>
                  <a:pt x="109" y="109"/>
                </a:cubicBezTo>
                <a:cubicBezTo>
                  <a:pt x="104" y="115"/>
                  <a:pt x="99" y="117"/>
                  <a:pt x="95" y="117"/>
                </a:cubicBezTo>
                <a:cubicBezTo>
                  <a:pt x="89" y="117"/>
                  <a:pt x="84" y="113"/>
                  <a:pt x="81" y="109"/>
                </a:cubicBezTo>
                <a:cubicBezTo>
                  <a:pt x="80" y="107"/>
                  <a:pt x="79" y="104"/>
                  <a:pt x="79" y="100"/>
                </a:cubicBezTo>
                <a:cubicBezTo>
                  <a:pt x="79" y="97"/>
                  <a:pt x="80" y="93"/>
                  <a:pt x="82" y="90"/>
                </a:cubicBezTo>
                <a:cubicBezTo>
                  <a:pt x="84" y="87"/>
                  <a:pt x="87" y="84"/>
                  <a:pt x="91" y="82"/>
                </a:cubicBezTo>
                <a:cubicBezTo>
                  <a:pt x="93" y="82"/>
                  <a:pt x="95" y="81"/>
                  <a:pt x="96" y="81"/>
                </a:cubicBezTo>
                <a:cubicBezTo>
                  <a:pt x="102" y="81"/>
                  <a:pt x="107" y="84"/>
                  <a:pt x="111" y="88"/>
                </a:cubicBezTo>
                <a:cubicBezTo>
                  <a:pt x="115" y="93"/>
                  <a:pt x="118" y="98"/>
                  <a:pt x="118" y="103"/>
                </a:cubicBezTo>
                <a:cubicBezTo>
                  <a:pt x="120" y="103"/>
                  <a:pt x="120" y="103"/>
                  <a:pt x="120" y="103"/>
                </a:cubicBezTo>
                <a:cubicBezTo>
                  <a:pt x="118" y="103"/>
                  <a:pt x="118" y="103"/>
                  <a:pt x="118" y="103"/>
                </a:cubicBezTo>
                <a:cubicBezTo>
                  <a:pt x="118" y="103"/>
                  <a:pt x="118" y="103"/>
                  <a:pt x="118" y="103"/>
                </a:cubicBezTo>
                <a:cubicBezTo>
                  <a:pt x="118" y="108"/>
                  <a:pt x="115" y="114"/>
                  <a:pt x="110" y="119"/>
                </a:cubicBezTo>
                <a:cubicBezTo>
                  <a:pt x="105" y="124"/>
                  <a:pt x="98" y="127"/>
                  <a:pt x="92" y="128"/>
                </a:cubicBezTo>
                <a:cubicBezTo>
                  <a:pt x="91" y="128"/>
                  <a:pt x="89" y="129"/>
                  <a:pt x="88" y="129"/>
                </a:cubicBezTo>
                <a:cubicBezTo>
                  <a:pt x="81" y="129"/>
                  <a:pt x="73" y="127"/>
                  <a:pt x="67" y="122"/>
                </a:cubicBezTo>
                <a:cubicBezTo>
                  <a:pt x="60" y="118"/>
                  <a:pt x="55" y="111"/>
                  <a:pt x="54" y="102"/>
                </a:cubicBezTo>
                <a:cubicBezTo>
                  <a:pt x="54" y="100"/>
                  <a:pt x="54" y="99"/>
                  <a:pt x="54" y="97"/>
                </a:cubicBezTo>
                <a:cubicBezTo>
                  <a:pt x="54" y="87"/>
                  <a:pt x="58" y="78"/>
                  <a:pt x="65" y="70"/>
                </a:cubicBezTo>
                <a:cubicBezTo>
                  <a:pt x="72" y="63"/>
                  <a:pt x="81" y="57"/>
                  <a:pt x="88" y="54"/>
                </a:cubicBezTo>
                <a:cubicBezTo>
                  <a:pt x="90" y="53"/>
                  <a:pt x="93" y="52"/>
                  <a:pt x="97" y="52"/>
                </a:cubicBezTo>
                <a:cubicBezTo>
                  <a:pt x="103" y="52"/>
                  <a:pt x="111" y="55"/>
                  <a:pt x="117" y="57"/>
                </a:cubicBezTo>
                <a:cubicBezTo>
                  <a:pt x="120" y="59"/>
                  <a:pt x="122" y="60"/>
                  <a:pt x="124" y="61"/>
                </a:cubicBezTo>
                <a:cubicBezTo>
                  <a:pt x="125" y="61"/>
                  <a:pt x="125" y="62"/>
                  <a:pt x="126" y="62"/>
                </a:cubicBezTo>
                <a:cubicBezTo>
                  <a:pt x="126" y="62"/>
                  <a:pt x="126" y="62"/>
                  <a:pt x="126" y="62"/>
                </a:cubicBezTo>
                <a:cubicBezTo>
                  <a:pt x="127" y="63"/>
                  <a:pt x="127" y="63"/>
                  <a:pt x="127" y="63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0" y="62"/>
                  <a:pt x="132" y="62"/>
                  <a:pt x="134" y="62"/>
                </a:cubicBezTo>
                <a:cubicBezTo>
                  <a:pt x="140" y="62"/>
                  <a:pt x="146" y="64"/>
                  <a:pt x="151" y="67"/>
                </a:cubicBezTo>
                <a:cubicBezTo>
                  <a:pt x="156" y="70"/>
                  <a:pt x="161" y="74"/>
                  <a:pt x="163" y="78"/>
                </a:cubicBezTo>
                <a:cubicBezTo>
                  <a:pt x="165" y="81"/>
                  <a:pt x="165" y="85"/>
                  <a:pt x="165" y="88"/>
                </a:cubicBezTo>
                <a:cubicBezTo>
                  <a:pt x="165" y="93"/>
                  <a:pt x="164" y="97"/>
                  <a:pt x="163" y="101"/>
                </a:cubicBezTo>
                <a:cubicBezTo>
                  <a:pt x="163" y="103"/>
                  <a:pt x="162" y="104"/>
                  <a:pt x="162" y="105"/>
                </a:cubicBezTo>
                <a:cubicBezTo>
                  <a:pt x="162" y="106"/>
                  <a:pt x="162" y="106"/>
                  <a:pt x="162" y="106"/>
                </a:cubicBezTo>
                <a:cubicBezTo>
                  <a:pt x="161" y="107"/>
                  <a:pt x="161" y="107"/>
                  <a:pt x="161" y="107"/>
                </a:cubicBezTo>
                <a:cubicBezTo>
                  <a:pt x="161" y="108"/>
                  <a:pt x="161" y="108"/>
                  <a:pt x="161" y="108"/>
                </a:cubicBezTo>
                <a:cubicBezTo>
                  <a:pt x="162" y="109"/>
                  <a:pt x="162" y="109"/>
                  <a:pt x="162" y="109"/>
                </a:cubicBezTo>
                <a:cubicBezTo>
                  <a:pt x="162" y="109"/>
                  <a:pt x="162" y="109"/>
                  <a:pt x="162" y="109"/>
                </a:cubicBezTo>
                <a:cubicBezTo>
                  <a:pt x="162" y="109"/>
                  <a:pt x="166" y="116"/>
                  <a:pt x="166" y="125"/>
                </a:cubicBezTo>
                <a:cubicBezTo>
                  <a:pt x="166" y="133"/>
                  <a:pt x="163" y="141"/>
                  <a:pt x="155" y="150"/>
                </a:cubicBezTo>
                <a:cubicBezTo>
                  <a:pt x="145" y="159"/>
                  <a:pt x="134" y="161"/>
                  <a:pt x="125" y="161"/>
                </a:cubicBezTo>
                <a:cubicBezTo>
                  <a:pt x="120" y="161"/>
                  <a:pt x="116" y="161"/>
                  <a:pt x="113" y="160"/>
                </a:cubicBezTo>
                <a:cubicBezTo>
                  <a:pt x="111" y="160"/>
                  <a:pt x="110" y="159"/>
                  <a:pt x="109" y="159"/>
                </a:cubicBezTo>
                <a:cubicBezTo>
                  <a:pt x="109" y="159"/>
                  <a:pt x="108" y="159"/>
                  <a:pt x="108" y="159"/>
                </a:cubicBezTo>
                <a:cubicBezTo>
                  <a:pt x="108" y="158"/>
                  <a:pt x="108" y="158"/>
                  <a:pt x="108" y="158"/>
                </a:cubicBezTo>
                <a:cubicBezTo>
                  <a:pt x="107" y="158"/>
                  <a:pt x="107" y="158"/>
                  <a:pt x="107" y="158"/>
                </a:cubicBezTo>
                <a:cubicBezTo>
                  <a:pt x="106" y="159"/>
                  <a:pt x="106" y="159"/>
                  <a:pt x="106" y="159"/>
                </a:cubicBezTo>
                <a:cubicBezTo>
                  <a:pt x="97" y="165"/>
                  <a:pt x="87" y="168"/>
                  <a:pt x="77" y="168"/>
                </a:cubicBezTo>
                <a:cubicBezTo>
                  <a:pt x="65" y="168"/>
                  <a:pt x="53" y="163"/>
                  <a:pt x="44" y="155"/>
                </a:cubicBezTo>
                <a:cubicBezTo>
                  <a:pt x="36" y="148"/>
                  <a:pt x="32" y="138"/>
                  <a:pt x="29" y="130"/>
                </a:cubicBezTo>
                <a:cubicBezTo>
                  <a:pt x="28" y="126"/>
                  <a:pt x="27" y="123"/>
                  <a:pt x="27" y="120"/>
                </a:cubicBezTo>
                <a:cubicBezTo>
                  <a:pt x="27" y="119"/>
                  <a:pt x="27" y="118"/>
                  <a:pt x="27" y="117"/>
                </a:cubicBezTo>
                <a:cubicBezTo>
                  <a:pt x="27" y="116"/>
                  <a:pt x="27" y="116"/>
                  <a:pt x="27" y="116"/>
                </a:cubicBezTo>
                <a:cubicBezTo>
                  <a:pt x="27" y="116"/>
                  <a:pt x="27" y="116"/>
                  <a:pt x="27" y="116"/>
                </a:cubicBezTo>
                <a:cubicBezTo>
                  <a:pt x="27" y="115"/>
                  <a:pt x="27" y="115"/>
                  <a:pt x="27" y="115"/>
                </a:cubicBezTo>
                <a:cubicBezTo>
                  <a:pt x="26" y="115"/>
                  <a:pt x="26" y="115"/>
                  <a:pt x="26" y="115"/>
                </a:cubicBezTo>
                <a:cubicBezTo>
                  <a:pt x="12" y="105"/>
                  <a:pt x="4" y="89"/>
                  <a:pt x="4" y="76"/>
                </a:cubicBezTo>
                <a:cubicBezTo>
                  <a:pt x="4" y="75"/>
                  <a:pt x="4" y="73"/>
                  <a:pt x="4" y="72"/>
                </a:cubicBezTo>
                <a:cubicBezTo>
                  <a:pt x="6" y="57"/>
                  <a:pt x="13" y="41"/>
                  <a:pt x="29" y="29"/>
                </a:cubicBezTo>
                <a:cubicBezTo>
                  <a:pt x="40" y="21"/>
                  <a:pt x="53" y="19"/>
                  <a:pt x="60" y="19"/>
                </a:cubicBezTo>
                <a:cubicBezTo>
                  <a:pt x="61" y="19"/>
                  <a:pt x="63" y="19"/>
                  <a:pt x="63" y="19"/>
                </a:cubicBezTo>
                <a:cubicBezTo>
                  <a:pt x="64" y="19"/>
                  <a:pt x="64" y="19"/>
                  <a:pt x="64" y="19"/>
                </a:cubicBezTo>
                <a:cubicBezTo>
                  <a:pt x="65" y="19"/>
                  <a:pt x="65" y="19"/>
                  <a:pt x="65" y="19"/>
                </a:cubicBezTo>
                <a:cubicBezTo>
                  <a:pt x="66" y="20"/>
                  <a:pt x="66" y="20"/>
                  <a:pt x="66" y="20"/>
                </a:cubicBezTo>
                <a:cubicBezTo>
                  <a:pt x="66" y="19"/>
                  <a:pt x="66" y="19"/>
                  <a:pt x="66" y="19"/>
                </a:cubicBezTo>
                <a:cubicBezTo>
                  <a:pt x="67" y="19"/>
                  <a:pt x="67" y="19"/>
                  <a:pt x="67" y="19"/>
                </a:cubicBezTo>
                <a:cubicBezTo>
                  <a:pt x="68" y="17"/>
                  <a:pt x="83" y="3"/>
                  <a:pt x="103" y="4"/>
                </a:cubicBezTo>
                <a:cubicBezTo>
                  <a:pt x="107" y="4"/>
                  <a:pt x="111" y="4"/>
                  <a:pt x="116" y="6"/>
                </a:cubicBezTo>
                <a:cubicBezTo>
                  <a:pt x="129" y="10"/>
                  <a:pt x="140" y="20"/>
                  <a:pt x="147" y="29"/>
                </a:cubicBezTo>
                <a:cubicBezTo>
                  <a:pt x="150" y="33"/>
                  <a:pt x="153" y="37"/>
                  <a:pt x="155" y="40"/>
                </a:cubicBezTo>
                <a:cubicBezTo>
                  <a:pt x="156" y="41"/>
                  <a:pt x="156" y="43"/>
                  <a:pt x="157" y="43"/>
                </a:cubicBezTo>
                <a:cubicBezTo>
                  <a:pt x="157" y="44"/>
                  <a:pt x="157" y="44"/>
                  <a:pt x="157" y="44"/>
                </a:cubicBezTo>
                <a:cubicBezTo>
                  <a:pt x="157" y="45"/>
                  <a:pt x="157" y="45"/>
                  <a:pt x="157" y="45"/>
                </a:cubicBezTo>
                <a:cubicBezTo>
                  <a:pt x="158" y="46"/>
                  <a:pt x="158" y="46"/>
                  <a:pt x="158" y="46"/>
                </a:cubicBezTo>
                <a:cubicBezTo>
                  <a:pt x="160" y="46"/>
                  <a:pt x="160" y="46"/>
                  <a:pt x="160" y="46"/>
                </a:cubicBezTo>
                <a:cubicBezTo>
                  <a:pt x="160" y="46"/>
                  <a:pt x="161" y="46"/>
                  <a:pt x="162" y="46"/>
                </a:cubicBezTo>
                <a:cubicBezTo>
                  <a:pt x="166" y="45"/>
                  <a:pt x="172" y="49"/>
                  <a:pt x="177" y="53"/>
                </a:cubicBezTo>
                <a:cubicBezTo>
                  <a:pt x="181" y="56"/>
                  <a:pt x="185" y="61"/>
                  <a:pt x="186" y="62"/>
                </a:cubicBezTo>
                <a:cubicBezTo>
                  <a:pt x="187" y="63"/>
                  <a:pt x="187" y="64"/>
                  <a:pt x="188" y="66"/>
                </a:cubicBezTo>
                <a:cubicBezTo>
                  <a:pt x="189" y="68"/>
                  <a:pt x="190" y="71"/>
                  <a:pt x="191" y="73"/>
                </a:cubicBezTo>
                <a:cubicBezTo>
                  <a:pt x="192" y="76"/>
                  <a:pt x="193" y="79"/>
                  <a:pt x="195" y="80"/>
                </a:cubicBezTo>
                <a:cubicBezTo>
                  <a:pt x="197" y="82"/>
                  <a:pt x="199" y="82"/>
                  <a:pt x="202" y="83"/>
                </a:cubicBezTo>
                <a:cubicBezTo>
                  <a:pt x="204" y="83"/>
                  <a:pt x="208" y="83"/>
                  <a:pt x="211" y="83"/>
                </a:cubicBezTo>
                <a:cubicBezTo>
                  <a:pt x="217" y="83"/>
                  <a:pt x="223" y="83"/>
                  <a:pt x="227" y="82"/>
                </a:cubicBezTo>
                <a:cubicBezTo>
                  <a:pt x="230" y="81"/>
                  <a:pt x="234" y="81"/>
                  <a:pt x="240" y="81"/>
                </a:cubicBezTo>
                <a:cubicBezTo>
                  <a:pt x="249" y="81"/>
                  <a:pt x="260" y="82"/>
                  <a:pt x="270" y="88"/>
                </a:cubicBezTo>
                <a:cubicBezTo>
                  <a:pt x="278" y="92"/>
                  <a:pt x="287" y="101"/>
                  <a:pt x="293" y="108"/>
                </a:cubicBezTo>
                <a:cubicBezTo>
                  <a:pt x="297" y="111"/>
                  <a:pt x="300" y="114"/>
                  <a:pt x="302" y="117"/>
                </a:cubicBezTo>
                <a:cubicBezTo>
                  <a:pt x="302" y="118"/>
                  <a:pt x="303" y="119"/>
                  <a:pt x="304" y="120"/>
                </a:cubicBezTo>
                <a:cubicBezTo>
                  <a:pt x="304" y="120"/>
                  <a:pt x="305" y="121"/>
                  <a:pt x="305" y="121"/>
                </a:cubicBezTo>
                <a:cubicBezTo>
                  <a:pt x="305" y="121"/>
                  <a:pt x="305" y="121"/>
                  <a:pt x="305" y="121"/>
                </a:cubicBezTo>
                <a:cubicBezTo>
                  <a:pt x="305" y="121"/>
                  <a:pt x="305" y="121"/>
                  <a:pt x="305" y="121"/>
                </a:cubicBezTo>
                <a:cubicBezTo>
                  <a:pt x="306" y="119"/>
                  <a:pt x="306" y="119"/>
                  <a:pt x="306" y="119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4" name="Freeform 13"/>
          <p:cNvSpPr>
            <a:spLocks/>
          </p:cNvSpPr>
          <p:nvPr/>
        </p:nvSpPr>
        <p:spPr bwMode="auto">
          <a:xfrm>
            <a:off x="4334608" y="2731765"/>
            <a:ext cx="396987" cy="270289"/>
          </a:xfrm>
          <a:custGeom>
            <a:avLst/>
            <a:gdLst>
              <a:gd name="T0" fmla="*/ 48 w 119"/>
              <a:gd name="T1" fmla="*/ 56 h 81"/>
              <a:gd name="T2" fmla="*/ 48 w 119"/>
              <a:gd name="T3" fmla="*/ 56 h 81"/>
              <a:gd name="T4" fmla="*/ 50 w 119"/>
              <a:gd name="T5" fmla="*/ 53 h 81"/>
              <a:gd name="T6" fmla="*/ 52 w 119"/>
              <a:gd name="T7" fmla="*/ 52 h 81"/>
              <a:gd name="T8" fmla="*/ 54 w 119"/>
              <a:gd name="T9" fmla="*/ 51 h 81"/>
              <a:gd name="T10" fmla="*/ 60 w 119"/>
              <a:gd name="T11" fmla="*/ 55 h 81"/>
              <a:gd name="T12" fmla="*/ 62 w 119"/>
              <a:gd name="T13" fmla="*/ 59 h 81"/>
              <a:gd name="T14" fmla="*/ 57 w 119"/>
              <a:gd name="T15" fmla="*/ 66 h 81"/>
              <a:gd name="T16" fmla="*/ 47 w 119"/>
              <a:gd name="T17" fmla="*/ 69 h 81"/>
              <a:gd name="T18" fmla="*/ 37 w 119"/>
              <a:gd name="T19" fmla="*/ 64 h 81"/>
              <a:gd name="T20" fmla="*/ 30 w 119"/>
              <a:gd name="T21" fmla="*/ 48 h 81"/>
              <a:gd name="T22" fmla="*/ 35 w 119"/>
              <a:gd name="T23" fmla="*/ 37 h 81"/>
              <a:gd name="T24" fmla="*/ 50 w 119"/>
              <a:gd name="T25" fmla="*/ 30 h 81"/>
              <a:gd name="T26" fmla="*/ 65 w 119"/>
              <a:gd name="T27" fmla="*/ 38 h 81"/>
              <a:gd name="T28" fmla="*/ 69 w 119"/>
              <a:gd name="T29" fmla="*/ 50 h 81"/>
              <a:gd name="T30" fmla="*/ 64 w 119"/>
              <a:gd name="T31" fmla="*/ 65 h 81"/>
              <a:gd name="T32" fmla="*/ 54 w 119"/>
              <a:gd name="T33" fmla="*/ 74 h 81"/>
              <a:gd name="T34" fmla="*/ 37 w 119"/>
              <a:gd name="T35" fmla="*/ 77 h 81"/>
              <a:gd name="T36" fmla="*/ 13 w 119"/>
              <a:gd name="T37" fmla="*/ 68 h 81"/>
              <a:gd name="T38" fmla="*/ 4 w 119"/>
              <a:gd name="T39" fmla="*/ 49 h 81"/>
              <a:gd name="T40" fmla="*/ 16 w 119"/>
              <a:gd name="T41" fmla="*/ 21 h 81"/>
              <a:gd name="T42" fmla="*/ 52 w 119"/>
              <a:gd name="T43" fmla="*/ 4 h 81"/>
              <a:gd name="T44" fmla="*/ 77 w 119"/>
              <a:gd name="T45" fmla="*/ 12 h 81"/>
              <a:gd name="T46" fmla="*/ 78 w 119"/>
              <a:gd name="T47" fmla="*/ 13 h 81"/>
              <a:gd name="T48" fmla="*/ 79 w 119"/>
              <a:gd name="T49" fmla="*/ 13 h 81"/>
              <a:gd name="T50" fmla="*/ 79 w 119"/>
              <a:gd name="T51" fmla="*/ 13 h 81"/>
              <a:gd name="T52" fmla="*/ 87 w 119"/>
              <a:gd name="T53" fmla="*/ 11 h 81"/>
              <a:gd name="T54" fmla="*/ 105 w 119"/>
              <a:gd name="T55" fmla="*/ 19 h 81"/>
              <a:gd name="T56" fmla="*/ 115 w 119"/>
              <a:gd name="T57" fmla="*/ 43 h 81"/>
              <a:gd name="T58" fmla="*/ 113 w 119"/>
              <a:gd name="T59" fmla="*/ 57 h 81"/>
              <a:gd name="T60" fmla="*/ 112 w 119"/>
              <a:gd name="T61" fmla="*/ 57 h 81"/>
              <a:gd name="T62" fmla="*/ 115 w 119"/>
              <a:gd name="T63" fmla="*/ 65 h 81"/>
              <a:gd name="T64" fmla="*/ 119 w 119"/>
              <a:gd name="T65" fmla="*/ 63 h 81"/>
              <a:gd name="T66" fmla="*/ 116 w 119"/>
              <a:gd name="T67" fmla="*/ 57 h 81"/>
              <a:gd name="T68" fmla="*/ 114 w 119"/>
              <a:gd name="T69" fmla="*/ 58 h 81"/>
              <a:gd name="T70" fmla="*/ 116 w 119"/>
              <a:gd name="T71" fmla="*/ 59 h 81"/>
              <a:gd name="T72" fmla="*/ 119 w 119"/>
              <a:gd name="T73" fmla="*/ 43 h 81"/>
              <a:gd name="T74" fmla="*/ 108 w 119"/>
              <a:gd name="T75" fmla="*/ 16 h 81"/>
              <a:gd name="T76" fmla="*/ 87 w 119"/>
              <a:gd name="T77" fmla="*/ 7 h 81"/>
              <a:gd name="T78" fmla="*/ 78 w 119"/>
              <a:gd name="T79" fmla="*/ 9 h 81"/>
              <a:gd name="T80" fmla="*/ 79 w 119"/>
              <a:gd name="T81" fmla="*/ 11 h 81"/>
              <a:gd name="T82" fmla="*/ 80 w 119"/>
              <a:gd name="T83" fmla="*/ 9 h 81"/>
              <a:gd name="T84" fmla="*/ 52 w 119"/>
              <a:gd name="T85" fmla="*/ 0 h 81"/>
              <a:gd name="T86" fmla="*/ 13 w 119"/>
              <a:gd name="T87" fmla="*/ 18 h 81"/>
              <a:gd name="T88" fmla="*/ 0 w 119"/>
              <a:gd name="T89" fmla="*/ 49 h 81"/>
              <a:gd name="T90" fmla="*/ 10 w 119"/>
              <a:gd name="T91" fmla="*/ 71 h 81"/>
              <a:gd name="T92" fmla="*/ 37 w 119"/>
              <a:gd name="T93" fmla="*/ 81 h 81"/>
              <a:gd name="T94" fmla="*/ 55 w 119"/>
              <a:gd name="T95" fmla="*/ 78 h 81"/>
              <a:gd name="T96" fmla="*/ 68 w 119"/>
              <a:gd name="T97" fmla="*/ 67 h 81"/>
              <a:gd name="T98" fmla="*/ 73 w 119"/>
              <a:gd name="T99" fmla="*/ 50 h 81"/>
              <a:gd name="T100" fmla="*/ 68 w 119"/>
              <a:gd name="T101" fmla="*/ 36 h 81"/>
              <a:gd name="T102" fmla="*/ 50 w 119"/>
              <a:gd name="T103" fmla="*/ 26 h 81"/>
              <a:gd name="T104" fmla="*/ 32 w 119"/>
              <a:gd name="T105" fmla="*/ 34 h 81"/>
              <a:gd name="T106" fmla="*/ 26 w 119"/>
              <a:gd name="T107" fmla="*/ 48 h 81"/>
              <a:gd name="T108" fmla="*/ 34 w 119"/>
              <a:gd name="T109" fmla="*/ 67 h 81"/>
              <a:gd name="T110" fmla="*/ 47 w 119"/>
              <a:gd name="T111" fmla="*/ 73 h 81"/>
              <a:gd name="T112" fmla="*/ 60 w 119"/>
              <a:gd name="T113" fmla="*/ 69 h 81"/>
              <a:gd name="T114" fmla="*/ 66 w 119"/>
              <a:gd name="T115" fmla="*/ 59 h 81"/>
              <a:gd name="T116" fmla="*/ 63 w 119"/>
              <a:gd name="T117" fmla="*/ 52 h 81"/>
              <a:gd name="T118" fmla="*/ 54 w 119"/>
              <a:gd name="T119" fmla="*/ 47 h 81"/>
              <a:gd name="T120" fmla="*/ 50 w 119"/>
              <a:gd name="T121" fmla="*/ 48 h 81"/>
              <a:gd name="T122" fmla="*/ 45 w 119"/>
              <a:gd name="T123" fmla="*/ 54 h 81"/>
              <a:gd name="T124" fmla="*/ 48 w 119"/>
              <a:gd name="T125" fmla="*/ 56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19" h="81">
                <a:moveTo>
                  <a:pt x="48" y="56"/>
                </a:moveTo>
                <a:cubicBezTo>
                  <a:pt x="48" y="56"/>
                  <a:pt x="48" y="56"/>
                  <a:pt x="48" y="56"/>
                </a:cubicBezTo>
                <a:cubicBezTo>
                  <a:pt x="49" y="56"/>
                  <a:pt x="49" y="54"/>
                  <a:pt x="50" y="53"/>
                </a:cubicBezTo>
                <a:cubicBezTo>
                  <a:pt x="51" y="53"/>
                  <a:pt x="51" y="52"/>
                  <a:pt x="52" y="52"/>
                </a:cubicBezTo>
                <a:cubicBezTo>
                  <a:pt x="53" y="51"/>
                  <a:pt x="53" y="51"/>
                  <a:pt x="54" y="51"/>
                </a:cubicBezTo>
                <a:cubicBezTo>
                  <a:pt x="55" y="51"/>
                  <a:pt x="57" y="52"/>
                  <a:pt x="60" y="55"/>
                </a:cubicBezTo>
                <a:cubicBezTo>
                  <a:pt x="61" y="56"/>
                  <a:pt x="62" y="58"/>
                  <a:pt x="62" y="59"/>
                </a:cubicBezTo>
                <a:cubicBezTo>
                  <a:pt x="62" y="61"/>
                  <a:pt x="60" y="64"/>
                  <a:pt x="57" y="66"/>
                </a:cubicBezTo>
                <a:cubicBezTo>
                  <a:pt x="55" y="68"/>
                  <a:pt x="51" y="69"/>
                  <a:pt x="47" y="69"/>
                </a:cubicBezTo>
                <a:cubicBezTo>
                  <a:pt x="44" y="69"/>
                  <a:pt x="40" y="68"/>
                  <a:pt x="37" y="64"/>
                </a:cubicBezTo>
                <a:cubicBezTo>
                  <a:pt x="32" y="58"/>
                  <a:pt x="30" y="53"/>
                  <a:pt x="30" y="48"/>
                </a:cubicBezTo>
                <a:cubicBezTo>
                  <a:pt x="30" y="44"/>
                  <a:pt x="32" y="41"/>
                  <a:pt x="35" y="37"/>
                </a:cubicBezTo>
                <a:cubicBezTo>
                  <a:pt x="39" y="33"/>
                  <a:pt x="44" y="30"/>
                  <a:pt x="50" y="30"/>
                </a:cubicBezTo>
                <a:cubicBezTo>
                  <a:pt x="55" y="30"/>
                  <a:pt x="60" y="32"/>
                  <a:pt x="65" y="38"/>
                </a:cubicBezTo>
                <a:cubicBezTo>
                  <a:pt x="68" y="42"/>
                  <a:pt x="69" y="46"/>
                  <a:pt x="69" y="50"/>
                </a:cubicBezTo>
                <a:cubicBezTo>
                  <a:pt x="69" y="55"/>
                  <a:pt x="67" y="61"/>
                  <a:pt x="64" y="65"/>
                </a:cubicBezTo>
                <a:cubicBezTo>
                  <a:pt x="62" y="70"/>
                  <a:pt x="58" y="73"/>
                  <a:pt x="54" y="74"/>
                </a:cubicBezTo>
                <a:cubicBezTo>
                  <a:pt x="49" y="76"/>
                  <a:pt x="43" y="77"/>
                  <a:pt x="37" y="77"/>
                </a:cubicBezTo>
                <a:cubicBezTo>
                  <a:pt x="28" y="77"/>
                  <a:pt x="20" y="75"/>
                  <a:pt x="13" y="68"/>
                </a:cubicBezTo>
                <a:cubicBezTo>
                  <a:pt x="7" y="63"/>
                  <a:pt x="4" y="56"/>
                  <a:pt x="4" y="49"/>
                </a:cubicBezTo>
                <a:cubicBezTo>
                  <a:pt x="4" y="41"/>
                  <a:pt x="7" y="32"/>
                  <a:pt x="16" y="21"/>
                </a:cubicBezTo>
                <a:cubicBezTo>
                  <a:pt x="25" y="9"/>
                  <a:pt x="39" y="4"/>
                  <a:pt x="52" y="4"/>
                </a:cubicBezTo>
                <a:cubicBezTo>
                  <a:pt x="62" y="4"/>
                  <a:pt x="72" y="7"/>
                  <a:pt x="77" y="12"/>
                </a:cubicBezTo>
                <a:cubicBezTo>
                  <a:pt x="78" y="13"/>
                  <a:pt x="78" y="13"/>
                  <a:pt x="78" y="13"/>
                </a:cubicBezTo>
                <a:cubicBezTo>
                  <a:pt x="79" y="13"/>
                  <a:pt x="79" y="13"/>
                  <a:pt x="79" y="13"/>
                </a:cubicBezTo>
                <a:cubicBezTo>
                  <a:pt x="79" y="13"/>
                  <a:pt x="79" y="13"/>
                  <a:pt x="79" y="13"/>
                </a:cubicBezTo>
                <a:cubicBezTo>
                  <a:pt x="80" y="13"/>
                  <a:pt x="82" y="11"/>
                  <a:pt x="87" y="11"/>
                </a:cubicBezTo>
                <a:cubicBezTo>
                  <a:pt x="91" y="11"/>
                  <a:pt x="98" y="13"/>
                  <a:pt x="105" y="19"/>
                </a:cubicBezTo>
                <a:cubicBezTo>
                  <a:pt x="113" y="25"/>
                  <a:pt x="115" y="35"/>
                  <a:pt x="115" y="43"/>
                </a:cubicBezTo>
                <a:cubicBezTo>
                  <a:pt x="115" y="49"/>
                  <a:pt x="114" y="54"/>
                  <a:pt x="113" y="57"/>
                </a:cubicBezTo>
                <a:cubicBezTo>
                  <a:pt x="112" y="57"/>
                  <a:pt x="112" y="57"/>
                  <a:pt x="112" y="57"/>
                </a:cubicBezTo>
                <a:cubicBezTo>
                  <a:pt x="115" y="65"/>
                  <a:pt x="115" y="65"/>
                  <a:pt x="115" y="65"/>
                </a:cubicBezTo>
                <a:cubicBezTo>
                  <a:pt x="119" y="63"/>
                  <a:pt x="119" y="63"/>
                  <a:pt x="119" y="63"/>
                </a:cubicBezTo>
                <a:cubicBezTo>
                  <a:pt x="116" y="57"/>
                  <a:pt x="116" y="57"/>
                  <a:pt x="116" y="57"/>
                </a:cubicBezTo>
                <a:cubicBezTo>
                  <a:pt x="114" y="58"/>
                  <a:pt x="114" y="58"/>
                  <a:pt x="114" y="58"/>
                </a:cubicBezTo>
                <a:cubicBezTo>
                  <a:pt x="116" y="59"/>
                  <a:pt x="116" y="59"/>
                  <a:pt x="116" y="59"/>
                </a:cubicBezTo>
                <a:cubicBezTo>
                  <a:pt x="118" y="55"/>
                  <a:pt x="119" y="50"/>
                  <a:pt x="119" y="43"/>
                </a:cubicBezTo>
                <a:cubicBezTo>
                  <a:pt x="119" y="34"/>
                  <a:pt x="117" y="23"/>
                  <a:pt x="108" y="16"/>
                </a:cubicBezTo>
                <a:cubicBezTo>
                  <a:pt x="100" y="9"/>
                  <a:pt x="92" y="7"/>
                  <a:pt x="87" y="7"/>
                </a:cubicBezTo>
                <a:cubicBezTo>
                  <a:pt x="81" y="7"/>
                  <a:pt x="78" y="9"/>
                  <a:pt x="78" y="9"/>
                </a:cubicBezTo>
                <a:cubicBezTo>
                  <a:pt x="79" y="11"/>
                  <a:pt x="79" y="11"/>
                  <a:pt x="79" y="11"/>
                </a:cubicBezTo>
                <a:cubicBezTo>
                  <a:pt x="80" y="9"/>
                  <a:pt x="80" y="9"/>
                  <a:pt x="80" y="9"/>
                </a:cubicBezTo>
                <a:cubicBezTo>
                  <a:pt x="73" y="3"/>
                  <a:pt x="63" y="0"/>
                  <a:pt x="52" y="0"/>
                </a:cubicBezTo>
                <a:cubicBezTo>
                  <a:pt x="38" y="0"/>
                  <a:pt x="22" y="5"/>
                  <a:pt x="13" y="18"/>
                </a:cubicBezTo>
                <a:cubicBezTo>
                  <a:pt x="4" y="30"/>
                  <a:pt x="0" y="40"/>
                  <a:pt x="0" y="49"/>
                </a:cubicBezTo>
                <a:cubicBezTo>
                  <a:pt x="0" y="57"/>
                  <a:pt x="4" y="65"/>
                  <a:pt x="10" y="71"/>
                </a:cubicBezTo>
                <a:cubicBezTo>
                  <a:pt x="18" y="79"/>
                  <a:pt x="28" y="81"/>
                  <a:pt x="37" y="81"/>
                </a:cubicBezTo>
                <a:cubicBezTo>
                  <a:pt x="44" y="81"/>
                  <a:pt x="50" y="80"/>
                  <a:pt x="55" y="78"/>
                </a:cubicBezTo>
                <a:cubicBezTo>
                  <a:pt x="60" y="76"/>
                  <a:pt x="65" y="72"/>
                  <a:pt x="68" y="67"/>
                </a:cubicBezTo>
                <a:cubicBezTo>
                  <a:pt x="71" y="62"/>
                  <a:pt x="73" y="56"/>
                  <a:pt x="73" y="50"/>
                </a:cubicBezTo>
                <a:cubicBezTo>
                  <a:pt x="73" y="45"/>
                  <a:pt x="72" y="40"/>
                  <a:pt x="68" y="36"/>
                </a:cubicBezTo>
                <a:cubicBezTo>
                  <a:pt x="63" y="29"/>
                  <a:pt x="56" y="26"/>
                  <a:pt x="50" y="26"/>
                </a:cubicBezTo>
                <a:cubicBezTo>
                  <a:pt x="43" y="26"/>
                  <a:pt x="37" y="29"/>
                  <a:pt x="32" y="34"/>
                </a:cubicBezTo>
                <a:cubicBezTo>
                  <a:pt x="28" y="38"/>
                  <a:pt x="26" y="43"/>
                  <a:pt x="26" y="48"/>
                </a:cubicBezTo>
                <a:cubicBezTo>
                  <a:pt x="26" y="54"/>
                  <a:pt x="29" y="60"/>
                  <a:pt x="34" y="67"/>
                </a:cubicBezTo>
                <a:cubicBezTo>
                  <a:pt x="38" y="71"/>
                  <a:pt x="43" y="73"/>
                  <a:pt x="47" y="73"/>
                </a:cubicBezTo>
                <a:cubicBezTo>
                  <a:pt x="52" y="73"/>
                  <a:pt x="56" y="71"/>
                  <a:pt x="60" y="69"/>
                </a:cubicBezTo>
                <a:cubicBezTo>
                  <a:pt x="63" y="66"/>
                  <a:pt x="65" y="63"/>
                  <a:pt x="66" y="59"/>
                </a:cubicBezTo>
                <a:cubicBezTo>
                  <a:pt x="66" y="57"/>
                  <a:pt x="65" y="55"/>
                  <a:pt x="63" y="52"/>
                </a:cubicBezTo>
                <a:cubicBezTo>
                  <a:pt x="60" y="49"/>
                  <a:pt x="57" y="47"/>
                  <a:pt x="54" y="47"/>
                </a:cubicBezTo>
                <a:cubicBezTo>
                  <a:pt x="52" y="47"/>
                  <a:pt x="51" y="48"/>
                  <a:pt x="50" y="48"/>
                </a:cubicBezTo>
                <a:cubicBezTo>
                  <a:pt x="46" y="51"/>
                  <a:pt x="45" y="54"/>
                  <a:pt x="45" y="54"/>
                </a:cubicBezTo>
                <a:lnTo>
                  <a:pt x="48" y="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2138507" y="908720"/>
            <a:ext cx="1190962" cy="1038924"/>
          </a:xfrm>
          <a:custGeom>
            <a:avLst/>
            <a:gdLst>
              <a:gd name="T0" fmla="*/ 302 w 357"/>
              <a:gd name="T1" fmla="*/ 41 h 311"/>
              <a:gd name="T2" fmla="*/ 292 w 357"/>
              <a:gd name="T3" fmla="*/ 26 h 311"/>
              <a:gd name="T4" fmla="*/ 181 w 357"/>
              <a:gd name="T5" fmla="*/ 34 h 311"/>
              <a:gd name="T6" fmla="*/ 161 w 357"/>
              <a:gd name="T7" fmla="*/ 38 h 311"/>
              <a:gd name="T8" fmla="*/ 125 w 357"/>
              <a:gd name="T9" fmla="*/ 98 h 311"/>
              <a:gd name="T10" fmla="*/ 103 w 357"/>
              <a:gd name="T11" fmla="*/ 91 h 311"/>
              <a:gd name="T12" fmla="*/ 37 w 357"/>
              <a:gd name="T13" fmla="*/ 145 h 311"/>
              <a:gd name="T14" fmla="*/ 19 w 357"/>
              <a:gd name="T15" fmla="*/ 160 h 311"/>
              <a:gd name="T16" fmla="*/ 9 w 357"/>
              <a:gd name="T17" fmla="*/ 228 h 311"/>
              <a:gd name="T18" fmla="*/ 24 w 357"/>
              <a:gd name="T19" fmla="*/ 239 h 311"/>
              <a:gd name="T20" fmla="*/ 15 w 357"/>
              <a:gd name="T21" fmla="*/ 291 h 311"/>
              <a:gd name="T22" fmla="*/ 28 w 357"/>
              <a:gd name="T23" fmla="*/ 301 h 311"/>
              <a:gd name="T24" fmla="*/ 51 w 357"/>
              <a:gd name="T25" fmla="*/ 310 h 311"/>
              <a:gd name="T26" fmla="*/ 94 w 357"/>
              <a:gd name="T27" fmla="*/ 300 h 311"/>
              <a:gd name="T28" fmla="*/ 133 w 357"/>
              <a:gd name="T29" fmla="*/ 308 h 311"/>
              <a:gd name="T30" fmla="*/ 205 w 357"/>
              <a:gd name="T31" fmla="*/ 242 h 311"/>
              <a:gd name="T32" fmla="*/ 225 w 357"/>
              <a:gd name="T33" fmla="*/ 220 h 311"/>
              <a:gd name="T34" fmla="*/ 246 w 357"/>
              <a:gd name="T35" fmla="*/ 224 h 311"/>
              <a:gd name="T36" fmla="*/ 308 w 357"/>
              <a:gd name="T37" fmla="*/ 179 h 311"/>
              <a:gd name="T38" fmla="*/ 322 w 357"/>
              <a:gd name="T39" fmla="*/ 174 h 311"/>
              <a:gd name="T40" fmla="*/ 353 w 357"/>
              <a:gd name="T41" fmla="*/ 82 h 311"/>
              <a:gd name="T42" fmla="*/ 353 w 357"/>
              <a:gd name="T43" fmla="*/ 108 h 311"/>
              <a:gd name="T44" fmla="*/ 310 w 357"/>
              <a:gd name="T45" fmla="*/ 175 h 311"/>
              <a:gd name="T46" fmla="*/ 306 w 357"/>
              <a:gd name="T47" fmla="*/ 177 h 311"/>
              <a:gd name="T48" fmla="*/ 304 w 357"/>
              <a:gd name="T49" fmla="*/ 178 h 311"/>
              <a:gd name="T50" fmla="*/ 246 w 357"/>
              <a:gd name="T51" fmla="*/ 220 h 311"/>
              <a:gd name="T52" fmla="*/ 221 w 357"/>
              <a:gd name="T53" fmla="*/ 218 h 311"/>
              <a:gd name="T54" fmla="*/ 203 w 357"/>
              <a:gd name="T55" fmla="*/ 240 h 311"/>
              <a:gd name="T56" fmla="*/ 201 w 357"/>
              <a:gd name="T57" fmla="*/ 241 h 311"/>
              <a:gd name="T58" fmla="*/ 196 w 357"/>
              <a:gd name="T59" fmla="*/ 266 h 311"/>
              <a:gd name="T60" fmla="*/ 105 w 357"/>
              <a:gd name="T61" fmla="*/ 301 h 311"/>
              <a:gd name="T62" fmla="*/ 93 w 357"/>
              <a:gd name="T63" fmla="*/ 297 h 311"/>
              <a:gd name="T64" fmla="*/ 80 w 357"/>
              <a:gd name="T65" fmla="*/ 305 h 311"/>
              <a:gd name="T66" fmla="*/ 40 w 357"/>
              <a:gd name="T67" fmla="*/ 302 h 311"/>
              <a:gd name="T68" fmla="*/ 26 w 357"/>
              <a:gd name="T69" fmla="*/ 297 h 311"/>
              <a:gd name="T70" fmla="*/ 14 w 357"/>
              <a:gd name="T71" fmla="*/ 258 h 311"/>
              <a:gd name="T72" fmla="*/ 26 w 357"/>
              <a:gd name="T73" fmla="*/ 238 h 311"/>
              <a:gd name="T74" fmla="*/ 4 w 357"/>
              <a:gd name="T75" fmla="*/ 198 h 311"/>
              <a:gd name="T76" fmla="*/ 39 w 357"/>
              <a:gd name="T77" fmla="*/ 148 h 311"/>
              <a:gd name="T78" fmla="*/ 41 w 357"/>
              <a:gd name="T79" fmla="*/ 147 h 311"/>
              <a:gd name="T80" fmla="*/ 103 w 357"/>
              <a:gd name="T81" fmla="*/ 95 h 311"/>
              <a:gd name="T82" fmla="*/ 130 w 357"/>
              <a:gd name="T83" fmla="*/ 101 h 311"/>
              <a:gd name="T84" fmla="*/ 132 w 357"/>
              <a:gd name="T85" fmla="*/ 72 h 311"/>
              <a:gd name="T86" fmla="*/ 181 w 357"/>
              <a:gd name="T87" fmla="*/ 37 h 311"/>
              <a:gd name="T88" fmla="*/ 184 w 357"/>
              <a:gd name="T89" fmla="*/ 37 h 311"/>
              <a:gd name="T90" fmla="*/ 259 w 357"/>
              <a:gd name="T91" fmla="*/ 7 h 311"/>
              <a:gd name="T92" fmla="*/ 299 w 357"/>
              <a:gd name="T93" fmla="*/ 42 h 311"/>
              <a:gd name="T94" fmla="*/ 300 w 357"/>
              <a:gd name="T95" fmla="*/ 44 h 311"/>
              <a:gd name="T96" fmla="*/ 351 w 357"/>
              <a:gd name="T97" fmla="*/ 82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57" h="311">
                <a:moveTo>
                  <a:pt x="351" y="82"/>
                </a:moveTo>
                <a:cubicBezTo>
                  <a:pt x="353" y="82"/>
                  <a:pt x="353" y="82"/>
                  <a:pt x="353" y="82"/>
                </a:cubicBezTo>
                <a:cubicBezTo>
                  <a:pt x="346" y="62"/>
                  <a:pt x="327" y="45"/>
                  <a:pt x="302" y="41"/>
                </a:cubicBezTo>
                <a:cubicBezTo>
                  <a:pt x="301" y="43"/>
                  <a:pt x="301" y="43"/>
                  <a:pt x="301" y="43"/>
                </a:cubicBezTo>
                <a:cubicBezTo>
                  <a:pt x="303" y="42"/>
                  <a:pt x="303" y="42"/>
                  <a:pt x="303" y="42"/>
                </a:cubicBezTo>
                <a:cubicBezTo>
                  <a:pt x="303" y="41"/>
                  <a:pt x="300" y="34"/>
                  <a:pt x="292" y="26"/>
                </a:cubicBezTo>
                <a:cubicBezTo>
                  <a:pt x="285" y="18"/>
                  <a:pt x="274" y="8"/>
                  <a:pt x="260" y="4"/>
                </a:cubicBezTo>
                <a:cubicBezTo>
                  <a:pt x="253" y="1"/>
                  <a:pt x="245" y="0"/>
                  <a:pt x="238" y="0"/>
                </a:cubicBezTo>
                <a:cubicBezTo>
                  <a:pt x="216" y="0"/>
                  <a:pt x="194" y="11"/>
                  <a:pt x="181" y="34"/>
                </a:cubicBezTo>
                <a:cubicBezTo>
                  <a:pt x="183" y="35"/>
                  <a:pt x="183" y="35"/>
                  <a:pt x="183" y="35"/>
                </a:cubicBezTo>
                <a:cubicBezTo>
                  <a:pt x="182" y="33"/>
                  <a:pt x="182" y="33"/>
                  <a:pt x="182" y="33"/>
                </a:cubicBezTo>
                <a:cubicBezTo>
                  <a:pt x="182" y="33"/>
                  <a:pt x="172" y="33"/>
                  <a:pt x="161" y="38"/>
                </a:cubicBezTo>
                <a:cubicBezTo>
                  <a:pt x="149" y="43"/>
                  <a:pt x="135" y="53"/>
                  <a:pt x="128" y="71"/>
                </a:cubicBezTo>
                <a:cubicBezTo>
                  <a:pt x="126" y="77"/>
                  <a:pt x="125" y="84"/>
                  <a:pt x="125" y="90"/>
                </a:cubicBezTo>
                <a:cubicBezTo>
                  <a:pt x="125" y="93"/>
                  <a:pt x="125" y="95"/>
                  <a:pt x="125" y="98"/>
                </a:cubicBezTo>
                <a:cubicBezTo>
                  <a:pt x="127" y="98"/>
                  <a:pt x="127" y="98"/>
                  <a:pt x="127" y="98"/>
                </a:cubicBezTo>
                <a:cubicBezTo>
                  <a:pt x="128" y="96"/>
                  <a:pt x="128" y="96"/>
                  <a:pt x="128" y="96"/>
                </a:cubicBezTo>
                <a:cubicBezTo>
                  <a:pt x="121" y="93"/>
                  <a:pt x="112" y="91"/>
                  <a:pt x="103" y="91"/>
                </a:cubicBezTo>
                <a:cubicBezTo>
                  <a:pt x="102" y="91"/>
                  <a:pt x="102" y="91"/>
                  <a:pt x="102" y="91"/>
                </a:cubicBezTo>
                <a:cubicBezTo>
                  <a:pt x="87" y="91"/>
                  <a:pt x="73" y="96"/>
                  <a:pt x="61" y="105"/>
                </a:cubicBezTo>
                <a:cubicBezTo>
                  <a:pt x="49" y="114"/>
                  <a:pt x="41" y="128"/>
                  <a:pt x="37" y="145"/>
                </a:cubicBezTo>
                <a:cubicBezTo>
                  <a:pt x="39" y="145"/>
                  <a:pt x="39" y="145"/>
                  <a:pt x="39" y="145"/>
                </a:cubicBezTo>
                <a:cubicBezTo>
                  <a:pt x="38" y="144"/>
                  <a:pt x="38" y="144"/>
                  <a:pt x="38" y="144"/>
                </a:cubicBezTo>
                <a:cubicBezTo>
                  <a:pt x="38" y="144"/>
                  <a:pt x="29" y="150"/>
                  <a:pt x="19" y="160"/>
                </a:cubicBezTo>
                <a:cubicBezTo>
                  <a:pt x="10" y="169"/>
                  <a:pt x="0" y="183"/>
                  <a:pt x="0" y="198"/>
                </a:cubicBezTo>
                <a:cubicBezTo>
                  <a:pt x="0" y="199"/>
                  <a:pt x="0" y="199"/>
                  <a:pt x="0" y="200"/>
                </a:cubicBezTo>
                <a:cubicBezTo>
                  <a:pt x="0" y="212"/>
                  <a:pt x="4" y="221"/>
                  <a:pt x="9" y="228"/>
                </a:cubicBezTo>
                <a:cubicBezTo>
                  <a:pt x="13" y="235"/>
                  <a:pt x="19" y="239"/>
                  <a:pt x="24" y="242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39"/>
                  <a:pt x="24" y="239"/>
                  <a:pt x="24" y="239"/>
                </a:cubicBezTo>
                <a:cubicBezTo>
                  <a:pt x="18" y="245"/>
                  <a:pt x="13" y="251"/>
                  <a:pt x="11" y="256"/>
                </a:cubicBezTo>
                <a:cubicBezTo>
                  <a:pt x="9" y="260"/>
                  <a:pt x="8" y="264"/>
                  <a:pt x="8" y="269"/>
                </a:cubicBezTo>
                <a:cubicBezTo>
                  <a:pt x="8" y="277"/>
                  <a:pt x="11" y="285"/>
                  <a:pt x="15" y="291"/>
                </a:cubicBezTo>
                <a:cubicBezTo>
                  <a:pt x="17" y="294"/>
                  <a:pt x="19" y="296"/>
                  <a:pt x="21" y="298"/>
                </a:cubicBezTo>
                <a:cubicBezTo>
                  <a:pt x="22" y="299"/>
                  <a:pt x="23" y="300"/>
                  <a:pt x="24" y="300"/>
                </a:cubicBezTo>
                <a:cubicBezTo>
                  <a:pt x="25" y="301"/>
                  <a:pt x="26" y="301"/>
                  <a:pt x="28" y="301"/>
                </a:cubicBezTo>
                <a:cubicBezTo>
                  <a:pt x="29" y="301"/>
                  <a:pt x="30" y="302"/>
                  <a:pt x="32" y="302"/>
                </a:cubicBezTo>
                <a:cubicBezTo>
                  <a:pt x="35" y="303"/>
                  <a:pt x="38" y="305"/>
                  <a:pt x="42" y="307"/>
                </a:cubicBezTo>
                <a:cubicBezTo>
                  <a:pt x="45" y="308"/>
                  <a:pt x="48" y="310"/>
                  <a:pt x="51" y="310"/>
                </a:cubicBezTo>
                <a:cubicBezTo>
                  <a:pt x="53" y="311"/>
                  <a:pt x="57" y="311"/>
                  <a:pt x="63" y="311"/>
                </a:cubicBezTo>
                <a:cubicBezTo>
                  <a:pt x="69" y="311"/>
                  <a:pt x="75" y="311"/>
                  <a:pt x="81" y="309"/>
                </a:cubicBezTo>
                <a:cubicBezTo>
                  <a:pt x="86" y="308"/>
                  <a:pt x="91" y="305"/>
                  <a:pt x="94" y="300"/>
                </a:cubicBezTo>
                <a:cubicBezTo>
                  <a:pt x="93" y="299"/>
                  <a:pt x="93" y="299"/>
                  <a:pt x="93" y="299"/>
                </a:cubicBezTo>
                <a:cubicBezTo>
                  <a:pt x="92" y="301"/>
                  <a:pt x="92" y="301"/>
                  <a:pt x="92" y="301"/>
                </a:cubicBezTo>
                <a:cubicBezTo>
                  <a:pt x="92" y="301"/>
                  <a:pt x="110" y="308"/>
                  <a:pt x="133" y="308"/>
                </a:cubicBezTo>
                <a:cubicBezTo>
                  <a:pt x="144" y="308"/>
                  <a:pt x="157" y="307"/>
                  <a:pt x="168" y="301"/>
                </a:cubicBezTo>
                <a:cubicBezTo>
                  <a:pt x="186" y="293"/>
                  <a:pt x="195" y="278"/>
                  <a:pt x="200" y="265"/>
                </a:cubicBezTo>
                <a:cubicBezTo>
                  <a:pt x="205" y="252"/>
                  <a:pt x="205" y="242"/>
                  <a:pt x="205" y="242"/>
                </a:cubicBezTo>
                <a:cubicBezTo>
                  <a:pt x="203" y="242"/>
                  <a:pt x="203" y="242"/>
                  <a:pt x="203" y="242"/>
                </a:cubicBezTo>
                <a:cubicBezTo>
                  <a:pt x="204" y="243"/>
                  <a:pt x="204" y="243"/>
                  <a:pt x="204" y="243"/>
                </a:cubicBezTo>
                <a:cubicBezTo>
                  <a:pt x="205" y="243"/>
                  <a:pt x="217" y="235"/>
                  <a:pt x="225" y="220"/>
                </a:cubicBezTo>
                <a:cubicBezTo>
                  <a:pt x="223" y="219"/>
                  <a:pt x="223" y="219"/>
                  <a:pt x="223" y="219"/>
                </a:cubicBezTo>
                <a:cubicBezTo>
                  <a:pt x="222" y="220"/>
                  <a:pt x="222" y="220"/>
                  <a:pt x="222" y="220"/>
                </a:cubicBezTo>
                <a:cubicBezTo>
                  <a:pt x="230" y="223"/>
                  <a:pt x="238" y="224"/>
                  <a:pt x="246" y="224"/>
                </a:cubicBezTo>
                <a:cubicBezTo>
                  <a:pt x="249" y="224"/>
                  <a:pt x="252" y="224"/>
                  <a:pt x="254" y="224"/>
                </a:cubicBezTo>
                <a:cubicBezTo>
                  <a:pt x="274" y="221"/>
                  <a:pt x="288" y="210"/>
                  <a:pt x="296" y="200"/>
                </a:cubicBezTo>
                <a:cubicBezTo>
                  <a:pt x="305" y="189"/>
                  <a:pt x="308" y="180"/>
                  <a:pt x="308" y="179"/>
                </a:cubicBezTo>
                <a:cubicBezTo>
                  <a:pt x="307" y="179"/>
                  <a:pt x="307" y="179"/>
                  <a:pt x="307" y="179"/>
                </a:cubicBezTo>
                <a:cubicBezTo>
                  <a:pt x="307" y="181"/>
                  <a:pt x="307" y="181"/>
                  <a:pt x="307" y="181"/>
                </a:cubicBezTo>
                <a:cubicBezTo>
                  <a:pt x="307" y="181"/>
                  <a:pt x="314" y="179"/>
                  <a:pt x="322" y="174"/>
                </a:cubicBezTo>
                <a:cubicBezTo>
                  <a:pt x="330" y="169"/>
                  <a:pt x="340" y="161"/>
                  <a:pt x="347" y="148"/>
                </a:cubicBezTo>
                <a:cubicBezTo>
                  <a:pt x="354" y="134"/>
                  <a:pt x="357" y="121"/>
                  <a:pt x="357" y="108"/>
                </a:cubicBezTo>
                <a:cubicBezTo>
                  <a:pt x="357" y="98"/>
                  <a:pt x="355" y="90"/>
                  <a:pt x="353" y="82"/>
                </a:cubicBezTo>
                <a:cubicBezTo>
                  <a:pt x="351" y="82"/>
                  <a:pt x="351" y="82"/>
                  <a:pt x="351" y="82"/>
                </a:cubicBezTo>
                <a:cubicBezTo>
                  <a:pt x="349" y="83"/>
                  <a:pt x="349" y="83"/>
                  <a:pt x="349" y="83"/>
                </a:cubicBezTo>
                <a:cubicBezTo>
                  <a:pt x="351" y="91"/>
                  <a:pt x="353" y="99"/>
                  <a:pt x="353" y="108"/>
                </a:cubicBezTo>
                <a:cubicBezTo>
                  <a:pt x="353" y="120"/>
                  <a:pt x="350" y="133"/>
                  <a:pt x="343" y="147"/>
                </a:cubicBezTo>
                <a:cubicBezTo>
                  <a:pt x="337" y="158"/>
                  <a:pt x="328" y="165"/>
                  <a:pt x="320" y="170"/>
                </a:cubicBezTo>
                <a:cubicBezTo>
                  <a:pt x="316" y="173"/>
                  <a:pt x="313" y="174"/>
                  <a:pt x="310" y="175"/>
                </a:cubicBezTo>
                <a:cubicBezTo>
                  <a:pt x="309" y="176"/>
                  <a:pt x="308" y="176"/>
                  <a:pt x="307" y="177"/>
                </a:cubicBezTo>
                <a:cubicBezTo>
                  <a:pt x="306" y="177"/>
                  <a:pt x="306" y="177"/>
                  <a:pt x="306" y="177"/>
                </a:cubicBezTo>
                <a:cubicBezTo>
                  <a:pt x="306" y="177"/>
                  <a:pt x="306" y="177"/>
                  <a:pt x="306" y="177"/>
                </a:cubicBezTo>
                <a:cubicBezTo>
                  <a:pt x="305" y="177"/>
                  <a:pt x="305" y="177"/>
                  <a:pt x="305" y="177"/>
                </a:cubicBezTo>
                <a:cubicBezTo>
                  <a:pt x="305" y="178"/>
                  <a:pt x="305" y="178"/>
                  <a:pt x="305" y="178"/>
                </a:cubicBezTo>
                <a:cubicBezTo>
                  <a:pt x="304" y="178"/>
                  <a:pt x="304" y="178"/>
                  <a:pt x="304" y="178"/>
                </a:cubicBezTo>
                <a:cubicBezTo>
                  <a:pt x="304" y="180"/>
                  <a:pt x="300" y="190"/>
                  <a:pt x="291" y="199"/>
                </a:cubicBezTo>
                <a:cubicBezTo>
                  <a:pt x="283" y="209"/>
                  <a:pt x="271" y="218"/>
                  <a:pt x="254" y="220"/>
                </a:cubicBezTo>
                <a:cubicBezTo>
                  <a:pt x="251" y="220"/>
                  <a:pt x="249" y="220"/>
                  <a:pt x="246" y="220"/>
                </a:cubicBezTo>
                <a:cubicBezTo>
                  <a:pt x="238" y="220"/>
                  <a:pt x="231" y="219"/>
                  <a:pt x="224" y="217"/>
                </a:cubicBezTo>
                <a:cubicBezTo>
                  <a:pt x="222" y="216"/>
                  <a:pt x="222" y="216"/>
                  <a:pt x="222" y="216"/>
                </a:cubicBezTo>
                <a:cubicBezTo>
                  <a:pt x="221" y="218"/>
                  <a:pt x="221" y="218"/>
                  <a:pt x="221" y="218"/>
                </a:cubicBezTo>
                <a:cubicBezTo>
                  <a:pt x="217" y="225"/>
                  <a:pt x="213" y="230"/>
                  <a:pt x="209" y="234"/>
                </a:cubicBezTo>
                <a:cubicBezTo>
                  <a:pt x="207" y="236"/>
                  <a:pt x="205" y="238"/>
                  <a:pt x="204" y="239"/>
                </a:cubicBezTo>
                <a:cubicBezTo>
                  <a:pt x="203" y="239"/>
                  <a:pt x="203" y="239"/>
                  <a:pt x="203" y="240"/>
                </a:cubicBezTo>
                <a:cubicBezTo>
                  <a:pt x="202" y="240"/>
                  <a:pt x="202" y="240"/>
                  <a:pt x="202" y="240"/>
                </a:cubicBezTo>
                <a:cubicBezTo>
                  <a:pt x="202" y="240"/>
                  <a:pt x="202" y="240"/>
                  <a:pt x="202" y="240"/>
                </a:cubicBezTo>
                <a:cubicBezTo>
                  <a:pt x="201" y="241"/>
                  <a:pt x="201" y="241"/>
                  <a:pt x="201" y="241"/>
                </a:cubicBezTo>
                <a:cubicBezTo>
                  <a:pt x="201" y="242"/>
                  <a:pt x="201" y="242"/>
                  <a:pt x="201" y="242"/>
                </a:cubicBezTo>
                <a:cubicBezTo>
                  <a:pt x="201" y="242"/>
                  <a:pt x="201" y="242"/>
                  <a:pt x="201" y="242"/>
                </a:cubicBezTo>
                <a:cubicBezTo>
                  <a:pt x="201" y="244"/>
                  <a:pt x="200" y="254"/>
                  <a:pt x="196" y="266"/>
                </a:cubicBezTo>
                <a:cubicBezTo>
                  <a:pt x="191" y="277"/>
                  <a:pt x="182" y="290"/>
                  <a:pt x="167" y="297"/>
                </a:cubicBezTo>
                <a:cubicBezTo>
                  <a:pt x="156" y="303"/>
                  <a:pt x="144" y="304"/>
                  <a:pt x="133" y="304"/>
                </a:cubicBezTo>
                <a:cubicBezTo>
                  <a:pt x="122" y="304"/>
                  <a:pt x="112" y="303"/>
                  <a:pt x="105" y="301"/>
                </a:cubicBezTo>
                <a:cubicBezTo>
                  <a:pt x="101" y="300"/>
                  <a:pt x="98" y="299"/>
                  <a:pt x="96" y="298"/>
                </a:cubicBezTo>
                <a:cubicBezTo>
                  <a:pt x="95" y="298"/>
                  <a:pt x="95" y="298"/>
                  <a:pt x="94" y="298"/>
                </a:cubicBezTo>
                <a:cubicBezTo>
                  <a:pt x="94" y="297"/>
                  <a:pt x="93" y="297"/>
                  <a:pt x="93" y="297"/>
                </a:cubicBezTo>
                <a:cubicBezTo>
                  <a:pt x="92" y="297"/>
                  <a:pt x="92" y="297"/>
                  <a:pt x="92" y="297"/>
                </a:cubicBezTo>
                <a:cubicBezTo>
                  <a:pt x="91" y="298"/>
                  <a:pt x="91" y="298"/>
                  <a:pt x="91" y="298"/>
                </a:cubicBezTo>
                <a:cubicBezTo>
                  <a:pt x="89" y="302"/>
                  <a:pt x="85" y="304"/>
                  <a:pt x="80" y="305"/>
                </a:cubicBezTo>
                <a:cubicBezTo>
                  <a:pt x="74" y="307"/>
                  <a:pt x="68" y="307"/>
                  <a:pt x="63" y="307"/>
                </a:cubicBezTo>
                <a:cubicBezTo>
                  <a:pt x="58" y="307"/>
                  <a:pt x="53" y="307"/>
                  <a:pt x="51" y="306"/>
                </a:cubicBezTo>
                <a:cubicBezTo>
                  <a:pt x="49" y="306"/>
                  <a:pt x="45" y="304"/>
                  <a:pt x="40" y="302"/>
                </a:cubicBezTo>
                <a:cubicBezTo>
                  <a:pt x="38" y="300"/>
                  <a:pt x="36" y="299"/>
                  <a:pt x="34" y="299"/>
                </a:cubicBezTo>
                <a:cubicBezTo>
                  <a:pt x="32" y="298"/>
                  <a:pt x="30" y="297"/>
                  <a:pt x="28" y="297"/>
                </a:cubicBezTo>
                <a:cubicBezTo>
                  <a:pt x="27" y="297"/>
                  <a:pt x="27" y="297"/>
                  <a:pt x="26" y="297"/>
                </a:cubicBezTo>
                <a:cubicBezTo>
                  <a:pt x="24" y="296"/>
                  <a:pt x="20" y="292"/>
                  <a:pt x="17" y="287"/>
                </a:cubicBezTo>
                <a:cubicBezTo>
                  <a:pt x="14" y="282"/>
                  <a:pt x="12" y="275"/>
                  <a:pt x="12" y="269"/>
                </a:cubicBezTo>
                <a:cubicBezTo>
                  <a:pt x="12" y="265"/>
                  <a:pt x="13" y="261"/>
                  <a:pt x="14" y="258"/>
                </a:cubicBezTo>
                <a:cubicBezTo>
                  <a:pt x="16" y="253"/>
                  <a:pt x="21" y="248"/>
                  <a:pt x="27" y="241"/>
                </a:cubicBezTo>
                <a:cubicBezTo>
                  <a:pt x="28" y="240"/>
                  <a:pt x="28" y="240"/>
                  <a:pt x="28" y="240"/>
                </a:cubicBezTo>
                <a:cubicBezTo>
                  <a:pt x="26" y="238"/>
                  <a:pt x="26" y="238"/>
                  <a:pt x="26" y="238"/>
                </a:cubicBezTo>
                <a:cubicBezTo>
                  <a:pt x="22" y="236"/>
                  <a:pt x="16" y="232"/>
                  <a:pt x="12" y="225"/>
                </a:cubicBezTo>
                <a:cubicBezTo>
                  <a:pt x="8" y="219"/>
                  <a:pt x="4" y="211"/>
                  <a:pt x="4" y="200"/>
                </a:cubicBezTo>
                <a:cubicBezTo>
                  <a:pt x="4" y="199"/>
                  <a:pt x="4" y="199"/>
                  <a:pt x="4" y="198"/>
                </a:cubicBezTo>
                <a:cubicBezTo>
                  <a:pt x="4" y="185"/>
                  <a:pt x="13" y="172"/>
                  <a:pt x="22" y="162"/>
                </a:cubicBezTo>
                <a:cubicBezTo>
                  <a:pt x="27" y="158"/>
                  <a:pt x="31" y="154"/>
                  <a:pt x="35" y="151"/>
                </a:cubicBezTo>
                <a:cubicBezTo>
                  <a:pt x="36" y="150"/>
                  <a:pt x="38" y="149"/>
                  <a:pt x="39" y="148"/>
                </a:cubicBezTo>
                <a:cubicBezTo>
                  <a:pt x="39" y="148"/>
                  <a:pt x="40" y="147"/>
                  <a:pt x="40" y="147"/>
                </a:cubicBezTo>
                <a:cubicBezTo>
                  <a:pt x="40" y="147"/>
                  <a:pt x="40" y="147"/>
                  <a:pt x="40" y="147"/>
                </a:cubicBezTo>
                <a:cubicBezTo>
                  <a:pt x="41" y="147"/>
                  <a:pt x="41" y="147"/>
                  <a:pt x="41" y="147"/>
                </a:cubicBezTo>
                <a:cubicBezTo>
                  <a:pt x="41" y="146"/>
                  <a:pt x="41" y="146"/>
                  <a:pt x="41" y="146"/>
                </a:cubicBezTo>
                <a:cubicBezTo>
                  <a:pt x="44" y="129"/>
                  <a:pt x="53" y="117"/>
                  <a:pt x="64" y="108"/>
                </a:cubicBezTo>
                <a:cubicBezTo>
                  <a:pt x="74" y="100"/>
                  <a:pt x="88" y="95"/>
                  <a:pt x="103" y="95"/>
                </a:cubicBezTo>
                <a:cubicBezTo>
                  <a:pt x="103" y="95"/>
                  <a:pt x="103" y="95"/>
                  <a:pt x="103" y="95"/>
                </a:cubicBezTo>
                <a:cubicBezTo>
                  <a:pt x="112" y="95"/>
                  <a:pt x="120" y="97"/>
                  <a:pt x="127" y="100"/>
                </a:cubicBezTo>
                <a:cubicBezTo>
                  <a:pt x="130" y="101"/>
                  <a:pt x="130" y="101"/>
                  <a:pt x="130" y="101"/>
                </a:cubicBezTo>
                <a:cubicBezTo>
                  <a:pt x="129" y="97"/>
                  <a:pt x="129" y="97"/>
                  <a:pt x="129" y="97"/>
                </a:cubicBezTo>
                <a:cubicBezTo>
                  <a:pt x="129" y="95"/>
                  <a:pt x="129" y="92"/>
                  <a:pt x="129" y="90"/>
                </a:cubicBezTo>
                <a:cubicBezTo>
                  <a:pt x="129" y="84"/>
                  <a:pt x="130" y="78"/>
                  <a:pt x="132" y="72"/>
                </a:cubicBezTo>
                <a:cubicBezTo>
                  <a:pt x="139" y="55"/>
                  <a:pt x="151" y="47"/>
                  <a:pt x="162" y="42"/>
                </a:cubicBezTo>
                <a:cubicBezTo>
                  <a:pt x="168" y="40"/>
                  <a:pt x="173" y="38"/>
                  <a:pt x="177" y="37"/>
                </a:cubicBezTo>
                <a:cubicBezTo>
                  <a:pt x="179" y="37"/>
                  <a:pt x="180" y="37"/>
                  <a:pt x="181" y="37"/>
                </a:cubicBezTo>
                <a:cubicBezTo>
                  <a:pt x="182" y="37"/>
                  <a:pt x="182" y="37"/>
                  <a:pt x="182" y="37"/>
                </a:cubicBezTo>
                <a:cubicBezTo>
                  <a:pt x="183" y="37"/>
                  <a:pt x="183" y="37"/>
                  <a:pt x="183" y="37"/>
                </a:cubicBezTo>
                <a:cubicBezTo>
                  <a:pt x="184" y="37"/>
                  <a:pt x="184" y="37"/>
                  <a:pt x="184" y="37"/>
                </a:cubicBezTo>
                <a:cubicBezTo>
                  <a:pt x="184" y="36"/>
                  <a:pt x="184" y="36"/>
                  <a:pt x="184" y="36"/>
                </a:cubicBezTo>
                <a:cubicBezTo>
                  <a:pt x="197" y="14"/>
                  <a:pt x="217" y="4"/>
                  <a:pt x="238" y="4"/>
                </a:cubicBezTo>
                <a:cubicBezTo>
                  <a:pt x="245" y="4"/>
                  <a:pt x="252" y="5"/>
                  <a:pt x="259" y="7"/>
                </a:cubicBezTo>
                <a:cubicBezTo>
                  <a:pt x="272" y="12"/>
                  <a:pt x="282" y="21"/>
                  <a:pt x="289" y="29"/>
                </a:cubicBezTo>
                <a:cubicBezTo>
                  <a:pt x="293" y="33"/>
                  <a:pt x="295" y="36"/>
                  <a:pt x="297" y="39"/>
                </a:cubicBezTo>
                <a:cubicBezTo>
                  <a:pt x="298" y="40"/>
                  <a:pt x="299" y="42"/>
                  <a:pt x="299" y="42"/>
                </a:cubicBezTo>
                <a:cubicBezTo>
                  <a:pt x="299" y="43"/>
                  <a:pt x="299" y="43"/>
                  <a:pt x="300" y="43"/>
                </a:cubicBezTo>
                <a:cubicBezTo>
                  <a:pt x="300" y="43"/>
                  <a:pt x="300" y="43"/>
                  <a:pt x="300" y="43"/>
                </a:cubicBezTo>
                <a:cubicBezTo>
                  <a:pt x="300" y="44"/>
                  <a:pt x="300" y="44"/>
                  <a:pt x="300" y="44"/>
                </a:cubicBezTo>
                <a:cubicBezTo>
                  <a:pt x="301" y="44"/>
                  <a:pt x="301" y="44"/>
                  <a:pt x="301" y="44"/>
                </a:cubicBezTo>
                <a:cubicBezTo>
                  <a:pt x="325" y="48"/>
                  <a:pt x="343" y="65"/>
                  <a:pt x="349" y="83"/>
                </a:cubicBezTo>
                <a:lnTo>
                  <a:pt x="351" y="8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8" name="Freeform 17"/>
          <p:cNvSpPr>
            <a:spLocks/>
          </p:cNvSpPr>
          <p:nvPr/>
        </p:nvSpPr>
        <p:spPr bwMode="auto">
          <a:xfrm>
            <a:off x="1721811" y="1830801"/>
            <a:ext cx="974168" cy="764412"/>
          </a:xfrm>
          <a:custGeom>
            <a:avLst/>
            <a:gdLst>
              <a:gd name="T0" fmla="*/ 72 w 292"/>
              <a:gd name="T1" fmla="*/ 211 h 229"/>
              <a:gd name="T2" fmla="*/ 130 w 292"/>
              <a:gd name="T3" fmla="*/ 166 h 229"/>
              <a:gd name="T4" fmla="*/ 149 w 292"/>
              <a:gd name="T5" fmla="*/ 173 h 229"/>
              <a:gd name="T6" fmla="*/ 182 w 292"/>
              <a:gd name="T7" fmla="*/ 164 h 229"/>
              <a:gd name="T8" fmla="*/ 267 w 292"/>
              <a:gd name="T9" fmla="*/ 137 h 229"/>
              <a:gd name="T10" fmla="*/ 280 w 292"/>
              <a:gd name="T11" fmla="*/ 111 h 229"/>
              <a:gd name="T12" fmla="*/ 239 w 292"/>
              <a:gd name="T13" fmla="*/ 16 h 229"/>
              <a:gd name="T14" fmla="*/ 191 w 292"/>
              <a:gd name="T15" fmla="*/ 0 h 229"/>
              <a:gd name="T16" fmla="*/ 141 w 292"/>
              <a:gd name="T17" fmla="*/ 43 h 229"/>
              <a:gd name="T18" fmla="*/ 109 w 292"/>
              <a:gd name="T19" fmla="*/ 86 h 229"/>
              <a:gd name="T20" fmla="*/ 134 w 292"/>
              <a:gd name="T21" fmla="*/ 121 h 229"/>
              <a:gd name="T22" fmla="*/ 182 w 292"/>
              <a:gd name="T23" fmla="*/ 143 h 229"/>
              <a:gd name="T24" fmla="*/ 210 w 292"/>
              <a:gd name="T25" fmla="*/ 127 h 229"/>
              <a:gd name="T26" fmla="*/ 201 w 292"/>
              <a:gd name="T27" fmla="*/ 39 h 229"/>
              <a:gd name="T28" fmla="*/ 188 w 292"/>
              <a:gd name="T29" fmla="*/ 103 h 229"/>
              <a:gd name="T30" fmla="*/ 206 w 292"/>
              <a:gd name="T31" fmla="*/ 67 h 229"/>
              <a:gd name="T32" fmla="*/ 170 w 292"/>
              <a:gd name="T33" fmla="*/ 81 h 229"/>
              <a:gd name="T34" fmla="*/ 147 w 292"/>
              <a:gd name="T35" fmla="*/ 99 h 229"/>
              <a:gd name="T36" fmla="*/ 102 w 292"/>
              <a:gd name="T37" fmla="*/ 161 h 229"/>
              <a:gd name="T38" fmla="*/ 13 w 292"/>
              <a:gd name="T39" fmla="*/ 201 h 229"/>
              <a:gd name="T40" fmla="*/ 5 w 292"/>
              <a:gd name="T41" fmla="*/ 219 h 229"/>
              <a:gd name="T42" fmla="*/ 6 w 292"/>
              <a:gd name="T43" fmla="*/ 219 h 229"/>
              <a:gd name="T44" fmla="*/ 23 w 292"/>
              <a:gd name="T45" fmla="*/ 209 h 229"/>
              <a:gd name="T46" fmla="*/ 6 w 292"/>
              <a:gd name="T47" fmla="*/ 219 h 229"/>
              <a:gd name="T48" fmla="*/ 88 w 292"/>
              <a:gd name="T49" fmla="*/ 184 h 229"/>
              <a:gd name="T50" fmla="*/ 132 w 292"/>
              <a:gd name="T51" fmla="*/ 118 h 229"/>
              <a:gd name="T52" fmla="*/ 174 w 292"/>
              <a:gd name="T53" fmla="*/ 83 h 229"/>
              <a:gd name="T54" fmla="*/ 190 w 292"/>
              <a:gd name="T55" fmla="*/ 62 h 229"/>
              <a:gd name="T56" fmla="*/ 206 w 292"/>
              <a:gd name="T57" fmla="*/ 89 h 229"/>
              <a:gd name="T58" fmla="*/ 167 w 292"/>
              <a:gd name="T59" fmla="*/ 77 h 229"/>
              <a:gd name="T60" fmla="*/ 233 w 292"/>
              <a:gd name="T61" fmla="*/ 82 h 229"/>
              <a:gd name="T62" fmla="*/ 195 w 292"/>
              <a:gd name="T63" fmla="*/ 128 h 229"/>
              <a:gd name="T64" fmla="*/ 192 w 292"/>
              <a:gd name="T65" fmla="*/ 129 h 229"/>
              <a:gd name="T66" fmla="*/ 143 w 292"/>
              <a:gd name="T67" fmla="*/ 129 h 229"/>
              <a:gd name="T68" fmla="*/ 137 w 292"/>
              <a:gd name="T69" fmla="*/ 119 h 229"/>
              <a:gd name="T70" fmla="*/ 124 w 292"/>
              <a:gd name="T71" fmla="*/ 111 h 229"/>
              <a:gd name="T72" fmla="*/ 137 w 292"/>
              <a:gd name="T73" fmla="*/ 47 h 229"/>
              <a:gd name="T74" fmla="*/ 142 w 292"/>
              <a:gd name="T75" fmla="*/ 45 h 229"/>
              <a:gd name="T76" fmla="*/ 191 w 292"/>
              <a:gd name="T77" fmla="*/ 4 h 229"/>
              <a:gd name="T78" fmla="*/ 229 w 292"/>
              <a:gd name="T79" fmla="*/ 20 h 229"/>
              <a:gd name="T80" fmla="*/ 239 w 292"/>
              <a:gd name="T81" fmla="*/ 20 h 229"/>
              <a:gd name="T82" fmla="*/ 277 w 292"/>
              <a:gd name="T83" fmla="*/ 109 h 229"/>
              <a:gd name="T84" fmla="*/ 268 w 292"/>
              <a:gd name="T85" fmla="*/ 117 h 229"/>
              <a:gd name="T86" fmla="*/ 263 w 292"/>
              <a:gd name="T87" fmla="*/ 138 h 229"/>
              <a:gd name="T88" fmla="*/ 185 w 292"/>
              <a:gd name="T89" fmla="*/ 163 h 229"/>
              <a:gd name="T90" fmla="*/ 181 w 292"/>
              <a:gd name="T91" fmla="*/ 163 h 229"/>
              <a:gd name="T92" fmla="*/ 141 w 292"/>
              <a:gd name="T93" fmla="*/ 165 h 229"/>
              <a:gd name="T94" fmla="*/ 117 w 292"/>
              <a:gd name="T95" fmla="*/ 171 h 229"/>
              <a:gd name="T96" fmla="*/ 32 w 292"/>
              <a:gd name="T97" fmla="*/ 209 h 229"/>
              <a:gd name="T98" fmla="*/ 23 w 292"/>
              <a:gd name="T99" fmla="*/ 207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92" h="229">
                <a:moveTo>
                  <a:pt x="23" y="209"/>
                </a:moveTo>
                <a:cubicBezTo>
                  <a:pt x="23" y="211"/>
                  <a:pt x="23" y="211"/>
                  <a:pt x="23" y="211"/>
                </a:cubicBezTo>
                <a:cubicBezTo>
                  <a:pt x="23" y="211"/>
                  <a:pt x="36" y="214"/>
                  <a:pt x="51" y="214"/>
                </a:cubicBezTo>
                <a:cubicBezTo>
                  <a:pt x="58" y="214"/>
                  <a:pt x="66" y="213"/>
                  <a:pt x="72" y="211"/>
                </a:cubicBezTo>
                <a:cubicBezTo>
                  <a:pt x="92" y="206"/>
                  <a:pt x="105" y="191"/>
                  <a:pt x="110" y="185"/>
                </a:cubicBezTo>
                <a:cubicBezTo>
                  <a:pt x="112" y="181"/>
                  <a:pt x="117" y="177"/>
                  <a:pt x="121" y="173"/>
                </a:cubicBezTo>
                <a:cubicBezTo>
                  <a:pt x="123" y="171"/>
                  <a:pt x="126" y="169"/>
                  <a:pt x="127" y="168"/>
                </a:cubicBezTo>
                <a:cubicBezTo>
                  <a:pt x="128" y="167"/>
                  <a:pt x="129" y="166"/>
                  <a:pt x="130" y="166"/>
                </a:cubicBezTo>
                <a:cubicBezTo>
                  <a:pt x="131" y="166"/>
                  <a:pt x="131" y="166"/>
                  <a:pt x="131" y="166"/>
                </a:cubicBezTo>
                <a:cubicBezTo>
                  <a:pt x="132" y="166"/>
                  <a:pt x="133" y="166"/>
                  <a:pt x="135" y="167"/>
                </a:cubicBezTo>
                <a:cubicBezTo>
                  <a:pt x="137" y="167"/>
                  <a:pt x="140" y="169"/>
                  <a:pt x="142" y="170"/>
                </a:cubicBezTo>
                <a:cubicBezTo>
                  <a:pt x="145" y="171"/>
                  <a:pt x="147" y="172"/>
                  <a:pt x="149" y="173"/>
                </a:cubicBezTo>
                <a:cubicBezTo>
                  <a:pt x="151" y="173"/>
                  <a:pt x="155" y="174"/>
                  <a:pt x="159" y="174"/>
                </a:cubicBezTo>
                <a:cubicBezTo>
                  <a:pt x="163" y="174"/>
                  <a:pt x="168" y="173"/>
                  <a:pt x="173" y="172"/>
                </a:cubicBezTo>
                <a:cubicBezTo>
                  <a:pt x="177" y="171"/>
                  <a:pt x="182" y="169"/>
                  <a:pt x="184" y="16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1" y="166"/>
                  <a:pt x="181" y="166"/>
                  <a:pt x="181" y="166"/>
                </a:cubicBezTo>
                <a:cubicBezTo>
                  <a:pt x="182" y="166"/>
                  <a:pt x="196" y="171"/>
                  <a:pt x="214" y="171"/>
                </a:cubicBezTo>
                <a:cubicBezTo>
                  <a:pt x="223" y="171"/>
                  <a:pt x="232" y="170"/>
                  <a:pt x="242" y="166"/>
                </a:cubicBezTo>
                <a:cubicBezTo>
                  <a:pt x="256" y="159"/>
                  <a:pt x="263" y="147"/>
                  <a:pt x="267" y="137"/>
                </a:cubicBezTo>
                <a:cubicBezTo>
                  <a:pt x="271" y="127"/>
                  <a:pt x="271" y="119"/>
                  <a:pt x="271" y="119"/>
                </a:cubicBezTo>
                <a:cubicBezTo>
                  <a:pt x="269" y="119"/>
                  <a:pt x="269" y="119"/>
                  <a:pt x="269" y="119"/>
                </a:cubicBezTo>
                <a:cubicBezTo>
                  <a:pt x="270" y="120"/>
                  <a:pt x="270" y="120"/>
                  <a:pt x="270" y="120"/>
                </a:cubicBezTo>
                <a:cubicBezTo>
                  <a:pt x="270" y="120"/>
                  <a:pt x="275" y="117"/>
                  <a:pt x="280" y="111"/>
                </a:cubicBezTo>
                <a:cubicBezTo>
                  <a:pt x="284" y="105"/>
                  <a:pt x="290" y="97"/>
                  <a:pt x="291" y="86"/>
                </a:cubicBezTo>
                <a:cubicBezTo>
                  <a:pt x="292" y="82"/>
                  <a:pt x="292" y="78"/>
                  <a:pt x="292" y="75"/>
                </a:cubicBezTo>
                <a:cubicBezTo>
                  <a:pt x="292" y="59"/>
                  <a:pt x="287" y="45"/>
                  <a:pt x="279" y="35"/>
                </a:cubicBezTo>
                <a:cubicBezTo>
                  <a:pt x="271" y="24"/>
                  <a:pt x="255" y="16"/>
                  <a:pt x="239" y="16"/>
                </a:cubicBezTo>
                <a:cubicBezTo>
                  <a:pt x="236" y="16"/>
                  <a:pt x="233" y="16"/>
                  <a:pt x="230" y="17"/>
                </a:cubicBezTo>
                <a:cubicBezTo>
                  <a:pt x="231" y="19"/>
                  <a:pt x="231" y="19"/>
                  <a:pt x="231" y="19"/>
                </a:cubicBezTo>
                <a:cubicBezTo>
                  <a:pt x="232" y="17"/>
                  <a:pt x="232" y="17"/>
                  <a:pt x="232" y="17"/>
                </a:cubicBezTo>
                <a:cubicBezTo>
                  <a:pt x="232" y="17"/>
                  <a:pt x="214" y="0"/>
                  <a:pt x="191" y="0"/>
                </a:cubicBezTo>
                <a:cubicBezTo>
                  <a:pt x="190" y="0"/>
                  <a:pt x="190" y="0"/>
                  <a:pt x="190" y="0"/>
                </a:cubicBezTo>
                <a:cubicBezTo>
                  <a:pt x="178" y="0"/>
                  <a:pt x="167" y="4"/>
                  <a:pt x="157" y="11"/>
                </a:cubicBezTo>
                <a:cubicBezTo>
                  <a:pt x="148" y="19"/>
                  <a:pt x="141" y="29"/>
                  <a:pt x="139" y="43"/>
                </a:cubicBezTo>
                <a:cubicBezTo>
                  <a:pt x="141" y="43"/>
                  <a:pt x="141" y="43"/>
                  <a:pt x="141" y="43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40" y="41"/>
                  <a:pt x="132" y="44"/>
                  <a:pt x="125" y="51"/>
                </a:cubicBezTo>
                <a:cubicBezTo>
                  <a:pt x="117" y="58"/>
                  <a:pt x="110" y="68"/>
                  <a:pt x="109" y="83"/>
                </a:cubicBezTo>
                <a:cubicBezTo>
                  <a:pt x="109" y="84"/>
                  <a:pt x="109" y="85"/>
                  <a:pt x="109" y="86"/>
                </a:cubicBezTo>
                <a:cubicBezTo>
                  <a:pt x="109" y="100"/>
                  <a:pt x="116" y="109"/>
                  <a:pt x="122" y="115"/>
                </a:cubicBezTo>
                <a:cubicBezTo>
                  <a:pt x="128" y="120"/>
                  <a:pt x="135" y="122"/>
                  <a:pt x="135" y="122"/>
                </a:cubicBezTo>
                <a:cubicBezTo>
                  <a:pt x="136" y="120"/>
                  <a:pt x="136" y="120"/>
                  <a:pt x="136" y="120"/>
                </a:cubicBezTo>
                <a:cubicBezTo>
                  <a:pt x="134" y="121"/>
                  <a:pt x="134" y="121"/>
                  <a:pt x="134" y="121"/>
                </a:cubicBezTo>
                <a:cubicBezTo>
                  <a:pt x="134" y="121"/>
                  <a:pt x="136" y="126"/>
                  <a:pt x="139" y="131"/>
                </a:cubicBezTo>
                <a:cubicBezTo>
                  <a:pt x="143" y="137"/>
                  <a:pt x="148" y="143"/>
                  <a:pt x="155" y="145"/>
                </a:cubicBezTo>
                <a:cubicBezTo>
                  <a:pt x="158" y="146"/>
                  <a:pt x="161" y="147"/>
                  <a:pt x="164" y="147"/>
                </a:cubicBezTo>
                <a:cubicBezTo>
                  <a:pt x="170" y="147"/>
                  <a:pt x="176" y="145"/>
                  <a:pt x="182" y="143"/>
                </a:cubicBezTo>
                <a:cubicBezTo>
                  <a:pt x="187" y="140"/>
                  <a:pt x="192" y="136"/>
                  <a:pt x="195" y="131"/>
                </a:cubicBezTo>
                <a:cubicBezTo>
                  <a:pt x="194" y="130"/>
                  <a:pt x="194" y="130"/>
                  <a:pt x="194" y="130"/>
                </a:cubicBezTo>
                <a:cubicBezTo>
                  <a:pt x="194" y="132"/>
                  <a:pt x="194" y="132"/>
                  <a:pt x="194" y="132"/>
                </a:cubicBezTo>
                <a:cubicBezTo>
                  <a:pt x="194" y="132"/>
                  <a:pt x="201" y="130"/>
                  <a:pt x="210" y="127"/>
                </a:cubicBezTo>
                <a:cubicBezTo>
                  <a:pt x="218" y="124"/>
                  <a:pt x="227" y="118"/>
                  <a:pt x="231" y="109"/>
                </a:cubicBezTo>
                <a:cubicBezTo>
                  <a:pt x="234" y="102"/>
                  <a:pt x="237" y="92"/>
                  <a:pt x="237" y="82"/>
                </a:cubicBezTo>
                <a:cubicBezTo>
                  <a:pt x="237" y="69"/>
                  <a:pt x="233" y="55"/>
                  <a:pt x="222" y="47"/>
                </a:cubicBezTo>
                <a:cubicBezTo>
                  <a:pt x="215" y="41"/>
                  <a:pt x="208" y="39"/>
                  <a:pt x="201" y="39"/>
                </a:cubicBezTo>
                <a:cubicBezTo>
                  <a:pt x="188" y="39"/>
                  <a:pt x="177" y="46"/>
                  <a:pt x="170" y="54"/>
                </a:cubicBezTo>
                <a:cubicBezTo>
                  <a:pt x="165" y="60"/>
                  <a:pt x="163" y="69"/>
                  <a:pt x="163" y="77"/>
                </a:cubicBezTo>
                <a:cubicBezTo>
                  <a:pt x="163" y="84"/>
                  <a:pt x="164" y="91"/>
                  <a:pt x="169" y="96"/>
                </a:cubicBezTo>
                <a:cubicBezTo>
                  <a:pt x="174" y="100"/>
                  <a:pt x="181" y="103"/>
                  <a:pt x="188" y="103"/>
                </a:cubicBezTo>
                <a:cubicBezTo>
                  <a:pt x="192" y="103"/>
                  <a:pt x="197" y="102"/>
                  <a:pt x="200" y="100"/>
                </a:cubicBezTo>
                <a:cubicBezTo>
                  <a:pt x="204" y="98"/>
                  <a:pt x="207" y="95"/>
                  <a:pt x="209" y="91"/>
                </a:cubicBezTo>
                <a:cubicBezTo>
                  <a:pt x="211" y="88"/>
                  <a:pt x="212" y="84"/>
                  <a:pt x="212" y="81"/>
                </a:cubicBezTo>
                <a:cubicBezTo>
                  <a:pt x="212" y="76"/>
                  <a:pt x="209" y="70"/>
                  <a:pt x="206" y="67"/>
                </a:cubicBezTo>
                <a:cubicBezTo>
                  <a:pt x="203" y="63"/>
                  <a:pt x="199" y="60"/>
                  <a:pt x="195" y="59"/>
                </a:cubicBezTo>
                <a:cubicBezTo>
                  <a:pt x="194" y="59"/>
                  <a:pt x="192" y="58"/>
                  <a:pt x="190" y="58"/>
                </a:cubicBezTo>
                <a:cubicBezTo>
                  <a:pt x="186" y="58"/>
                  <a:pt x="181" y="60"/>
                  <a:pt x="177" y="64"/>
                </a:cubicBezTo>
                <a:cubicBezTo>
                  <a:pt x="173" y="67"/>
                  <a:pt x="170" y="73"/>
                  <a:pt x="170" y="81"/>
                </a:cubicBezTo>
                <a:cubicBezTo>
                  <a:pt x="170" y="81"/>
                  <a:pt x="170" y="81"/>
                  <a:pt x="170" y="82"/>
                </a:cubicBezTo>
                <a:cubicBezTo>
                  <a:pt x="172" y="82"/>
                  <a:pt x="172" y="82"/>
                  <a:pt x="172" y="82"/>
                </a:cubicBezTo>
                <a:cubicBezTo>
                  <a:pt x="171" y="80"/>
                  <a:pt x="171" y="80"/>
                  <a:pt x="171" y="80"/>
                </a:cubicBezTo>
                <a:cubicBezTo>
                  <a:pt x="171" y="80"/>
                  <a:pt x="159" y="88"/>
                  <a:pt x="147" y="99"/>
                </a:cubicBezTo>
                <a:cubicBezTo>
                  <a:pt x="141" y="104"/>
                  <a:pt x="134" y="109"/>
                  <a:pt x="129" y="115"/>
                </a:cubicBezTo>
                <a:cubicBezTo>
                  <a:pt x="124" y="120"/>
                  <a:pt x="120" y="125"/>
                  <a:pt x="118" y="130"/>
                </a:cubicBezTo>
                <a:cubicBezTo>
                  <a:pt x="114" y="138"/>
                  <a:pt x="113" y="142"/>
                  <a:pt x="112" y="145"/>
                </a:cubicBezTo>
                <a:cubicBezTo>
                  <a:pt x="111" y="149"/>
                  <a:pt x="109" y="153"/>
                  <a:pt x="102" y="161"/>
                </a:cubicBezTo>
                <a:cubicBezTo>
                  <a:pt x="95" y="170"/>
                  <a:pt x="91" y="176"/>
                  <a:pt x="85" y="181"/>
                </a:cubicBezTo>
                <a:cubicBezTo>
                  <a:pt x="80" y="185"/>
                  <a:pt x="74" y="188"/>
                  <a:pt x="65" y="189"/>
                </a:cubicBezTo>
                <a:cubicBezTo>
                  <a:pt x="56" y="190"/>
                  <a:pt x="42" y="190"/>
                  <a:pt x="30" y="193"/>
                </a:cubicBezTo>
                <a:cubicBezTo>
                  <a:pt x="23" y="195"/>
                  <a:pt x="17" y="197"/>
                  <a:pt x="13" y="201"/>
                </a:cubicBezTo>
                <a:cubicBezTo>
                  <a:pt x="8" y="205"/>
                  <a:pt x="4" y="211"/>
                  <a:pt x="2" y="218"/>
                </a:cubicBezTo>
                <a:cubicBezTo>
                  <a:pt x="0" y="229"/>
                  <a:pt x="0" y="229"/>
                  <a:pt x="0" y="229"/>
                </a:cubicBezTo>
                <a:cubicBezTo>
                  <a:pt x="6" y="219"/>
                  <a:pt x="6" y="219"/>
                  <a:pt x="6" y="219"/>
                </a:cubicBezTo>
                <a:cubicBezTo>
                  <a:pt x="5" y="219"/>
                  <a:pt x="5" y="219"/>
                  <a:pt x="5" y="219"/>
                </a:cubicBezTo>
                <a:cubicBezTo>
                  <a:pt x="6" y="219"/>
                  <a:pt x="6" y="219"/>
                  <a:pt x="6" y="219"/>
                </a:cubicBezTo>
                <a:cubicBezTo>
                  <a:pt x="6" y="219"/>
                  <a:pt x="6" y="219"/>
                  <a:pt x="6" y="219"/>
                </a:cubicBezTo>
                <a:cubicBezTo>
                  <a:pt x="5" y="219"/>
                  <a:pt x="5" y="219"/>
                  <a:pt x="5" y="219"/>
                </a:cubicBezTo>
                <a:cubicBezTo>
                  <a:pt x="6" y="219"/>
                  <a:pt x="6" y="219"/>
                  <a:pt x="6" y="219"/>
                </a:cubicBezTo>
                <a:cubicBezTo>
                  <a:pt x="6" y="219"/>
                  <a:pt x="10" y="213"/>
                  <a:pt x="24" y="211"/>
                </a:cubicBezTo>
                <a:cubicBezTo>
                  <a:pt x="23" y="209"/>
                  <a:pt x="23" y="209"/>
                  <a:pt x="23" y="209"/>
                </a:cubicBezTo>
                <a:cubicBezTo>
                  <a:pt x="23" y="211"/>
                  <a:pt x="23" y="211"/>
                  <a:pt x="23" y="211"/>
                </a:cubicBezTo>
                <a:cubicBezTo>
                  <a:pt x="23" y="209"/>
                  <a:pt x="23" y="209"/>
                  <a:pt x="23" y="209"/>
                </a:cubicBezTo>
                <a:cubicBezTo>
                  <a:pt x="23" y="207"/>
                  <a:pt x="23" y="207"/>
                  <a:pt x="23" y="207"/>
                </a:cubicBezTo>
                <a:cubicBezTo>
                  <a:pt x="8" y="209"/>
                  <a:pt x="3" y="217"/>
                  <a:pt x="3" y="217"/>
                </a:cubicBezTo>
                <a:cubicBezTo>
                  <a:pt x="4" y="218"/>
                  <a:pt x="4" y="218"/>
                  <a:pt x="4" y="218"/>
                </a:cubicBezTo>
                <a:cubicBezTo>
                  <a:pt x="6" y="219"/>
                  <a:pt x="6" y="219"/>
                  <a:pt x="6" y="219"/>
                </a:cubicBezTo>
                <a:cubicBezTo>
                  <a:pt x="8" y="212"/>
                  <a:pt x="11" y="208"/>
                  <a:pt x="15" y="204"/>
                </a:cubicBezTo>
                <a:cubicBezTo>
                  <a:pt x="21" y="199"/>
                  <a:pt x="31" y="197"/>
                  <a:pt x="40" y="195"/>
                </a:cubicBezTo>
                <a:cubicBezTo>
                  <a:pt x="49" y="194"/>
                  <a:pt x="59" y="194"/>
                  <a:pt x="66" y="193"/>
                </a:cubicBezTo>
                <a:cubicBezTo>
                  <a:pt x="75" y="192"/>
                  <a:pt x="82" y="189"/>
                  <a:pt x="88" y="184"/>
                </a:cubicBezTo>
                <a:cubicBezTo>
                  <a:pt x="94" y="179"/>
                  <a:pt x="99" y="172"/>
                  <a:pt x="105" y="164"/>
                </a:cubicBezTo>
                <a:cubicBezTo>
                  <a:pt x="112" y="155"/>
                  <a:pt x="114" y="151"/>
                  <a:pt x="116" y="147"/>
                </a:cubicBezTo>
                <a:cubicBezTo>
                  <a:pt x="117" y="143"/>
                  <a:pt x="118" y="139"/>
                  <a:pt x="121" y="131"/>
                </a:cubicBezTo>
                <a:cubicBezTo>
                  <a:pt x="123" y="128"/>
                  <a:pt x="127" y="123"/>
                  <a:pt x="132" y="118"/>
                </a:cubicBezTo>
                <a:cubicBezTo>
                  <a:pt x="140" y="110"/>
                  <a:pt x="150" y="101"/>
                  <a:pt x="158" y="95"/>
                </a:cubicBezTo>
                <a:cubicBezTo>
                  <a:pt x="163" y="91"/>
                  <a:pt x="166" y="88"/>
                  <a:pt x="169" y="86"/>
                </a:cubicBezTo>
                <a:cubicBezTo>
                  <a:pt x="172" y="84"/>
                  <a:pt x="173" y="83"/>
                  <a:pt x="173" y="83"/>
                </a:cubicBezTo>
                <a:cubicBezTo>
                  <a:pt x="174" y="83"/>
                  <a:pt x="174" y="83"/>
                  <a:pt x="174" y="83"/>
                </a:cubicBezTo>
                <a:cubicBezTo>
                  <a:pt x="174" y="82"/>
                  <a:pt x="174" y="82"/>
                  <a:pt x="174" y="82"/>
                </a:cubicBezTo>
                <a:cubicBezTo>
                  <a:pt x="174" y="81"/>
                  <a:pt x="174" y="81"/>
                  <a:pt x="174" y="81"/>
                </a:cubicBezTo>
                <a:cubicBezTo>
                  <a:pt x="174" y="74"/>
                  <a:pt x="176" y="69"/>
                  <a:pt x="179" y="66"/>
                </a:cubicBezTo>
                <a:cubicBezTo>
                  <a:pt x="182" y="64"/>
                  <a:pt x="187" y="62"/>
                  <a:pt x="190" y="62"/>
                </a:cubicBezTo>
                <a:cubicBezTo>
                  <a:pt x="192" y="62"/>
                  <a:pt x="193" y="63"/>
                  <a:pt x="194" y="63"/>
                </a:cubicBezTo>
                <a:cubicBezTo>
                  <a:pt x="197" y="64"/>
                  <a:pt x="201" y="66"/>
                  <a:pt x="203" y="69"/>
                </a:cubicBezTo>
                <a:cubicBezTo>
                  <a:pt x="206" y="72"/>
                  <a:pt x="208" y="77"/>
                  <a:pt x="208" y="81"/>
                </a:cubicBezTo>
                <a:cubicBezTo>
                  <a:pt x="208" y="84"/>
                  <a:pt x="207" y="86"/>
                  <a:pt x="206" y="89"/>
                </a:cubicBezTo>
                <a:cubicBezTo>
                  <a:pt x="204" y="92"/>
                  <a:pt x="202" y="95"/>
                  <a:pt x="198" y="96"/>
                </a:cubicBezTo>
                <a:cubicBezTo>
                  <a:pt x="195" y="98"/>
                  <a:pt x="192" y="99"/>
                  <a:pt x="188" y="99"/>
                </a:cubicBezTo>
                <a:cubicBezTo>
                  <a:pt x="182" y="99"/>
                  <a:pt x="175" y="96"/>
                  <a:pt x="172" y="93"/>
                </a:cubicBezTo>
                <a:cubicBezTo>
                  <a:pt x="168" y="89"/>
                  <a:pt x="167" y="83"/>
                  <a:pt x="167" y="77"/>
                </a:cubicBezTo>
                <a:cubicBezTo>
                  <a:pt x="167" y="70"/>
                  <a:pt x="169" y="62"/>
                  <a:pt x="174" y="56"/>
                </a:cubicBezTo>
                <a:cubicBezTo>
                  <a:pt x="179" y="50"/>
                  <a:pt x="190" y="43"/>
                  <a:pt x="201" y="43"/>
                </a:cubicBezTo>
                <a:cubicBezTo>
                  <a:pt x="207" y="43"/>
                  <a:pt x="213" y="45"/>
                  <a:pt x="220" y="50"/>
                </a:cubicBezTo>
                <a:cubicBezTo>
                  <a:pt x="229" y="57"/>
                  <a:pt x="233" y="69"/>
                  <a:pt x="233" y="82"/>
                </a:cubicBezTo>
                <a:cubicBezTo>
                  <a:pt x="233" y="91"/>
                  <a:pt x="230" y="101"/>
                  <a:pt x="227" y="108"/>
                </a:cubicBezTo>
                <a:cubicBezTo>
                  <a:pt x="224" y="115"/>
                  <a:pt x="216" y="120"/>
                  <a:pt x="208" y="123"/>
                </a:cubicBezTo>
                <a:cubicBezTo>
                  <a:pt x="204" y="125"/>
                  <a:pt x="200" y="126"/>
                  <a:pt x="198" y="127"/>
                </a:cubicBezTo>
                <a:cubicBezTo>
                  <a:pt x="196" y="127"/>
                  <a:pt x="195" y="128"/>
                  <a:pt x="195" y="128"/>
                </a:cubicBezTo>
                <a:cubicBezTo>
                  <a:pt x="194" y="128"/>
                  <a:pt x="194" y="128"/>
                  <a:pt x="194" y="128"/>
                </a:cubicBezTo>
                <a:cubicBezTo>
                  <a:pt x="193" y="128"/>
                  <a:pt x="193" y="128"/>
                  <a:pt x="193" y="128"/>
                </a:cubicBezTo>
                <a:cubicBezTo>
                  <a:pt x="192" y="128"/>
                  <a:pt x="192" y="128"/>
                  <a:pt x="192" y="128"/>
                </a:cubicBezTo>
                <a:cubicBezTo>
                  <a:pt x="192" y="129"/>
                  <a:pt x="192" y="129"/>
                  <a:pt x="192" y="129"/>
                </a:cubicBezTo>
                <a:cubicBezTo>
                  <a:pt x="189" y="133"/>
                  <a:pt x="185" y="137"/>
                  <a:pt x="180" y="139"/>
                </a:cubicBezTo>
                <a:cubicBezTo>
                  <a:pt x="175" y="141"/>
                  <a:pt x="169" y="143"/>
                  <a:pt x="164" y="143"/>
                </a:cubicBezTo>
                <a:cubicBezTo>
                  <a:pt x="161" y="143"/>
                  <a:pt x="158" y="142"/>
                  <a:pt x="156" y="141"/>
                </a:cubicBezTo>
                <a:cubicBezTo>
                  <a:pt x="151" y="140"/>
                  <a:pt x="146" y="134"/>
                  <a:pt x="143" y="129"/>
                </a:cubicBezTo>
                <a:cubicBezTo>
                  <a:pt x="141" y="127"/>
                  <a:pt x="140" y="124"/>
                  <a:pt x="139" y="122"/>
                </a:cubicBezTo>
                <a:cubicBezTo>
                  <a:pt x="138" y="122"/>
                  <a:pt x="138" y="121"/>
                  <a:pt x="138" y="120"/>
                </a:cubicBezTo>
                <a:cubicBezTo>
                  <a:pt x="138" y="120"/>
                  <a:pt x="138" y="120"/>
                  <a:pt x="138" y="120"/>
                </a:cubicBezTo>
                <a:cubicBezTo>
                  <a:pt x="137" y="119"/>
                  <a:pt x="137" y="119"/>
                  <a:pt x="137" y="119"/>
                </a:cubicBezTo>
                <a:cubicBezTo>
                  <a:pt x="137" y="119"/>
                  <a:pt x="137" y="119"/>
                  <a:pt x="137" y="119"/>
                </a:cubicBezTo>
                <a:cubicBezTo>
                  <a:pt x="136" y="118"/>
                  <a:pt x="136" y="118"/>
                  <a:pt x="136" y="118"/>
                </a:cubicBezTo>
                <a:cubicBezTo>
                  <a:pt x="136" y="118"/>
                  <a:pt x="136" y="118"/>
                  <a:pt x="136" y="118"/>
                </a:cubicBezTo>
                <a:cubicBezTo>
                  <a:pt x="136" y="118"/>
                  <a:pt x="130" y="116"/>
                  <a:pt x="124" y="111"/>
                </a:cubicBezTo>
                <a:cubicBezTo>
                  <a:pt x="118" y="106"/>
                  <a:pt x="113" y="98"/>
                  <a:pt x="113" y="86"/>
                </a:cubicBezTo>
                <a:cubicBezTo>
                  <a:pt x="113" y="85"/>
                  <a:pt x="113" y="84"/>
                  <a:pt x="113" y="84"/>
                </a:cubicBezTo>
                <a:cubicBezTo>
                  <a:pt x="114" y="70"/>
                  <a:pt x="121" y="60"/>
                  <a:pt x="128" y="54"/>
                </a:cubicBezTo>
                <a:cubicBezTo>
                  <a:pt x="131" y="51"/>
                  <a:pt x="135" y="49"/>
                  <a:pt x="137" y="47"/>
                </a:cubicBezTo>
                <a:cubicBezTo>
                  <a:pt x="138" y="46"/>
                  <a:pt x="140" y="46"/>
                  <a:pt x="140" y="46"/>
                </a:cubicBezTo>
                <a:cubicBezTo>
                  <a:pt x="141" y="45"/>
                  <a:pt x="141" y="45"/>
                  <a:pt x="141" y="45"/>
                </a:cubicBezTo>
                <a:cubicBezTo>
                  <a:pt x="141" y="45"/>
                  <a:pt x="141" y="45"/>
                  <a:pt x="141" y="45"/>
                </a:cubicBezTo>
                <a:cubicBezTo>
                  <a:pt x="142" y="45"/>
                  <a:pt x="142" y="45"/>
                  <a:pt x="142" y="45"/>
                </a:cubicBezTo>
                <a:cubicBezTo>
                  <a:pt x="143" y="44"/>
                  <a:pt x="143" y="44"/>
                  <a:pt x="143" y="44"/>
                </a:cubicBezTo>
                <a:cubicBezTo>
                  <a:pt x="145" y="31"/>
                  <a:pt x="151" y="21"/>
                  <a:pt x="160" y="15"/>
                </a:cubicBezTo>
                <a:cubicBezTo>
                  <a:pt x="168" y="8"/>
                  <a:pt x="179" y="4"/>
                  <a:pt x="190" y="4"/>
                </a:cubicBezTo>
                <a:cubicBezTo>
                  <a:pt x="191" y="4"/>
                  <a:pt x="191" y="4"/>
                  <a:pt x="191" y="4"/>
                </a:cubicBezTo>
                <a:cubicBezTo>
                  <a:pt x="201" y="4"/>
                  <a:pt x="211" y="8"/>
                  <a:pt x="218" y="12"/>
                </a:cubicBezTo>
                <a:cubicBezTo>
                  <a:pt x="222" y="14"/>
                  <a:pt x="224" y="16"/>
                  <a:pt x="226" y="18"/>
                </a:cubicBezTo>
                <a:cubicBezTo>
                  <a:pt x="227" y="19"/>
                  <a:pt x="228" y="19"/>
                  <a:pt x="229" y="20"/>
                </a:cubicBezTo>
                <a:cubicBezTo>
                  <a:pt x="229" y="20"/>
                  <a:pt x="229" y="20"/>
                  <a:pt x="229" y="20"/>
                </a:cubicBezTo>
                <a:cubicBezTo>
                  <a:pt x="229" y="20"/>
                  <a:pt x="229" y="20"/>
                  <a:pt x="229" y="20"/>
                </a:cubicBezTo>
                <a:cubicBezTo>
                  <a:pt x="230" y="21"/>
                  <a:pt x="230" y="21"/>
                  <a:pt x="230" y="21"/>
                </a:cubicBezTo>
                <a:cubicBezTo>
                  <a:pt x="231" y="21"/>
                  <a:pt x="231" y="21"/>
                  <a:pt x="231" y="21"/>
                </a:cubicBezTo>
                <a:cubicBezTo>
                  <a:pt x="234" y="20"/>
                  <a:pt x="236" y="20"/>
                  <a:pt x="239" y="20"/>
                </a:cubicBezTo>
                <a:cubicBezTo>
                  <a:pt x="254" y="20"/>
                  <a:pt x="268" y="27"/>
                  <a:pt x="276" y="37"/>
                </a:cubicBezTo>
                <a:cubicBezTo>
                  <a:pt x="283" y="47"/>
                  <a:pt x="288" y="60"/>
                  <a:pt x="288" y="75"/>
                </a:cubicBezTo>
                <a:cubicBezTo>
                  <a:pt x="288" y="78"/>
                  <a:pt x="288" y="82"/>
                  <a:pt x="287" y="85"/>
                </a:cubicBezTo>
                <a:cubicBezTo>
                  <a:pt x="286" y="95"/>
                  <a:pt x="281" y="103"/>
                  <a:pt x="277" y="109"/>
                </a:cubicBezTo>
                <a:cubicBezTo>
                  <a:pt x="274" y="111"/>
                  <a:pt x="272" y="114"/>
                  <a:pt x="270" y="115"/>
                </a:cubicBezTo>
                <a:cubicBezTo>
                  <a:pt x="270" y="116"/>
                  <a:pt x="269" y="116"/>
                  <a:pt x="268" y="117"/>
                </a:cubicBezTo>
                <a:cubicBezTo>
                  <a:pt x="268" y="117"/>
                  <a:pt x="268" y="117"/>
                  <a:pt x="268" y="117"/>
                </a:cubicBezTo>
                <a:cubicBezTo>
                  <a:pt x="268" y="117"/>
                  <a:pt x="268" y="117"/>
                  <a:pt x="268" y="117"/>
                </a:cubicBezTo>
                <a:cubicBezTo>
                  <a:pt x="267" y="118"/>
                  <a:pt x="267" y="118"/>
                  <a:pt x="267" y="118"/>
                </a:cubicBezTo>
                <a:cubicBezTo>
                  <a:pt x="267" y="119"/>
                  <a:pt x="267" y="119"/>
                  <a:pt x="267" y="119"/>
                </a:cubicBezTo>
                <a:cubicBezTo>
                  <a:pt x="267" y="119"/>
                  <a:pt x="267" y="119"/>
                  <a:pt x="267" y="119"/>
                </a:cubicBezTo>
                <a:cubicBezTo>
                  <a:pt x="267" y="121"/>
                  <a:pt x="266" y="129"/>
                  <a:pt x="263" y="138"/>
                </a:cubicBezTo>
                <a:cubicBezTo>
                  <a:pt x="259" y="146"/>
                  <a:pt x="252" y="156"/>
                  <a:pt x="240" y="162"/>
                </a:cubicBezTo>
                <a:cubicBezTo>
                  <a:pt x="231" y="166"/>
                  <a:pt x="222" y="167"/>
                  <a:pt x="214" y="167"/>
                </a:cubicBezTo>
                <a:cubicBezTo>
                  <a:pt x="205" y="167"/>
                  <a:pt x="198" y="166"/>
                  <a:pt x="192" y="165"/>
                </a:cubicBezTo>
                <a:cubicBezTo>
                  <a:pt x="189" y="164"/>
                  <a:pt x="187" y="163"/>
                  <a:pt x="185" y="163"/>
                </a:cubicBezTo>
                <a:cubicBezTo>
                  <a:pt x="185" y="162"/>
                  <a:pt x="184" y="162"/>
                  <a:pt x="184" y="162"/>
                </a:cubicBezTo>
                <a:cubicBezTo>
                  <a:pt x="183" y="162"/>
                  <a:pt x="183" y="162"/>
                  <a:pt x="183" y="162"/>
                </a:cubicBezTo>
                <a:cubicBezTo>
                  <a:pt x="181" y="161"/>
                  <a:pt x="181" y="161"/>
                  <a:pt x="181" y="161"/>
                </a:cubicBezTo>
                <a:cubicBezTo>
                  <a:pt x="181" y="163"/>
                  <a:pt x="181" y="163"/>
                  <a:pt x="181" y="163"/>
                </a:cubicBezTo>
                <a:cubicBezTo>
                  <a:pt x="179" y="165"/>
                  <a:pt x="176" y="167"/>
                  <a:pt x="172" y="168"/>
                </a:cubicBezTo>
                <a:cubicBezTo>
                  <a:pt x="168" y="169"/>
                  <a:pt x="163" y="170"/>
                  <a:pt x="159" y="170"/>
                </a:cubicBezTo>
                <a:cubicBezTo>
                  <a:pt x="155" y="170"/>
                  <a:pt x="151" y="169"/>
                  <a:pt x="150" y="169"/>
                </a:cubicBezTo>
                <a:cubicBezTo>
                  <a:pt x="148" y="169"/>
                  <a:pt x="145" y="167"/>
                  <a:pt x="141" y="165"/>
                </a:cubicBezTo>
                <a:cubicBezTo>
                  <a:pt x="140" y="164"/>
                  <a:pt x="138" y="164"/>
                  <a:pt x="136" y="163"/>
                </a:cubicBezTo>
                <a:cubicBezTo>
                  <a:pt x="135" y="162"/>
                  <a:pt x="133" y="162"/>
                  <a:pt x="131" y="162"/>
                </a:cubicBezTo>
                <a:cubicBezTo>
                  <a:pt x="130" y="162"/>
                  <a:pt x="129" y="162"/>
                  <a:pt x="128" y="163"/>
                </a:cubicBezTo>
                <a:cubicBezTo>
                  <a:pt x="125" y="164"/>
                  <a:pt x="121" y="167"/>
                  <a:pt x="117" y="171"/>
                </a:cubicBezTo>
                <a:cubicBezTo>
                  <a:pt x="113" y="175"/>
                  <a:pt x="109" y="179"/>
                  <a:pt x="107" y="182"/>
                </a:cubicBezTo>
                <a:cubicBezTo>
                  <a:pt x="102" y="188"/>
                  <a:pt x="89" y="203"/>
                  <a:pt x="71" y="208"/>
                </a:cubicBezTo>
                <a:cubicBezTo>
                  <a:pt x="65" y="209"/>
                  <a:pt x="58" y="210"/>
                  <a:pt x="51" y="210"/>
                </a:cubicBezTo>
                <a:cubicBezTo>
                  <a:pt x="44" y="210"/>
                  <a:pt x="37" y="209"/>
                  <a:pt x="32" y="209"/>
                </a:cubicBezTo>
                <a:cubicBezTo>
                  <a:pt x="30" y="208"/>
                  <a:pt x="27" y="208"/>
                  <a:pt x="26" y="208"/>
                </a:cubicBezTo>
                <a:cubicBezTo>
                  <a:pt x="25" y="208"/>
                  <a:pt x="24" y="207"/>
                  <a:pt x="24" y="207"/>
                </a:cubicBezTo>
                <a:cubicBezTo>
                  <a:pt x="23" y="207"/>
                  <a:pt x="23" y="207"/>
                  <a:pt x="23" y="207"/>
                </a:cubicBezTo>
                <a:cubicBezTo>
                  <a:pt x="23" y="207"/>
                  <a:pt x="23" y="207"/>
                  <a:pt x="23" y="207"/>
                </a:cubicBezTo>
                <a:lnTo>
                  <a:pt x="23" y="2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0" name="Freeform 19"/>
          <p:cNvSpPr>
            <a:spLocks/>
          </p:cNvSpPr>
          <p:nvPr/>
        </p:nvSpPr>
        <p:spPr bwMode="auto">
          <a:xfrm>
            <a:off x="2152584" y="1960315"/>
            <a:ext cx="360386" cy="357570"/>
          </a:xfrm>
          <a:custGeom>
            <a:avLst/>
            <a:gdLst>
              <a:gd name="T0" fmla="*/ 56 w 108"/>
              <a:gd name="T1" fmla="*/ 37 h 107"/>
              <a:gd name="T2" fmla="*/ 55 w 108"/>
              <a:gd name="T3" fmla="*/ 44 h 107"/>
              <a:gd name="T4" fmla="*/ 48 w 108"/>
              <a:gd name="T5" fmla="*/ 46 h 107"/>
              <a:gd name="T6" fmla="*/ 42 w 108"/>
              <a:gd name="T7" fmla="*/ 39 h 107"/>
              <a:gd name="T8" fmla="*/ 57 w 108"/>
              <a:gd name="T9" fmla="*/ 24 h 107"/>
              <a:gd name="T10" fmla="*/ 74 w 108"/>
              <a:gd name="T11" fmla="*/ 30 h 107"/>
              <a:gd name="T12" fmla="*/ 79 w 108"/>
              <a:gd name="T13" fmla="*/ 42 h 107"/>
              <a:gd name="T14" fmla="*/ 74 w 108"/>
              <a:gd name="T15" fmla="*/ 56 h 107"/>
              <a:gd name="T16" fmla="*/ 56 w 108"/>
              <a:gd name="T17" fmla="*/ 62 h 107"/>
              <a:gd name="T18" fmla="*/ 37 w 108"/>
              <a:gd name="T19" fmla="*/ 36 h 107"/>
              <a:gd name="T20" fmla="*/ 52 w 108"/>
              <a:gd name="T21" fmla="*/ 12 h 107"/>
              <a:gd name="T22" fmla="*/ 73 w 108"/>
              <a:gd name="T23" fmla="*/ 4 h 107"/>
              <a:gd name="T24" fmla="*/ 104 w 108"/>
              <a:gd name="T25" fmla="*/ 41 h 107"/>
              <a:gd name="T26" fmla="*/ 90 w 108"/>
              <a:gd name="T27" fmla="*/ 76 h 107"/>
              <a:gd name="T28" fmla="*/ 63 w 108"/>
              <a:gd name="T29" fmla="*/ 89 h 107"/>
              <a:gd name="T30" fmla="*/ 63 w 108"/>
              <a:gd name="T31" fmla="*/ 90 h 107"/>
              <a:gd name="T32" fmla="*/ 40 w 108"/>
              <a:gd name="T33" fmla="*/ 103 h 107"/>
              <a:gd name="T34" fmla="*/ 18 w 108"/>
              <a:gd name="T35" fmla="*/ 94 h 107"/>
              <a:gd name="T36" fmla="*/ 8 w 108"/>
              <a:gd name="T37" fmla="*/ 80 h 107"/>
              <a:gd name="T38" fmla="*/ 0 w 108"/>
              <a:gd name="T39" fmla="*/ 80 h 107"/>
              <a:gd name="T40" fmla="*/ 7 w 108"/>
              <a:gd name="T41" fmla="*/ 81 h 107"/>
              <a:gd name="T42" fmla="*/ 15 w 108"/>
              <a:gd name="T43" fmla="*/ 97 h 107"/>
              <a:gd name="T44" fmla="*/ 40 w 108"/>
              <a:gd name="T45" fmla="*/ 107 h 107"/>
              <a:gd name="T46" fmla="*/ 67 w 108"/>
              <a:gd name="T47" fmla="*/ 92 h 107"/>
              <a:gd name="T48" fmla="*/ 65 w 108"/>
              <a:gd name="T49" fmla="*/ 93 h 107"/>
              <a:gd name="T50" fmla="*/ 108 w 108"/>
              <a:gd name="T51" fmla="*/ 45 h 107"/>
              <a:gd name="T52" fmla="*/ 96 w 108"/>
              <a:gd name="T53" fmla="*/ 10 h 107"/>
              <a:gd name="T54" fmla="*/ 72 w 108"/>
              <a:gd name="T55" fmla="*/ 0 h 107"/>
              <a:gd name="T56" fmla="*/ 35 w 108"/>
              <a:gd name="T57" fmla="*/ 26 h 107"/>
              <a:gd name="T58" fmla="*/ 39 w 108"/>
              <a:gd name="T59" fmla="*/ 55 h 107"/>
              <a:gd name="T60" fmla="*/ 59 w 108"/>
              <a:gd name="T61" fmla="*/ 66 h 107"/>
              <a:gd name="T62" fmla="*/ 83 w 108"/>
              <a:gd name="T63" fmla="*/ 42 h 107"/>
              <a:gd name="T64" fmla="*/ 83 w 108"/>
              <a:gd name="T65" fmla="*/ 42 h 107"/>
              <a:gd name="T66" fmla="*/ 59 w 108"/>
              <a:gd name="T67" fmla="*/ 20 h 107"/>
              <a:gd name="T68" fmla="*/ 43 w 108"/>
              <a:gd name="T69" fmla="*/ 26 h 107"/>
              <a:gd name="T70" fmla="*/ 41 w 108"/>
              <a:gd name="T71" fmla="*/ 46 h 107"/>
              <a:gd name="T72" fmla="*/ 50 w 108"/>
              <a:gd name="T73" fmla="*/ 50 h 107"/>
              <a:gd name="T74" fmla="*/ 60 w 108"/>
              <a:gd name="T75" fmla="*/ 41 h 107"/>
              <a:gd name="T76" fmla="*/ 56 w 108"/>
              <a:gd name="T77" fmla="*/ 37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08" h="107">
                <a:moveTo>
                  <a:pt x="56" y="37"/>
                </a:moveTo>
                <a:cubicBezTo>
                  <a:pt x="56" y="37"/>
                  <a:pt x="56" y="37"/>
                  <a:pt x="56" y="37"/>
                </a:cubicBezTo>
                <a:cubicBezTo>
                  <a:pt x="56" y="38"/>
                  <a:pt x="56" y="39"/>
                  <a:pt x="56" y="41"/>
                </a:cubicBezTo>
                <a:cubicBezTo>
                  <a:pt x="56" y="42"/>
                  <a:pt x="56" y="44"/>
                  <a:pt x="55" y="44"/>
                </a:cubicBezTo>
                <a:cubicBezTo>
                  <a:pt x="55" y="45"/>
                  <a:pt x="53" y="46"/>
                  <a:pt x="50" y="46"/>
                </a:cubicBezTo>
                <a:cubicBezTo>
                  <a:pt x="50" y="46"/>
                  <a:pt x="49" y="46"/>
                  <a:pt x="48" y="46"/>
                </a:cubicBezTo>
                <a:cubicBezTo>
                  <a:pt x="46" y="46"/>
                  <a:pt x="45" y="45"/>
                  <a:pt x="44" y="44"/>
                </a:cubicBezTo>
                <a:cubicBezTo>
                  <a:pt x="43" y="42"/>
                  <a:pt x="42" y="41"/>
                  <a:pt x="42" y="39"/>
                </a:cubicBezTo>
                <a:cubicBezTo>
                  <a:pt x="42" y="36"/>
                  <a:pt x="44" y="32"/>
                  <a:pt x="46" y="29"/>
                </a:cubicBezTo>
                <a:cubicBezTo>
                  <a:pt x="49" y="26"/>
                  <a:pt x="52" y="24"/>
                  <a:pt x="57" y="24"/>
                </a:cubicBezTo>
                <a:cubicBezTo>
                  <a:pt x="57" y="24"/>
                  <a:pt x="58" y="24"/>
                  <a:pt x="58" y="24"/>
                </a:cubicBezTo>
                <a:cubicBezTo>
                  <a:pt x="66" y="25"/>
                  <a:pt x="71" y="27"/>
                  <a:pt x="74" y="30"/>
                </a:cubicBezTo>
                <a:cubicBezTo>
                  <a:pt x="77" y="33"/>
                  <a:pt x="78" y="37"/>
                  <a:pt x="79" y="42"/>
                </a:cubicBezTo>
                <a:cubicBezTo>
                  <a:pt x="79" y="42"/>
                  <a:pt x="79" y="42"/>
                  <a:pt x="79" y="42"/>
                </a:cubicBezTo>
                <a:cubicBezTo>
                  <a:pt x="79" y="42"/>
                  <a:pt x="79" y="42"/>
                  <a:pt x="79" y="42"/>
                </a:cubicBezTo>
                <a:cubicBezTo>
                  <a:pt x="78" y="47"/>
                  <a:pt x="77" y="52"/>
                  <a:pt x="74" y="56"/>
                </a:cubicBezTo>
                <a:cubicBezTo>
                  <a:pt x="70" y="59"/>
                  <a:pt x="66" y="62"/>
                  <a:pt x="59" y="62"/>
                </a:cubicBezTo>
                <a:cubicBezTo>
                  <a:pt x="58" y="62"/>
                  <a:pt x="57" y="62"/>
                  <a:pt x="56" y="62"/>
                </a:cubicBezTo>
                <a:cubicBezTo>
                  <a:pt x="50" y="61"/>
                  <a:pt x="45" y="57"/>
                  <a:pt x="42" y="52"/>
                </a:cubicBezTo>
                <a:cubicBezTo>
                  <a:pt x="39" y="48"/>
                  <a:pt x="37" y="41"/>
                  <a:pt x="37" y="36"/>
                </a:cubicBezTo>
                <a:cubicBezTo>
                  <a:pt x="37" y="33"/>
                  <a:pt x="38" y="30"/>
                  <a:pt x="39" y="28"/>
                </a:cubicBezTo>
                <a:cubicBezTo>
                  <a:pt x="42" y="23"/>
                  <a:pt x="46" y="17"/>
                  <a:pt x="52" y="12"/>
                </a:cubicBezTo>
                <a:cubicBezTo>
                  <a:pt x="57" y="7"/>
                  <a:pt x="64" y="4"/>
                  <a:pt x="72" y="4"/>
                </a:cubicBezTo>
                <a:cubicBezTo>
                  <a:pt x="73" y="4"/>
                  <a:pt x="73" y="4"/>
                  <a:pt x="73" y="4"/>
                </a:cubicBezTo>
                <a:cubicBezTo>
                  <a:pt x="81" y="4"/>
                  <a:pt x="88" y="7"/>
                  <a:pt x="93" y="12"/>
                </a:cubicBezTo>
                <a:cubicBezTo>
                  <a:pt x="98" y="18"/>
                  <a:pt x="102" y="27"/>
                  <a:pt x="104" y="41"/>
                </a:cubicBezTo>
                <a:cubicBezTo>
                  <a:pt x="104" y="42"/>
                  <a:pt x="104" y="44"/>
                  <a:pt x="104" y="45"/>
                </a:cubicBezTo>
                <a:cubicBezTo>
                  <a:pt x="104" y="57"/>
                  <a:pt x="98" y="68"/>
                  <a:pt x="90" y="76"/>
                </a:cubicBezTo>
                <a:cubicBezTo>
                  <a:pt x="83" y="84"/>
                  <a:pt x="73" y="89"/>
                  <a:pt x="65" y="89"/>
                </a:cubicBezTo>
                <a:cubicBezTo>
                  <a:pt x="63" y="89"/>
                  <a:pt x="63" y="89"/>
                  <a:pt x="63" y="89"/>
                </a:cubicBezTo>
                <a:cubicBezTo>
                  <a:pt x="63" y="90"/>
                  <a:pt x="63" y="90"/>
                  <a:pt x="63" y="90"/>
                </a:cubicBezTo>
                <a:cubicBezTo>
                  <a:pt x="63" y="90"/>
                  <a:pt x="63" y="90"/>
                  <a:pt x="63" y="90"/>
                </a:cubicBezTo>
                <a:cubicBezTo>
                  <a:pt x="63" y="90"/>
                  <a:pt x="61" y="93"/>
                  <a:pt x="58" y="97"/>
                </a:cubicBezTo>
                <a:cubicBezTo>
                  <a:pt x="54" y="100"/>
                  <a:pt x="49" y="103"/>
                  <a:pt x="40" y="103"/>
                </a:cubicBezTo>
                <a:cubicBezTo>
                  <a:pt x="39" y="103"/>
                  <a:pt x="39" y="103"/>
                  <a:pt x="39" y="103"/>
                </a:cubicBezTo>
                <a:cubicBezTo>
                  <a:pt x="30" y="103"/>
                  <a:pt x="23" y="99"/>
                  <a:pt x="18" y="94"/>
                </a:cubicBezTo>
                <a:cubicBezTo>
                  <a:pt x="13" y="90"/>
                  <a:pt x="9" y="84"/>
                  <a:pt x="9" y="81"/>
                </a:cubicBezTo>
                <a:cubicBezTo>
                  <a:pt x="8" y="80"/>
                  <a:pt x="8" y="80"/>
                  <a:pt x="8" y="80"/>
                </a:cubicBezTo>
                <a:cubicBezTo>
                  <a:pt x="1" y="77"/>
                  <a:pt x="1" y="77"/>
                  <a:pt x="1" y="77"/>
                </a:cubicBezTo>
                <a:cubicBezTo>
                  <a:pt x="0" y="80"/>
                  <a:pt x="0" y="80"/>
                  <a:pt x="0" y="80"/>
                </a:cubicBezTo>
                <a:cubicBezTo>
                  <a:pt x="6" y="83"/>
                  <a:pt x="6" y="83"/>
                  <a:pt x="6" y="83"/>
                </a:cubicBezTo>
                <a:cubicBezTo>
                  <a:pt x="7" y="81"/>
                  <a:pt x="7" y="81"/>
                  <a:pt x="7" y="81"/>
                </a:cubicBezTo>
                <a:cubicBezTo>
                  <a:pt x="5" y="82"/>
                  <a:pt x="5" y="82"/>
                  <a:pt x="5" y="82"/>
                </a:cubicBezTo>
                <a:cubicBezTo>
                  <a:pt x="6" y="86"/>
                  <a:pt x="9" y="92"/>
                  <a:pt x="15" y="97"/>
                </a:cubicBezTo>
                <a:cubicBezTo>
                  <a:pt x="21" y="103"/>
                  <a:pt x="29" y="107"/>
                  <a:pt x="39" y="107"/>
                </a:cubicBezTo>
                <a:cubicBezTo>
                  <a:pt x="39" y="107"/>
                  <a:pt x="39" y="107"/>
                  <a:pt x="40" y="107"/>
                </a:cubicBezTo>
                <a:cubicBezTo>
                  <a:pt x="50" y="107"/>
                  <a:pt x="57" y="103"/>
                  <a:pt x="61" y="99"/>
                </a:cubicBezTo>
                <a:cubicBezTo>
                  <a:pt x="65" y="95"/>
                  <a:pt x="67" y="92"/>
                  <a:pt x="67" y="92"/>
                </a:cubicBezTo>
                <a:cubicBezTo>
                  <a:pt x="65" y="91"/>
                  <a:pt x="65" y="91"/>
                  <a:pt x="65" y="91"/>
                </a:cubicBezTo>
                <a:cubicBezTo>
                  <a:pt x="65" y="93"/>
                  <a:pt x="65" y="93"/>
                  <a:pt x="65" y="93"/>
                </a:cubicBezTo>
                <a:cubicBezTo>
                  <a:pt x="74" y="93"/>
                  <a:pt x="85" y="87"/>
                  <a:pt x="93" y="79"/>
                </a:cubicBezTo>
                <a:cubicBezTo>
                  <a:pt x="102" y="71"/>
                  <a:pt x="108" y="59"/>
                  <a:pt x="108" y="45"/>
                </a:cubicBezTo>
                <a:cubicBezTo>
                  <a:pt x="108" y="44"/>
                  <a:pt x="108" y="42"/>
                  <a:pt x="108" y="40"/>
                </a:cubicBezTo>
                <a:cubicBezTo>
                  <a:pt x="106" y="26"/>
                  <a:pt x="102" y="16"/>
                  <a:pt x="96" y="10"/>
                </a:cubicBezTo>
                <a:cubicBezTo>
                  <a:pt x="90" y="3"/>
                  <a:pt x="82" y="0"/>
                  <a:pt x="73" y="0"/>
                </a:cubicBezTo>
                <a:cubicBezTo>
                  <a:pt x="73" y="0"/>
                  <a:pt x="72" y="0"/>
                  <a:pt x="72" y="0"/>
                </a:cubicBezTo>
                <a:cubicBezTo>
                  <a:pt x="63" y="0"/>
                  <a:pt x="55" y="4"/>
                  <a:pt x="49" y="9"/>
                </a:cubicBezTo>
                <a:cubicBezTo>
                  <a:pt x="43" y="14"/>
                  <a:pt x="38" y="20"/>
                  <a:pt x="35" y="26"/>
                </a:cubicBezTo>
                <a:cubicBezTo>
                  <a:pt x="34" y="29"/>
                  <a:pt x="33" y="32"/>
                  <a:pt x="33" y="36"/>
                </a:cubicBezTo>
                <a:cubicBezTo>
                  <a:pt x="33" y="42"/>
                  <a:pt x="35" y="49"/>
                  <a:pt x="39" y="55"/>
                </a:cubicBezTo>
                <a:cubicBezTo>
                  <a:pt x="42" y="60"/>
                  <a:pt x="48" y="65"/>
                  <a:pt x="55" y="66"/>
                </a:cubicBezTo>
                <a:cubicBezTo>
                  <a:pt x="56" y="66"/>
                  <a:pt x="58" y="66"/>
                  <a:pt x="59" y="66"/>
                </a:cubicBezTo>
                <a:cubicBezTo>
                  <a:pt x="67" y="66"/>
                  <a:pt x="73" y="63"/>
                  <a:pt x="77" y="58"/>
                </a:cubicBezTo>
                <a:cubicBezTo>
                  <a:pt x="81" y="54"/>
                  <a:pt x="82" y="48"/>
                  <a:pt x="83" y="42"/>
                </a:cubicBezTo>
                <a:cubicBezTo>
                  <a:pt x="83" y="42"/>
                  <a:pt x="83" y="42"/>
                  <a:pt x="83" y="42"/>
                </a:cubicBezTo>
                <a:cubicBezTo>
                  <a:pt x="83" y="42"/>
                  <a:pt x="83" y="42"/>
                  <a:pt x="83" y="42"/>
                </a:cubicBezTo>
                <a:cubicBezTo>
                  <a:pt x="83" y="36"/>
                  <a:pt x="81" y="31"/>
                  <a:pt x="77" y="27"/>
                </a:cubicBezTo>
                <a:cubicBezTo>
                  <a:pt x="73" y="23"/>
                  <a:pt x="67" y="21"/>
                  <a:pt x="59" y="20"/>
                </a:cubicBezTo>
                <a:cubicBezTo>
                  <a:pt x="58" y="20"/>
                  <a:pt x="57" y="20"/>
                  <a:pt x="57" y="20"/>
                </a:cubicBezTo>
                <a:cubicBezTo>
                  <a:pt x="51" y="20"/>
                  <a:pt x="46" y="22"/>
                  <a:pt x="43" y="26"/>
                </a:cubicBezTo>
                <a:cubicBezTo>
                  <a:pt x="40" y="30"/>
                  <a:pt x="38" y="35"/>
                  <a:pt x="38" y="39"/>
                </a:cubicBezTo>
                <a:cubicBezTo>
                  <a:pt x="38" y="41"/>
                  <a:pt x="39" y="44"/>
                  <a:pt x="41" y="46"/>
                </a:cubicBezTo>
                <a:cubicBezTo>
                  <a:pt x="42" y="48"/>
                  <a:pt x="45" y="49"/>
                  <a:pt x="48" y="50"/>
                </a:cubicBezTo>
                <a:cubicBezTo>
                  <a:pt x="49" y="50"/>
                  <a:pt x="50" y="50"/>
                  <a:pt x="50" y="50"/>
                </a:cubicBezTo>
                <a:cubicBezTo>
                  <a:pt x="54" y="50"/>
                  <a:pt x="57" y="49"/>
                  <a:pt x="58" y="47"/>
                </a:cubicBezTo>
                <a:cubicBezTo>
                  <a:pt x="60" y="45"/>
                  <a:pt x="60" y="43"/>
                  <a:pt x="60" y="41"/>
                </a:cubicBezTo>
                <a:cubicBezTo>
                  <a:pt x="60" y="38"/>
                  <a:pt x="60" y="36"/>
                  <a:pt x="59" y="36"/>
                </a:cubicBezTo>
                <a:lnTo>
                  <a:pt x="56" y="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2" name="Freeform 21"/>
          <p:cNvSpPr>
            <a:spLocks/>
          </p:cNvSpPr>
          <p:nvPr/>
        </p:nvSpPr>
        <p:spPr bwMode="auto">
          <a:xfrm>
            <a:off x="2218749" y="1380319"/>
            <a:ext cx="460337" cy="450482"/>
          </a:xfrm>
          <a:custGeom>
            <a:avLst/>
            <a:gdLst>
              <a:gd name="T0" fmla="*/ 72 w 138"/>
              <a:gd name="T1" fmla="*/ 46 h 135"/>
              <a:gd name="T2" fmla="*/ 72 w 138"/>
              <a:gd name="T3" fmla="*/ 56 h 135"/>
              <a:gd name="T4" fmla="*/ 62 w 138"/>
              <a:gd name="T5" fmla="*/ 58 h 135"/>
              <a:gd name="T6" fmla="*/ 54 w 138"/>
              <a:gd name="T7" fmla="*/ 49 h 135"/>
              <a:gd name="T8" fmla="*/ 73 w 138"/>
              <a:gd name="T9" fmla="*/ 28 h 135"/>
              <a:gd name="T10" fmla="*/ 96 w 138"/>
              <a:gd name="T11" fmla="*/ 36 h 135"/>
              <a:gd name="T12" fmla="*/ 101 w 138"/>
              <a:gd name="T13" fmla="*/ 53 h 135"/>
              <a:gd name="T14" fmla="*/ 95 w 138"/>
              <a:gd name="T15" fmla="*/ 71 h 135"/>
              <a:gd name="T16" fmla="*/ 71 w 138"/>
              <a:gd name="T17" fmla="*/ 78 h 135"/>
              <a:gd name="T18" fmla="*/ 48 w 138"/>
              <a:gd name="T19" fmla="*/ 45 h 135"/>
              <a:gd name="T20" fmla="*/ 66 w 138"/>
              <a:gd name="T21" fmla="*/ 14 h 135"/>
              <a:gd name="T22" fmla="*/ 94 w 138"/>
              <a:gd name="T23" fmla="*/ 4 h 135"/>
              <a:gd name="T24" fmla="*/ 133 w 138"/>
              <a:gd name="T25" fmla="*/ 51 h 135"/>
              <a:gd name="T26" fmla="*/ 116 w 138"/>
              <a:gd name="T27" fmla="*/ 97 h 135"/>
              <a:gd name="T28" fmla="*/ 82 w 138"/>
              <a:gd name="T29" fmla="*/ 113 h 135"/>
              <a:gd name="T30" fmla="*/ 81 w 138"/>
              <a:gd name="T31" fmla="*/ 114 h 135"/>
              <a:gd name="T32" fmla="*/ 51 w 138"/>
              <a:gd name="T33" fmla="*/ 131 h 135"/>
              <a:gd name="T34" fmla="*/ 23 w 138"/>
              <a:gd name="T35" fmla="*/ 120 h 135"/>
              <a:gd name="T36" fmla="*/ 11 w 138"/>
              <a:gd name="T37" fmla="*/ 101 h 135"/>
              <a:gd name="T38" fmla="*/ 0 w 138"/>
              <a:gd name="T39" fmla="*/ 101 h 135"/>
              <a:gd name="T40" fmla="*/ 9 w 138"/>
              <a:gd name="T41" fmla="*/ 103 h 135"/>
              <a:gd name="T42" fmla="*/ 20 w 138"/>
              <a:gd name="T43" fmla="*/ 123 h 135"/>
              <a:gd name="T44" fmla="*/ 52 w 138"/>
              <a:gd name="T45" fmla="*/ 135 h 135"/>
              <a:gd name="T46" fmla="*/ 85 w 138"/>
              <a:gd name="T47" fmla="*/ 116 h 135"/>
              <a:gd name="T48" fmla="*/ 83 w 138"/>
              <a:gd name="T49" fmla="*/ 117 h 135"/>
              <a:gd name="T50" fmla="*/ 138 w 138"/>
              <a:gd name="T51" fmla="*/ 57 h 135"/>
              <a:gd name="T52" fmla="*/ 123 w 138"/>
              <a:gd name="T53" fmla="*/ 12 h 135"/>
              <a:gd name="T54" fmla="*/ 92 w 138"/>
              <a:gd name="T55" fmla="*/ 0 h 135"/>
              <a:gd name="T56" fmla="*/ 46 w 138"/>
              <a:gd name="T57" fmla="*/ 32 h 135"/>
              <a:gd name="T58" fmla="*/ 51 w 138"/>
              <a:gd name="T59" fmla="*/ 68 h 135"/>
              <a:gd name="T60" fmla="*/ 76 w 138"/>
              <a:gd name="T61" fmla="*/ 83 h 135"/>
              <a:gd name="T62" fmla="*/ 105 w 138"/>
              <a:gd name="T63" fmla="*/ 53 h 135"/>
              <a:gd name="T64" fmla="*/ 105 w 138"/>
              <a:gd name="T65" fmla="*/ 53 h 135"/>
              <a:gd name="T66" fmla="*/ 75 w 138"/>
              <a:gd name="T67" fmla="*/ 25 h 135"/>
              <a:gd name="T68" fmla="*/ 56 w 138"/>
              <a:gd name="T69" fmla="*/ 33 h 135"/>
              <a:gd name="T70" fmla="*/ 53 w 138"/>
              <a:gd name="T71" fmla="*/ 57 h 135"/>
              <a:gd name="T72" fmla="*/ 65 w 138"/>
              <a:gd name="T73" fmla="*/ 62 h 135"/>
              <a:gd name="T74" fmla="*/ 77 w 138"/>
              <a:gd name="T75" fmla="*/ 51 h 135"/>
              <a:gd name="T76" fmla="*/ 72 w 138"/>
              <a:gd name="T77" fmla="*/ 46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8" h="135">
                <a:moveTo>
                  <a:pt x="72" y="46"/>
                </a:moveTo>
                <a:cubicBezTo>
                  <a:pt x="72" y="46"/>
                  <a:pt x="72" y="46"/>
                  <a:pt x="72" y="46"/>
                </a:cubicBezTo>
                <a:cubicBezTo>
                  <a:pt x="72" y="47"/>
                  <a:pt x="73" y="49"/>
                  <a:pt x="73" y="51"/>
                </a:cubicBezTo>
                <a:cubicBezTo>
                  <a:pt x="73" y="53"/>
                  <a:pt x="73" y="55"/>
                  <a:pt x="72" y="56"/>
                </a:cubicBezTo>
                <a:cubicBezTo>
                  <a:pt x="71" y="57"/>
                  <a:pt x="69" y="58"/>
                  <a:pt x="65" y="58"/>
                </a:cubicBezTo>
                <a:cubicBezTo>
                  <a:pt x="64" y="58"/>
                  <a:pt x="63" y="58"/>
                  <a:pt x="62" y="58"/>
                </a:cubicBezTo>
                <a:cubicBezTo>
                  <a:pt x="59" y="58"/>
                  <a:pt x="57" y="57"/>
                  <a:pt x="56" y="55"/>
                </a:cubicBezTo>
                <a:cubicBezTo>
                  <a:pt x="55" y="53"/>
                  <a:pt x="54" y="51"/>
                  <a:pt x="54" y="49"/>
                </a:cubicBezTo>
                <a:cubicBezTo>
                  <a:pt x="54" y="44"/>
                  <a:pt x="56" y="39"/>
                  <a:pt x="59" y="35"/>
                </a:cubicBezTo>
                <a:cubicBezTo>
                  <a:pt x="63" y="31"/>
                  <a:pt x="67" y="28"/>
                  <a:pt x="73" y="28"/>
                </a:cubicBezTo>
                <a:cubicBezTo>
                  <a:pt x="73" y="28"/>
                  <a:pt x="74" y="29"/>
                  <a:pt x="75" y="29"/>
                </a:cubicBezTo>
                <a:cubicBezTo>
                  <a:pt x="85" y="30"/>
                  <a:pt x="92" y="33"/>
                  <a:pt x="96" y="36"/>
                </a:cubicBezTo>
                <a:cubicBezTo>
                  <a:pt x="100" y="40"/>
                  <a:pt x="101" y="45"/>
                  <a:pt x="101" y="53"/>
                </a:cubicBezTo>
                <a:cubicBezTo>
                  <a:pt x="101" y="53"/>
                  <a:pt x="101" y="53"/>
                  <a:pt x="101" y="53"/>
                </a:cubicBezTo>
                <a:cubicBezTo>
                  <a:pt x="101" y="53"/>
                  <a:pt x="101" y="53"/>
                  <a:pt x="101" y="53"/>
                </a:cubicBezTo>
                <a:cubicBezTo>
                  <a:pt x="101" y="59"/>
                  <a:pt x="99" y="66"/>
                  <a:pt x="95" y="71"/>
                </a:cubicBezTo>
                <a:cubicBezTo>
                  <a:pt x="91" y="75"/>
                  <a:pt x="85" y="79"/>
                  <a:pt x="76" y="79"/>
                </a:cubicBezTo>
                <a:cubicBezTo>
                  <a:pt x="75" y="79"/>
                  <a:pt x="73" y="79"/>
                  <a:pt x="71" y="78"/>
                </a:cubicBezTo>
                <a:cubicBezTo>
                  <a:pt x="64" y="77"/>
                  <a:pt x="58" y="73"/>
                  <a:pt x="54" y="66"/>
                </a:cubicBezTo>
                <a:cubicBezTo>
                  <a:pt x="50" y="60"/>
                  <a:pt x="48" y="52"/>
                  <a:pt x="48" y="45"/>
                </a:cubicBezTo>
                <a:cubicBezTo>
                  <a:pt x="48" y="41"/>
                  <a:pt x="48" y="37"/>
                  <a:pt x="50" y="34"/>
                </a:cubicBezTo>
                <a:cubicBezTo>
                  <a:pt x="53" y="28"/>
                  <a:pt x="59" y="20"/>
                  <a:pt x="66" y="14"/>
                </a:cubicBezTo>
                <a:cubicBezTo>
                  <a:pt x="73" y="8"/>
                  <a:pt x="82" y="4"/>
                  <a:pt x="92" y="4"/>
                </a:cubicBezTo>
                <a:cubicBezTo>
                  <a:pt x="93" y="4"/>
                  <a:pt x="93" y="4"/>
                  <a:pt x="94" y="4"/>
                </a:cubicBezTo>
                <a:cubicBezTo>
                  <a:pt x="105" y="4"/>
                  <a:pt x="113" y="7"/>
                  <a:pt x="120" y="14"/>
                </a:cubicBezTo>
                <a:cubicBezTo>
                  <a:pt x="127" y="22"/>
                  <a:pt x="131" y="33"/>
                  <a:pt x="133" y="51"/>
                </a:cubicBezTo>
                <a:cubicBezTo>
                  <a:pt x="134" y="53"/>
                  <a:pt x="134" y="55"/>
                  <a:pt x="134" y="57"/>
                </a:cubicBezTo>
                <a:cubicBezTo>
                  <a:pt x="134" y="72"/>
                  <a:pt x="126" y="86"/>
                  <a:pt x="116" y="97"/>
                </a:cubicBezTo>
                <a:cubicBezTo>
                  <a:pt x="106" y="107"/>
                  <a:pt x="93" y="113"/>
                  <a:pt x="83" y="113"/>
                </a:cubicBezTo>
                <a:cubicBezTo>
                  <a:pt x="82" y="113"/>
                  <a:pt x="82" y="113"/>
                  <a:pt x="82" y="113"/>
                </a:cubicBezTo>
                <a:cubicBezTo>
                  <a:pt x="81" y="114"/>
                  <a:pt x="81" y="114"/>
                  <a:pt x="81" y="114"/>
                </a:cubicBezTo>
                <a:cubicBezTo>
                  <a:pt x="81" y="114"/>
                  <a:pt x="81" y="114"/>
                  <a:pt x="81" y="114"/>
                </a:cubicBezTo>
                <a:cubicBezTo>
                  <a:pt x="81" y="115"/>
                  <a:pt x="79" y="119"/>
                  <a:pt x="75" y="123"/>
                </a:cubicBezTo>
                <a:cubicBezTo>
                  <a:pt x="70" y="127"/>
                  <a:pt x="63" y="131"/>
                  <a:pt x="51" y="131"/>
                </a:cubicBezTo>
                <a:cubicBezTo>
                  <a:pt x="51" y="131"/>
                  <a:pt x="50" y="131"/>
                  <a:pt x="50" y="131"/>
                </a:cubicBezTo>
                <a:cubicBezTo>
                  <a:pt x="39" y="131"/>
                  <a:pt x="30" y="126"/>
                  <a:pt x="23" y="120"/>
                </a:cubicBezTo>
                <a:cubicBezTo>
                  <a:pt x="16" y="114"/>
                  <a:pt x="12" y="106"/>
                  <a:pt x="11" y="102"/>
                </a:cubicBezTo>
                <a:cubicBezTo>
                  <a:pt x="11" y="101"/>
                  <a:pt x="11" y="101"/>
                  <a:pt x="11" y="101"/>
                </a:cubicBezTo>
                <a:cubicBezTo>
                  <a:pt x="2" y="97"/>
                  <a:pt x="2" y="97"/>
                  <a:pt x="2" y="97"/>
                </a:cubicBezTo>
                <a:cubicBezTo>
                  <a:pt x="0" y="101"/>
                  <a:pt x="0" y="101"/>
                  <a:pt x="0" y="101"/>
                </a:cubicBezTo>
                <a:cubicBezTo>
                  <a:pt x="8" y="104"/>
                  <a:pt x="8" y="104"/>
                  <a:pt x="8" y="104"/>
                </a:cubicBezTo>
                <a:cubicBezTo>
                  <a:pt x="9" y="103"/>
                  <a:pt x="9" y="103"/>
                  <a:pt x="9" y="103"/>
                </a:cubicBezTo>
                <a:cubicBezTo>
                  <a:pt x="7" y="103"/>
                  <a:pt x="7" y="103"/>
                  <a:pt x="7" y="103"/>
                </a:cubicBezTo>
                <a:cubicBezTo>
                  <a:pt x="8" y="108"/>
                  <a:pt x="13" y="116"/>
                  <a:pt x="20" y="123"/>
                </a:cubicBezTo>
                <a:cubicBezTo>
                  <a:pt x="27" y="130"/>
                  <a:pt x="37" y="135"/>
                  <a:pt x="50" y="135"/>
                </a:cubicBezTo>
                <a:cubicBezTo>
                  <a:pt x="50" y="135"/>
                  <a:pt x="51" y="135"/>
                  <a:pt x="52" y="135"/>
                </a:cubicBezTo>
                <a:cubicBezTo>
                  <a:pt x="64" y="135"/>
                  <a:pt x="73" y="130"/>
                  <a:pt x="78" y="125"/>
                </a:cubicBezTo>
                <a:cubicBezTo>
                  <a:pt x="83" y="120"/>
                  <a:pt x="85" y="116"/>
                  <a:pt x="85" y="116"/>
                </a:cubicBezTo>
                <a:cubicBezTo>
                  <a:pt x="83" y="115"/>
                  <a:pt x="83" y="115"/>
                  <a:pt x="83" y="115"/>
                </a:cubicBezTo>
                <a:cubicBezTo>
                  <a:pt x="83" y="117"/>
                  <a:pt x="83" y="117"/>
                  <a:pt x="83" y="117"/>
                </a:cubicBezTo>
                <a:cubicBezTo>
                  <a:pt x="95" y="117"/>
                  <a:pt x="108" y="110"/>
                  <a:pt x="119" y="99"/>
                </a:cubicBezTo>
                <a:cubicBezTo>
                  <a:pt x="130" y="89"/>
                  <a:pt x="138" y="74"/>
                  <a:pt x="138" y="57"/>
                </a:cubicBezTo>
                <a:cubicBezTo>
                  <a:pt x="138" y="55"/>
                  <a:pt x="138" y="52"/>
                  <a:pt x="137" y="50"/>
                </a:cubicBezTo>
                <a:cubicBezTo>
                  <a:pt x="135" y="32"/>
                  <a:pt x="130" y="20"/>
                  <a:pt x="123" y="12"/>
                </a:cubicBezTo>
                <a:cubicBezTo>
                  <a:pt x="116" y="3"/>
                  <a:pt x="105" y="0"/>
                  <a:pt x="94" y="0"/>
                </a:cubicBezTo>
                <a:cubicBezTo>
                  <a:pt x="93" y="0"/>
                  <a:pt x="93" y="0"/>
                  <a:pt x="92" y="0"/>
                </a:cubicBezTo>
                <a:cubicBezTo>
                  <a:pt x="81" y="0"/>
                  <a:pt x="71" y="4"/>
                  <a:pt x="64" y="11"/>
                </a:cubicBezTo>
                <a:cubicBezTo>
                  <a:pt x="56" y="17"/>
                  <a:pt x="50" y="25"/>
                  <a:pt x="46" y="32"/>
                </a:cubicBezTo>
                <a:cubicBezTo>
                  <a:pt x="44" y="36"/>
                  <a:pt x="44" y="40"/>
                  <a:pt x="44" y="45"/>
                </a:cubicBezTo>
                <a:cubicBezTo>
                  <a:pt x="44" y="53"/>
                  <a:pt x="46" y="61"/>
                  <a:pt x="51" y="68"/>
                </a:cubicBezTo>
                <a:cubicBezTo>
                  <a:pt x="55" y="75"/>
                  <a:pt x="62" y="81"/>
                  <a:pt x="71" y="82"/>
                </a:cubicBezTo>
                <a:cubicBezTo>
                  <a:pt x="73" y="83"/>
                  <a:pt x="75" y="83"/>
                  <a:pt x="76" y="83"/>
                </a:cubicBezTo>
                <a:cubicBezTo>
                  <a:pt x="86" y="83"/>
                  <a:pt x="93" y="79"/>
                  <a:pt x="98" y="73"/>
                </a:cubicBezTo>
                <a:cubicBezTo>
                  <a:pt x="103" y="68"/>
                  <a:pt x="105" y="60"/>
                  <a:pt x="105" y="53"/>
                </a:cubicBezTo>
                <a:cubicBezTo>
                  <a:pt x="105" y="53"/>
                  <a:pt x="105" y="53"/>
                  <a:pt x="105" y="53"/>
                </a:cubicBezTo>
                <a:cubicBezTo>
                  <a:pt x="105" y="53"/>
                  <a:pt x="105" y="53"/>
                  <a:pt x="105" y="53"/>
                </a:cubicBezTo>
                <a:cubicBezTo>
                  <a:pt x="105" y="45"/>
                  <a:pt x="103" y="38"/>
                  <a:pt x="98" y="34"/>
                </a:cubicBezTo>
                <a:cubicBezTo>
                  <a:pt x="94" y="29"/>
                  <a:pt x="86" y="26"/>
                  <a:pt x="75" y="25"/>
                </a:cubicBezTo>
                <a:cubicBezTo>
                  <a:pt x="74" y="25"/>
                  <a:pt x="74" y="24"/>
                  <a:pt x="73" y="24"/>
                </a:cubicBezTo>
                <a:cubicBezTo>
                  <a:pt x="66" y="24"/>
                  <a:pt x="60" y="28"/>
                  <a:pt x="56" y="33"/>
                </a:cubicBezTo>
                <a:cubicBezTo>
                  <a:pt x="52" y="37"/>
                  <a:pt x="50" y="43"/>
                  <a:pt x="50" y="49"/>
                </a:cubicBezTo>
                <a:cubicBezTo>
                  <a:pt x="50" y="52"/>
                  <a:pt x="51" y="55"/>
                  <a:pt x="53" y="57"/>
                </a:cubicBezTo>
                <a:cubicBezTo>
                  <a:pt x="55" y="60"/>
                  <a:pt x="58" y="62"/>
                  <a:pt x="61" y="62"/>
                </a:cubicBezTo>
                <a:cubicBezTo>
                  <a:pt x="63" y="62"/>
                  <a:pt x="64" y="62"/>
                  <a:pt x="65" y="62"/>
                </a:cubicBezTo>
                <a:cubicBezTo>
                  <a:pt x="70" y="62"/>
                  <a:pt x="73" y="61"/>
                  <a:pt x="75" y="59"/>
                </a:cubicBezTo>
                <a:cubicBezTo>
                  <a:pt x="77" y="56"/>
                  <a:pt x="77" y="54"/>
                  <a:pt x="77" y="51"/>
                </a:cubicBezTo>
                <a:cubicBezTo>
                  <a:pt x="77" y="48"/>
                  <a:pt x="76" y="45"/>
                  <a:pt x="76" y="45"/>
                </a:cubicBezTo>
                <a:lnTo>
                  <a:pt x="72" y="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2556611" y="1086097"/>
            <a:ext cx="536355" cy="396987"/>
          </a:xfrm>
          <a:custGeom>
            <a:avLst/>
            <a:gdLst>
              <a:gd name="T0" fmla="*/ 98 w 161"/>
              <a:gd name="T1" fmla="*/ 40 h 119"/>
              <a:gd name="T2" fmla="*/ 95 w 161"/>
              <a:gd name="T3" fmla="*/ 48 h 119"/>
              <a:gd name="T4" fmla="*/ 84 w 161"/>
              <a:gd name="T5" fmla="*/ 47 h 119"/>
              <a:gd name="T6" fmla="*/ 79 w 161"/>
              <a:gd name="T7" fmla="*/ 40 h 119"/>
              <a:gd name="T8" fmla="*/ 99 w 161"/>
              <a:gd name="T9" fmla="*/ 22 h 119"/>
              <a:gd name="T10" fmla="*/ 121 w 161"/>
              <a:gd name="T11" fmla="*/ 34 h 119"/>
              <a:gd name="T12" fmla="*/ 123 w 161"/>
              <a:gd name="T13" fmla="*/ 55 h 119"/>
              <a:gd name="T14" fmla="*/ 100 w 161"/>
              <a:gd name="T15" fmla="*/ 73 h 119"/>
              <a:gd name="T16" fmla="*/ 76 w 161"/>
              <a:gd name="T17" fmla="*/ 59 h 119"/>
              <a:gd name="T18" fmla="*/ 81 w 161"/>
              <a:gd name="T19" fmla="*/ 21 h 119"/>
              <a:gd name="T20" fmla="*/ 132 w 161"/>
              <a:gd name="T21" fmla="*/ 6 h 119"/>
              <a:gd name="T22" fmla="*/ 157 w 161"/>
              <a:gd name="T23" fmla="*/ 43 h 119"/>
              <a:gd name="T24" fmla="*/ 132 w 161"/>
              <a:gd name="T25" fmla="*/ 97 h 119"/>
              <a:gd name="T26" fmla="*/ 87 w 161"/>
              <a:gd name="T27" fmla="*/ 106 h 119"/>
              <a:gd name="T28" fmla="*/ 85 w 161"/>
              <a:gd name="T29" fmla="*/ 107 h 119"/>
              <a:gd name="T30" fmla="*/ 63 w 161"/>
              <a:gd name="T31" fmla="*/ 115 h 119"/>
              <a:gd name="T32" fmla="*/ 28 w 161"/>
              <a:gd name="T33" fmla="*/ 95 h 119"/>
              <a:gd name="T34" fmla="*/ 22 w 161"/>
              <a:gd name="T35" fmla="*/ 73 h 119"/>
              <a:gd name="T36" fmla="*/ 21 w 161"/>
              <a:gd name="T37" fmla="*/ 71 h 119"/>
              <a:gd name="T38" fmla="*/ 12 w 161"/>
              <a:gd name="T39" fmla="*/ 63 h 119"/>
              <a:gd name="T40" fmla="*/ 0 w 161"/>
              <a:gd name="T41" fmla="*/ 45 h 119"/>
              <a:gd name="T42" fmla="*/ 19 w 161"/>
              <a:gd name="T43" fmla="*/ 74 h 119"/>
              <a:gd name="T44" fmla="*/ 18 w 161"/>
              <a:gd name="T45" fmla="*/ 72 h 119"/>
              <a:gd name="T46" fmla="*/ 25 w 161"/>
              <a:gd name="T47" fmla="*/ 97 h 119"/>
              <a:gd name="T48" fmla="*/ 63 w 161"/>
              <a:gd name="T49" fmla="*/ 119 h 119"/>
              <a:gd name="T50" fmla="*/ 86 w 161"/>
              <a:gd name="T51" fmla="*/ 108 h 119"/>
              <a:gd name="T52" fmla="*/ 98 w 161"/>
              <a:gd name="T53" fmla="*/ 112 h 119"/>
              <a:gd name="T54" fmla="*/ 158 w 161"/>
              <a:gd name="T55" fmla="*/ 65 h 119"/>
              <a:gd name="T56" fmla="*/ 153 w 161"/>
              <a:gd name="T57" fmla="*/ 17 h 119"/>
              <a:gd name="T58" fmla="*/ 119 w 161"/>
              <a:gd name="T59" fmla="*/ 0 h 119"/>
              <a:gd name="T60" fmla="*/ 69 w 161"/>
              <a:gd name="T61" fmla="*/ 43 h 119"/>
              <a:gd name="T62" fmla="*/ 85 w 161"/>
              <a:gd name="T63" fmla="*/ 73 h 119"/>
              <a:gd name="T64" fmla="*/ 117 w 161"/>
              <a:gd name="T65" fmla="*/ 71 h 119"/>
              <a:gd name="T66" fmla="*/ 129 w 161"/>
              <a:gd name="T67" fmla="*/ 46 h 119"/>
              <a:gd name="T68" fmla="*/ 108 w 161"/>
              <a:gd name="T69" fmla="*/ 20 h 119"/>
              <a:gd name="T70" fmla="*/ 82 w 161"/>
              <a:gd name="T71" fmla="*/ 25 h 119"/>
              <a:gd name="T72" fmla="*/ 77 w 161"/>
              <a:gd name="T73" fmla="*/ 46 h 119"/>
              <a:gd name="T74" fmla="*/ 91 w 161"/>
              <a:gd name="T75" fmla="*/ 53 h 119"/>
              <a:gd name="T76" fmla="*/ 101 w 161"/>
              <a:gd name="T77" fmla="*/ 44 h 119"/>
              <a:gd name="T78" fmla="*/ 102 w 161"/>
              <a:gd name="T79" fmla="*/ 40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1" h="119">
                <a:moveTo>
                  <a:pt x="98" y="40"/>
                </a:moveTo>
                <a:cubicBezTo>
                  <a:pt x="98" y="40"/>
                  <a:pt x="98" y="40"/>
                  <a:pt x="98" y="40"/>
                </a:cubicBezTo>
                <a:cubicBezTo>
                  <a:pt x="98" y="40"/>
                  <a:pt x="98" y="43"/>
                  <a:pt x="97" y="45"/>
                </a:cubicBezTo>
                <a:cubicBezTo>
                  <a:pt x="96" y="46"/>
                  <a:pt x="96" y="47"/>
                  <a:pt x="95" y="48"/>
                </a:cubicBezTo>
                <a:cubicBezTo>
                  <a:pt x="94" y="49"/>
                  <a:pt x="93" y="49"/>
                  <a:pt x="91" y="49"/>
                </a:cubicBezTo>
                <a:cubicBezTo>
                  <a:pt x="89" y="49"/>
                  <a:pt x="87" y="49"/>
                  <a:pt x="84" y="47"/>
                </a:cubicBezTo>
                <a:cubicBezTo>
                  <a:pt x="82" y="47"/>
                  <a:pt x="81" y="45"/>
                  <a:pt x="80" y="44"/>
                </a:cubicBezTo>
                <a:cubicBezTo>
                  <a:pt x="80" y="43"/>
                  <a:pt x="79" y="42"/>
                  <a:pt x="79" y="40"/>
                </a:cubicBezTo>
                <a:cubicBezTo>
                  <a:pt x="79" y="36"/>
                  <a:pt x="81" y="32"/>
                  <a:pt x="85" y="28"/>
                </a:cubicBezTo>
                <a:cubicBezTo>
                  <a:pt x="89" y="25"/>
                  <a:pt x="94" y="22"/>
                  <a:pt x="99" y="22"/>
                </a:cubicBezTo>
                <a:cubicBezTo>
                  <a:pt x="101" y="22"/>
                  <a:pt x="104" y="23"/>
                  <a:pt x="106" y="24"/>
                </a:cubicBezTo>
                <a:cubicBezTo>
                  <a:pt x="113" y="27"/>
                  <a:pt x="118" y="31"/>
                  <a:pt x="121" y="34"/>
                </a:cubicBezTo>
                <a:cubicBezTo>
                  <a:pt x="124" y="38"/>
                  <a:pt x="125" y="42"/>
                  <a:pt x="125" y="46"/>
                </a:cubicBezTo>
                <a:cubicBezTo>
                  <a:pt x="125" y="49"/>
                  <a:pt x="124" y="52"/>
                  <a:pt x="123" y="55"/>
                </a:cubicBezTo>
                <a:cubicBezTo>
                  <a:pt x="122" y="60"/>
                  <a:pt x="119" y="65"/>
                  <a:pt x="115" y="68"/>
                </a:cubicBezTo>
                <a:cubicBezTo>
                  <a:pt x="111" y="71"/>
                  <a:pt x="106" y="73"/>
                  <a:pt x="100" y="73"/>
                </a:cubicBezTo>
                <a:cubicBezTo>
                  <a:pt x="96" y="73"/>
                  <a:pt x="92" y="72"/>
                  <a:pt x="87" y="70"/>
                </a:cubicBezTo>
                <a:cubicBezTo>
                  <a:pt x="82" y="67"/>
                  <a:pt x="78" y="63"/>
                  <a:pt x="76" y="59"/>
                </a:cubicBezTo>
                <a:cubicBezTo>
                  <a:pt x="74" y="54"/>
                  <a:pt x="73" y="49"/>
                  <a:pt x="73" y="43"/>
                </a:cubicBezTo>
                <a:cubicBezTo>
                  <a:pt x="73" y="34"/>
                  <a:pt x="76" y="25"/>
                  <a:pt x="81" y="21"/>
                </a:cubicBezTo>
                <a:cubicBezTo>
                  <a:pt x="89" y="13"/>
                  <a:pt x="104" y="4"/>
                  <a:pt x="119" y="4"/>
                </a:cubicBezTo>
                <a:cubicBezTo>
                  <a:pt x="123" y="4"/>
                  <a:pt x="127" y="5"/>
                  <a:pt x="132" y="6"/>
                </a:cubicBezTo>
                <a:cubicBezTo>
                  <a:pt x="140" y="9"/>
                  <a:pt x="146" y="13"/>
                  <a:pt x="150" y="19"/>
                </a:cubicBezTo>
                <a:cubicBezTo>
                  <a:pt x="154" y="25"/>
                  <a:pt x="157" y="33"/>
                  <a:pt x="157" y="43"/>
                </a:cubicBezTo>
                <a:cubicBezTo>
                  <a:pt x="157" y="49"/>
                  <a:pt x="156" y="56"/>
                  <a:pt x="154" y="64"/>
                </a:cubicBezTo>
                <a:cubicBezTo>
                  <a:pt x="151" y="78"/>
                  <a:pt x="143" y="89"/>
                  <a:pt x="132" y="97"/>
                </a:cubicBezTo>
                <a:cubicBezTo>
                  <a:pt x="121" y="104"/>
                  <a:pt x="108" y="108"/>
                  <a:pt x="98" y="108"/>
                </a:cubicBezTo>
                <a:cubicBezTo>
                  <a:pt x="94" y="108"/>
                  <a:pt x="90" y="107"/>
                  <a:pt x="87" y="106"/>
                </a:cubicBezTo>
                <a:cubicBezTo>
                  <a:pt x="85" y="106"/>
                  <a:pt x="85" y="106"/>
                  <a:pt x="85" y="106"/>
                </a:cubicBezTo>
                <a:cubicBezTo>
                  <a:pt x="85" y="107"/>
                  <a:pt x="85" y="107"/>
                  <a:pt x="85" y="107"/>
                </a:cubicBezTo>
                <a:cubicBezTo>
                  <a:pt x="85" y="107"/>
                  <a:pt x="85" y="107"/>
                  <a:pt x="85" y="107"/>
                </a:cubicBezTo>
                <a:cubicBezTo>
                  <a:pt x="84" y="107"/>
                  <a:pt x="77" y="115"/>
                  <a:pt x="63" y="115"/>
                </a:cubicBezTo>
                <a:cubicBezTo>
                  <a:pt x="59" y="115"/>
                  <a:pt x="55" y="115"/>
                  <a:pt x="51" y="113"/>
                </a:cubicBezTo>
                <a:cubicBezTo>
                  <a:pt x="40" y="110"/>
                  <a:pt x="33" y="103"/>
                  <a:pt x="28" y="95"/>
                </a:cubicBezTo>
                <a:cubicBezTo>
                  <a:pt x="24" y="87"/>
                  <a:pt x="22" y="79"/>
                  <a:pt x="22" y="74"/>
                </a:cubicBezTo>
                <a:cubicBezTo>
                  <a:pt x="22" y="74"/>
                  <a:pt x="22" y="73"/>
                  <a:pt x="22" y="73"/>
                </a:cubicBezTo>
                <a:cubicBezTo>
                  <a:pt x="22" y="72"/>
                  <a:pt x="22" y="72"/>
                  <a:pt x="22" y="72"/>
                </a:cubicBezTo>
                <a:cubicBezTo>
                  <a:pt x="21" y="71"/>
                  <a:pt x="21" y="71"/>
                  <a:pt x="21" y="71"/>
                </a:cubicBezTo>
                <a:cubicBezTo>
                  <a:pt x="21" y="71"/>
                  <a:pt x="21" y="71"/>
                  <a:pt x="21" y="71"/>
                </a:cubicBezTo>
                <a:cubicBezTo>
                  <a:pt x="20" y="70"/>
                  <a:pt x="16" y="68"/>
                  <a:pt x="12" y="63"/>
                </a:cubicBezTo>
                <a:cubicBezTo>
                  <a:pt x="8" y="59"/>
                  <a:pt x="4" y="53"/>
                  <a:pt x="4" y="45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55"/>
                  <a:pt x="5" y="62"/>
                  <a:pt x="10" y="67"/>
                </a:cubicBezTo>
                <a:cubicBezTo>
                  <a:pt x="14" y="72"/>
                  <a:pt x="19" y="74"/>
                  <a:pt x="19" y="74"/>
                </a:cubicBezTo>
                <a:cubicBezTo>
                  <a:pt x="20" y="73"/>
                  <a:pt x="20" y="73"/>
                  <a:pt x="20" y="73"/>
                </a:cubicBezTo>
                <a:cubicBezTo>
                  <a:pt x="18" y="72"/>
                  <a:pt x="18" y="72"/>
                  <a:pt x="18" y="72"/>
                </a:cubicBezTo>
                <a:cubicBezTo>
                  <a:pt x="18" y="73"/>
                  <a:pt x="18" y="74"/>
                  <a:pt x="18" y="74"/>
                </a:cubicBezTo>
                <a:cubicBezTo>
                  <a:pt x="18" y="80"/>
                  <a:pt x="20" y="89"/>
                  <a:pt x="25" y="97"/>
                </a:cubicBezTo>
                <a:cubicBezTo>
                  <a:pt x="30" y="106"/>
                  <a:pt x="38" y="114"/>
                  <a:pt x="50" y="117"/>
                </a:cubicBezTo>
                <a:cubicBezTo>
                  <a:pt x="54" y="119"/>
                  <a:pt x="59" y="119"/>
                  <a:pt x="63" y="119"/>
                </a:cubicBezTo>
                <a:cubicBezTo>
                  <a:pt x="79" y="119"/>
                  <a:pt x="87" y="110"/>
                  <a:pt x="88" y="110"/>
                </a:cubicBezTo>
                <a:cubicBezTo>
                  <a:pt x="86" y="108"/>
                  <a:pt x="86" y="108"/>
                  <a:pt x="86" y="108"/>
                </a:cubicBezTo>
                <a:cubicBezTo>
                  <a:pt x="85" y="110"/>
                  <a:pt x="85" y="110"/>
                  <a:pt x="85" y="110"/>
                </a:cubicBezTo>
                <a:cubicBezTo>
                  <a:pt x="89" y="111"/>
                  <a:pt x="93" y="112"/>
                  <a:pt x="98" y="112"/>
                </a:cubicBezTo>
                <a:cubicBezTo>
                  <a:pt x="109" y="112"/>
                  <a:pt x="123" y="108"/>
                  <a:pt x="134" y="100"/>
                </a:cubicBezTo>
                <a:cubicBezTo>
                  <a:pt x="145" y="92"/>
                  <a:pt x="155" y="80"/>
                  <a:pt x="158" y="65"/>
                </a:cubicBezTo>
                <a:cubicBezTo>
                  <a:pt x="160" y="57"/>
                  <a:pt x="161" y="49"/>
                  <a:pt x="161" y="43"/>
                </a:cubicBezTo>
                <a:cubicBezTo>
                  <a:pt x="161" y="32"/>
                  <a:pt x="158" y="24"/>
                  <a:pt x="153" y="17"/>
                </a:cubicBezTo>
                <a:cubicBezTo>
                  <a:pt x="149" y="10"/>
                  <a:pt x="142" y="6"/>
                  <a:pt x="133" y="2"/>
                </a:cubicBezTo>
                <a:cubicBezTo>
                  <a:pt x="128" y="1"/>
                  <a:pt x="124" y="0"/>
                  <a:pt x="119" y="0"/>
                </a:cubicBezTo>
                <a:cubicBezTo>
                  <a:pt x="102" y="0"/>
                  <a:pt x="87" y="10"/>
                  <a:pt x="78" y="18"/>
                </a:cubicBezTo>
                <a:cubicBezTo>
                  <a:pt x="72" y="24"/>
                  <a:pt x="69" y="33"/>
                  <a:pt x="69" y="43"/>
                </a:cubicBezTo>
                <a:cubicBezTo>
                  <a:pt x="69" y="49"/>
                  <a:pt x="70" y="55"/>
                  <a:pt x="73" y="61"/>
                </a:cubicBezTo>
                <a:cubicBezTo>
                  <a:pt x="75" y="66"/>
                  <a:pt x="79" y="70"/>
                  <a:pt x="85" y="73"/>
                </a:cubicBezTo>
                <a:cubicBezTo>
                  <a:pt x="90" y="76"/>
                  <a:pt x="95" y="77"/>
                  <a:pt x="100" y="77"/>
                </a:cubicBezTo>
                <a:cubicBezTo>
                  <a:pt x="107" y="77"/>
                  <a:pt x="113" y="75"/>
                  <a:pt x="117" y="71"/>
                </a:cubicBezTo>
                <a:cubicBezTo>
                  <a:pt x="122" y="67"/>
                  <a:pt x="125" y="62"/>
                  <a:pt x="127" y="57"/>
                </a:cubicBezTo>
                <a:cubicBezTo>
                  <a:pt x="128" y="53"/>
                  <a:pt x="129" y="49"/>
                  <a:pt x="129" y="46"/>
                </a:cubicBezTo>
                <a:cubicBezTo>
                  <a:pt x="129" y="41"/>
                  <a:pt x="127" y="36"/>
                  <a:pt x="124" y="32"/>
                </a:cubicBezTo>
                <a:cubicBezTo>
                  <a:pt x="120" y="27"/>
                  <a:pt x="115" y="24"/>
                  <a:pt x="108" y="20"/>
                </a:cubicBezTo>
                <a:cubicBezTo>
                  <a:pt x="105" y="19"/>
                  <a:pt x="102" y="18"/>
                  <a:pt x="99" y="18"/>
                </a:cubicBezTo>
                <a:cubicBezTo>
                  <a:pt x="93" y="18"/>
                  <a:pt x="87" y="21"/>
                  <a:pt x="82" y="25"/>
                </a:cubicBezTo>
                <a:cubicBezTo>
                  <a:pt x="78" y="29"/>
                  <a:pt x="75" y="35"/>
                  <a:pt x="75" y="40"/>
                </a:cubicBezTo>
                <a:cubicBezTo>
                  <a:pt x="75" y="42"/>
                  <a:pt x="76" y="44"/>
                  <a:pt x="77" y="46"/>
                </a:cubicBezTo>
                <a:cubicBezTo>
                  <a:pt x="78" y="48"/>
                  <a:pt x="80" y="50"/>
                  <a:pt x="82" y="51"/>
                </a:cubicBezTo>
                <a:cubicBezTo>
                  <a:pt x="86" y="53"/>
                  <a:pt x="89" y="53"/>
                  <a:pt x="91" y="53"/>
                </a:cubicBezTo>
                <a:cubicBezTo>
                  <a:pt x="94" y="53"/>
                  <a:pt x="96" y="53"/>
                  <a:pt x="97" y="51"/>
                </a:cubicBezTo>
                <a:cubicBezTo>
                  <a:pt x="100" y="49"/>
                  <a:pt x="101" y="47"/>
                  <a:pt x="101" y="44"/>
                </a:cubicBezTo>
                <a:cubicBezTo>
                  <a:pt x="102" y="42"/>
                  <a:pt x="102" y="40"/>
                  <a:pt x="102" y="40"/>
                </a:cubicBezTo>
                <a:cubicBezTo>
                  <a:pt x="102" y="40"/>
                  <a:pt x="102" y="40"/>
                  <a:pt x="102" y="40"/>
                </a:cubicBezTo>
                <a:lnTo>
                  <a:pt x="98" y="4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5" name="Freeform 24"/>
          <p:cNvSpPr>
            <a:spLocks/>
          </p:cNvSpPr>
          <p:nvPr/>
        </p:nvSpPr>
        <p:spPr bwMode="auto">
          <a:xfrm>
            <a:off x="2439767" y="2434728"/>
            <a:ext cx="1958189" cy="1154361"/>
          </a:xfrm>
          <a:custGeom>
            <a:avLst/>
            <a:gdLst>
              <a:gd name="T0" fmla="*/ 8 w 587"/>
              <a:gd name="T1" fmla="*/ 0 h 346"/>
              <a:gd name="T2" fmla="*/ 0 w 587"/>
              <a:gd name="T3" fmla="*/ 0 h 346"/>
              <a:gd name="T4" fmla="*/ 99 w 587"/>
              <a:gd name="T5" fmla="*/ 261 h 346"/>
              <a:gd name="T6" fmla="*/ 318 w 587"/>
              <a:gd name="T7" fmla="*/ 346 h 346"/>
              <a:gd name="T8" fmla="*/ 318 w 587"/>
              <a:gd name="T9" fmla="*/ 346 h 346"/>
              <a:gd name="T10" fmla="*/ 587 w 587"/>
              <a:gd name="T11" fmla="*/ 215 h 346"/>
              <a:gd name="T12" fmla="*/ 580 w 587"/>
              <a:gd name="T13" fmla="*/ 210 h 346"/>
              <a:gd name="T14" fmla="*/ 318 w 587"/>
              <a:gd name="T15" fmla="*/ 338 h 346"/>
              <a:gd name="T16" fmla="*/ 104 w 587"/>
              <a:gd name="T17" fmla="*/ 255 h 346"/>
              <a:gd name="T18" fmla="*/ 8 w 587"/>
              <a:gd name="T19" fmla="*/ 0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87" h="346">
                <a:moveTo>
                  <a:pt x="8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17"/>
                  <a:pt x="39" y="204"/>
                  <a:pt x="99" y="261"/>
                </a:cubicBezTo>
                <a:cubicBezTo>
                  <a:pt x="158" y="318"/>
                  <a:pt x="238" y="346"/>
                  <a:pt x="318" y="346"/>
                </a:cubicBezTo>
                <a:cubicBezTo>
                  <a:pt x="318" y="346"/>
                  <a:pt x="318" y="346"/>
                  <a:pt x="318" y="346"/>
                </a:cubicBezTo>
                <a:cubicBezTo>
                  <a:pt x="420" y="346"/>
                  <a:pt x="523" y="301"/>
                  <a:pt x="587" y="215"/>
                </a:cubicBezTo>
                <a:cubicBezTo>
                  <a:pt x="580" y="210"/>
                  <a:pt x="580" y="210"/>
                  <a:pt x="580" y="210"/>
                </a:cubicBezTo>
                <a:cubicBezTo>
                  <a:pt x="518" y="294"/>
                  <a:pt x="418" y="338"/>
                  <a:pt x="318" y="338"/>
                </a:cubicBezTo>
                <a:cubicBezTo>
                  <a:pt x="240" y="338"/>
                  <a:pt x="162" y="311"/>
                  <a:pt x="104" y="255"/>
                </a:cubicBezTo>
                <a:cubicBezTo>
                  <a:pt x="46" y="200"/>
                  <a:pt x="8" y="116"/>
                  <a:pt x="8" y="0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26" name="Freeform 25"/>
          <p:cNvSpPr>
            <a:spLocks/>
          </p:cNvSpPr>
          <p:nvPr/>
        </p:nvSpPr>
        <p:spPr bwMode="auto">
          <a:xfrm>
            <a:off x="3336508" y="1439445"/>
            <a:ext cx="1254311" cy="1029070"/>
          </a:xfrm>
          <a:custGeom>
            <a:avLst/>
            <a:gdLst>
              <a:gd name="T0" fmla="*/ 47 w 376"/>
              <a:gd name="T1" fmla="*/ 0 h 308"/>
              <a:gd name="T2" fmla="*/ 0 w 376"/>
              <a:gd name="T3" fmla="*/ 3 h 308"/>
              <a:gd name="T4" fmla="*/ 2 w 376"/>
              <a:gd name="T5" fmla="*/ 11 h 308"/>
              <a:gd name="T6" fmla="*/ 47 w 376"/>
              <a:gd name="T7" fmla="*/ 8 h 308"/>
              <a:gd name="T8" fmla="*/ 47 w 376"/>
              <a:gd name="T9" fmla="*/ 8 h 308"/>
              <a:gd name="T10" fmla="*/ 267 w 376"/>
              <a:gd name="T11" fmla="*/ 89 h 308"/>
              <a:gd name="T12" fmla="*/ 368 w 376"/>
              <a:gd name="T13" fmla="*/ 308 h 308"/>
              <a:gd name="T14" fmla="*/ 376 w 376"/>
              <a:gd name="T15" fmla="*/ 308 h 308"/>
              <a:gd name="T16" fmla="*/ 272 w 376"/>
              <a:gd name="T17" fmla="*/ 83 h 308"/>
              <a:gd name="T18" fmla="*/ 47 w 376"/>
              <a:gd name="T19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76" h="308">
                <a:moveTo>
                  <a:pt x="47" y="0"/>
                </a:moveTo>
                <a:cubicBezTo>
                  <a:pt x="32" y="0"/>
                  <a:pt x="16" y="1"/>
                  <a:pt x="0" y="3"/>
                </a:cubicBezTo>
                <a:cubicBezTo>
                  <a:pt x="2" y="11"/>
                  <a:pt x="2" y="11"/>
                  <a:pt x="2" y="11"/>
                </a:cubicBezTo>
                <a:cubicBezTo>
                  <a:pt x="17" y="9"/>
                  <a:pt x="32" y="8"/>
                  <a:pt x="47" y="8"/>
                </a:cubicBezTo>
                <a:cubicBezTo>
                  <a:pt x="47" y="8"/>
                  <a:pt x="47" y="8"/>
                  <a:pt x="47" y="8"/>
                </a:cubicBezTo>
                <a:cubicBezTo>
                  <a:pt x="128" y="8"/>
                  <a:pt x="207" y="37"/>
                  <a:pt x="267" y="89"/>
                </a:cubicBezTo>
                <a:cubicBezTo>
                  <a:pt x="327" y="141"/>
                  <a:pt x="367" y="215"/>
                  <a:pt x="368" y="308"/>
                </a:cubicBezTo>
                <a:cubicBezTo>
                  <a:pt x="376" y="308"/>
                  <a:pt x="376" y="308"/>
                  <a:pt x="376" y="308"/>
                </a:cubicBezTo>
                <a:cubicBezTo>
                  <a:pt x="375" y="213"/>
                  <a:pt x="334" y="136"/>
                  <a:pt x="272" y="83"/>
                </a:cubicBezTo>
                <a:cubicBezTo>
                  <a:pt x="211" y="29"/>
                  <a:pt x="129" y="0"/>
                  <a:pt x="47" y="0"/>
                </a:cubicBezTo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55" name="文本框 54"/>
          <p:cNvSpPr txBox="1"/>
          <p:nvPr/>
        </p:nvSpPr>
        <p:spPr>
          <a:xfrm>
            <a:off x="4669653" y="3107086"/>
            <a:ext cx="53134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800" dirty="0" smtClean="0">
                <a:solidFill>
                  <a:schemeClr val="bg1"/>
                </a:solidFill>
                <a:latin typeface="张海山锐谐体" panose="02000000000000000000" pitchFamily="2" charset="-122"/>
                <a:ea typeface="张海山锐谐体" panose="02000000000000000000" pitchFamily="2" charset="-122"/>
              </a:rPr>
              <a:t>点击此处添加文本</a:t>
            </a:r>
            <a:endParaRPr lang="zh-CN" altLang="en-US" sz="4800" dirty="0">
              <a:solidFill>
                <a:schemeClr val="bg1"/>
              </a:solidFill>
              <a:latin typeface="张海山锐谐体" panose="02000000000000000000" pitchFamily="2" charset="-122"/>
              <a:ea typeface="张海山锐谐体" panose="02000000000000000000" pitchFamily="2" charset="-122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9496021" y="3278703"/>
            <a:ext cx="974168" cy="764412"/>
            <a:chOff x="9496021" y="3278703"/>
            <a:chExt cx="974168" cy="764412"/>
          </a:xfrm>
        </p:grpSpPr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9496021" y="3278703"/>
              <a:ext cx="974168" cy="764412"/>
            </a:xfrm>
            <a:custGeom>
              <a:avLst/>
              <a:gdLst>
                <a:gd name="T0" fmla="*/ 72 w 292"/>
                <a:gd name="T1" fmla="*/ 211 h 229"/>
                <a:gd name="T2" fmla="*/ 130 w 292"/>
                <a:gd name="T3" fmla="*/ 166 h 229"/>
                <a:gd name="T4" fmla="*/ 149 w 292"/>
                <a:gd name="T5" fmla="*/ 173 h 229"/>
                <a:gd name="T6" fmla="*/ 182 w 292"/>
                <a:gd name="T7" fmla="*/ 164 h 229"/>
                <a:gd name="T8" fmla="*/ 267 w 292"/>
                <a:gd name="T9" fmla="*/ 137 h 229"/>
                <a:gd name="T10" fmla="*/ 280 w 292"/>
                <a:gd name="T11" fmla="*/ 111 h 229"/>
                <a:gd name="T12" fmla="*/ 239 w 292"/>
                <a:gd name="T13" fmla="*/ 16 h 229"/>
                <a:gd name="T14" fmla="*/ 191 w 292"/>
                <a:gd name="T15" fmla="*/ 0 h 229"/>
                <a:gd name="T16" fmla="*/ 141 w 292"/>
                <a:gd name="T17" fmla="*/ 43 h 229"/>
                <a:gd name="T18" fmla="*/ 109 w 292"/>
                <a:gd name="T19" fmla="*/ 86 h 229"/>
                <a:gd name="T20" fmla="*/ 134 w 292"/>
                <a:gd name="T21" fmla="*/ 121 h 229"/>
                <a:gd name="T22" fmla="*/ 182 w 292"/>
                <a:gd name="T23" fmla="*/ 143 h 229"/>
                <a:gd name="T24" fmla="*/ 210 w 292"/>
                <a:gd name="T25" fmla="*/ 127 h 229"/>
                <a:gd name="T26" fmla="*/ 201 w 292"/>
                <a:gd name="T27" fmla="*/ 39 h 229"/>
                <a:gd name="T28" fmla="*/ 188 w 292"/>
                <a:gd name="T29" fmla="*/ 103 h 229"/>
                <a:gd name="T30" fmla="*/ 206 w 292"/>
                <a:gd name="T31" fmla="*/ 67 h 229"/>
                <a:gd name="T32" fmla="*/ 170 w 292"/>
                <a:gd name="T33" fmla="*/ 81 h 229"/>
                <a:gd name="T34" fmla="*/ 147 w 292"/>
                <a:gd name="T35" fmla="*/ 99 h 229"/>
                <a:gd name="T36" fmla="*/ 102 w 292"/>
                <a:gd name="T37" fmla="*/ 161 h 229"/>
                <a:gd name="T38" fmla="*/ 13 w 292"/>
                <a:gd name="T39" fmla="*/ 201 h 229"/>
                <a:gd name="T40" fmla="*/ 5 w 292"/>
                <a:gd name="T41" fmla="*/ 219 h 229"/>
                <a:gd name="T42" fmla="*/ 6 w 292"/>
                <a:gd name="T43" fmla="*/ 219 h 229"/>
                <a:gd name="T44" fmla="*/ 23 w 292"/>
                <a:gd name="T45" fmla="*/ 209 h 229"/>
                <a:gd name="T46" fmla="*/ 6 w 292"/>
                <a:gd name="T47" fmla="*/ 219 h 229"/>
                <a:gd name="T48" fmla="*/ 88 w 292"/>
                <a:gd name="T49" fmla="*/ 184 h 229"/>
                <a:gd name="T50" fmla="*/ 132 w 292"/>
                <a:gd name="T51" fmla="*/ 118 h 229"/>
                <a:gd name="T52" fmla="*/ 174 w 292"/>
                <a:gd name="T53" fmla="*/ 83 h 229"/>
                <a:gd name="T54" fmla="*/ 190 w 292"/>
                <a:gd name="T55" fmla="*/ 62 h 229"/>
                <a:gd name="T56" fmla="*/ 206 w 292"/>
                <a:gd name="T57" fmla="*/ 89 h 229"/>
                <a:gd name="T58" fmla="*/ 167 w 292"/>
                <a:gd name="T59" fmla="*/ 77 h 229"/>
                <a:gd name="T60" fmla="*/ 233 w 292"/>
                <a:gd name="T61" fmla="*/ 82 h 229"/>
                <a:gd name="T62" fmla="*/ 195 w 292"/>
                <a:gd name="T63" fmla="*/ 128 h 229"/>
                <a:gd name="T64" fmla="*/ 192 w 292"/>
                <a:gd name="T65" fmla="*/ 129 h 229"/>
                <a:gd name="T66" fmla="*/ 143 w 292"/>
                <a:gd name="T67" fmla="*/ 129 h 229"/>
                <a:gd name="T68" fmla="*/ 137 w 292"/>
                <a:gd name="T69" fmla="*/ 119 h 229"/>
                <a:gd name="T70" fmla="*/ 124 w 292"/>
                <a:gd name="T71" fmla="*/ 111 h 229"/>
                <a:gd name="T72" fmla="*/ 137 w 292"/>
                <a:gd name="T73" fmla="*/ 47 h 229"/>
                <a:gd name="T74" fmla="*/ 142 w 292"/>
                <a:gd name="T75" fmla="*/ 45 h 229"/>
                <a:gd name="T76" fmla="*/ 191 w 292"/>
                <a:gd name="T77" fmla="*/ 4 h 229"/>
                <a:gd name="T78" fmla="*/ 229 w 292"/>
                <a:gd name="T79" fmla="*/ 20 h 229"/>
                <a:gd name="T80" fmla="*/ 239 w 292"/>
                <a:gd name="T81" fmla="*/ 20 h 229"/>
                <a:gd name="T82" fmla="*/ 277 w 292"/>
                <a:gd name="T83" fmla="*/ 109 h 229"/>
                <a:gd name="T84" fmla="*/ 268 w 292"/>
                <a:gd name="T85" fmla="*/ 117 h 229"/>
                <a:gd name="T86" fmla="*/ 263 w 292"/>
                <a:gd name="T87" fmla="*/ 138 h 229"/>
                <a:gd name="T88" fmla="*/ 185 w 292"/>
                <a:gd name="T89" fmla="*/ 163 h 229"/>
                <a:gd name="T90" fmla="*/ 181 w 292"/>
                <a:gd name="T91" fmla="*/ 163 h 229"/>
                <a:gd name="T92" fmla="*/ 141 w 292"/>
                <a:gd name="T93" fmla="*/ 165 h 229"/>
                <a:gd name="T94" fmla="*/ 117 w 292"/>
                <a:gd name="T95" fmla="*/ 171 h 229"/>
                <a:gd name="T96" fmla="*/ 32 w 292"/>
                <a:gd name="T97" fmla="*/ 209 h 229"/>
                <a:gd name="T98" fmla="*/ 23 w 292"/>
                <a:gd name="T99" fmla="*/ 20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92" h="229">
                  <a:moveTo>
                    <a:pt x="23" y="209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3" y="211"/>
                    <a:pt x="36" y="214"/>
                    <a:pt x="51" y="214"/>
                  </a:cubicBezTo>
                  <a:cubicBezTo>
                    <a:pt x="58" y="214"/>
                    <a:pt x="66" y="213"/>
                    <a:pt x="72" y="211"/>
                  </a:cubicBezTo>
                  <a:cubicBezTo>
                    <a:pt x="92" y="206"/>
                    <a:pt x="105" y="191"/>
                    <a:pt x="110" y="185"/>
                  </a:cubicBezTo>
                  <a:cubicBezTo>
                    <a:pt x="112" y="181"/>
                    <a:pt x="117" y="177"/>
                    <a:pt x="121" y="173"/>
                  </a:cubicBezTo>
                  <a:cubicBezTo>
                    <a:pt x="123" y="171"/>
                    <a:pt x="126" y="169"/>
                    <a:pt x="127" y="168"/>
                  </a:cubicBezTo>
                  <a:cubicBezTo>
                    <a:pt x="128" y="167"/>
                    <a:pt x="129" y="166"/>
                    <a:pt x="130" y="166"/>
                  </a:cubicBezTo>
                  <a:cubicBezTo>
                    <a:pt x="131" y="166"/>
                    <a:pt x="131" y="166"/>
                    <a:pt x="131" y="166"/>
                  </a:cubicBezTo>
                  <a:cubicBezTo>
                    <a:pt x="132" y="166"/>
                    <a:pt x="133" y="166"/>
                    <a:pt x="135" y="167"/>
                  </a:cubicBezTo>
                  <a:cubicBezTo>
                    <a:pt x="137" y="167"/>
                    <a:pt x="140" y="169"/>
                    <a:pt x="142" y="170"/>
                  </a:cubicBezTo>
                  <a:cubicBezTo>
                    <a:pt x="145" y="171"/>
                    <a:pt x="147" y="172"/>
                    <a:pt x="149" y="173"/>
                  </a:cubicBezTo>
                  <a:cubicBezTo>
                    <a:pt x="151" y="173"/>
                    <a:pt x="155" y="174"/>
                    <a:pt x="159" y="174"/>
                  </a:cubicBezTo>
                  <a:cubicBezTo>
                    <a:pt x="163" y="174"/>
                    <a:pt x="168" y="173"/>
                    <a:pt x="173" y="172"/>
                  </a:cubicBezTo>
                  <a:cubicBezTo>
                    <a:pt x="177" y="171"/>
                    <a:pt x="182" y="169"/>
                    <a:pt x="184" y="165"/>
                  </a:cubicBezTo>
                  <a:cubicBezTo>
                    <a:pt x="182" y="164"/>
                    <a:pt x="182" y="164"/>
                    <a:pt x="182" y="164"/>
                  </a:cubicBezTo>
                  <a:cubicBezTo>
                    <a:pt x="181" y="166"/>
                    <a:pt x="181" y="166"/>
                    <a:pt x="181" y="166"/>
                  </a:cubicBezTo>
                  <a:cubicBezTo>
                    <a:pt x="182" y="166"/>
                    <a:pt x="196" y="171"/>
                    <a:pt x="214" y="171"/>
                  </a:cubicBezTo>
                  <a:cubicBezTo>
                    <a:pt x="223" y="171"/>
                    <a:pt x="232" y="170"/>
                    <a:pt x="242" y="166"/>
                  </a:cubicBezTo>
                  <a:cubicBezTo>
                    <a:pt x="256" y="159"/>
                    <a:pt x="263" y="147"/>
                    <a:pt x="267" y="137"/>
                  </a:cubicBezTo>
                  <a:cubicBezTo>
                    <a:pt x="271" y="127"/>
                    <a:pt x="271" y="119"/>
                    <a:pt x="271" y="119"/>
                  </a:cubicBezTo>
                  <a:cubicBezTo>
                    <a:pt x="269" y="119"/>
                    <a:pt x="269" y="119"/>
                    <a:pt x="269" y="119"/>
                  </a:cubicBezTo>
                  <a:cubicBezTo>
                    <a:pt x="270" y="120"/>
                    <a:pt x="270" y="120"/>
                    <a:pt x="270" y="120"/>
                  </a:cubicBezTo>
                  <a:cubicBezTo>
                    <a:pt x="270" y="120"/>
                    <a:pt x="275" y="117"/>
                    <a:pt x="280" y="111"/>
                  </a:cubicBezTo>
                  <a:cubicBezTo>
                    <a:pt x="284" y="105"/>
                    <a:pt x="290" y="97"/>
                    <a:pt x="291" y="86"/>
                  </a:cubicBezTo>
                  <a:cubicBezTo>
                    <a:pt x="292" y="82"/>
                    <a:pt x="292" y="78"/>
                    <a:pt x="292" y="75"/>
                  </a:cubicBezTo>
                  <a:cubicBezTo>
                    <a:pt x="292" y="59"/>
                    <a:pt x="287" y="45"/>
                    <a:pt x="279" y="35"/>
                  </a:cubicBezTo>
                  <a:cubicBezTo>
                    <a:pt x="271" y="24"/>
                    <a:pt x="255" y="16"/>
                    <a:pt x="239" y="16"/>
                  </a:cubicBezTo>
                  <a:cubicBezTo>
                    <a:pt x="236" y="16"/>
                    <a:pt x="233" y="16"/>
                    <a:pt x="230" y="17"/>
                  </a:cubicBezTo>
                  <a:cubicBezTo>
                    <a:pt x="231" y="19"/>
                    <a:pt x="231" y="19"/>
                    <a:pt x="231" y="19"/>
                  </a:cubicBezTo>
                  <a:cubicBezTo>
                    <a:pt x="232" y="17"/>
                    <a:pt x="232" y="17"/>
                    <a:pt x="232" y="17"/>
                  </a:cubicBezTo>
                  <a:cubicBezTo>
                    <a:pt x="232" y="17"/>
                    <a:pt x="214" y="0"/>
                    <a:pt x="191" y="0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178" y="0"/>
                    <a:pt x="167" y="4"/>
                    <a:pt x="157" y="11"/>
                  </a:cubicBezTo>
                  <a:cubicBezTo>
                    <a:pt x="148" y="19"/>
                    <a:pt x="141" y="29"/>
                    <a:pt x="139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0" y="41"/>
                    <a:pt x="140" y="41"/>
                    <a:pt x="140" y="41"/>
                  </a:cubicBezTo>
                  <a:cubicBezTo>
                    <a:pt x="140" y="41"/>
                    <a:pt x="132" y="44"/>
                    <a:pt x="125" y="51"/>
                  </a:cubicBezTo>
                  <a:cubicBezTo>
                    <a:pt x="117" y="58"/>
                    <a:pt x="110" y="68"/>
                    <a:pt x="109" y="83"/>
                  </a:cubicBezTo>
                  <a:cubicBezTo>
                    <a:pt x="109" y="84"/>
                    <a:pt x="109" y="85"/>
                    <a:pt x="109" y="86"/>
                  </a:cubicBezTo>
                  <a:cubicBezTo>
                    <a:pt x="109" y="100"/>
                    <a:pt x="116" y="109"/>
                    <a:pt x="122" y="115"/>
                  </a:cubicBezTo>
                  <a:cubicBezTo>
                    <a:pt x="128" y="120"/>
                    <a:pt x="135" y="122"/>
                    <a:pt x="135" y="122"/>
                  </a:cubicBezTo>
                  <a:cubicBezTo>
                    <a:pt x="136" y="120"/>
                    <a:pt x="136" y="120"/>
                    <a:pt x="136" y="120"/>
                  </a:cubicBezTo>
                  <a:cubicBezTo>
                    <a:pt x="134" y="121"/>
                    <a:pt x="134" y="121"/>
                    <a:pt x="134" y="121"/>
                  </a:cubicBezTo>
                  <a:cubicBezTo>
                    <a:pt x="134" y="121"/>
                    <a:pt x="136" y="126"/>
                    <a:pt x="139" y="131"/>
                  </a:cubicBezTo>
                  <a:cubicBezTo>
                    <a:pt x="143" y="137"/>
                    <a:pt x="148" y="143"/>
                    <a:pt x="155" y="145"/>
                  </a:cubicBezTo>
                  <a:cubicBezTo>
                    <a:pt x="158" y="146"/>
                    <a:pt x="161" y="147"/>
                    <a:pt x="164" y="147"/>
                  </a:cubicBezTo>
                  <a:cubicBezTo>
                    <a:pt x="170" y="147"/>
                    <a:pt x="176" y="145"/>
                    <a:pt x="182" y="143"/>
                  </a:cubicBezTo>
                  <a:cubicBezTo>
                    <a:pt x="187" y="140"/>
                    <a:pt x="192" y="136"/>
                    <a:pt x="195" y="131"/>
                  </a:cubicBezTo>
                  <a:cubicBezTo>
                    <a:pt x="194" y="130"/>
                    <a:pt x="194" y="130"/>
                    <a:pt x="194" y="130"/>
                  </a:cubicBezTo>
                  <a:cubicBezTo>
                    <a:pt x="194" y="132"/>
                    <a:pt x="194" y="132"/>
                    <a:pt x="194" y="132"/>
                  </a:cubicBezTo>
                  <a:cubicBezTo>
                    <a:pt x="194" y="132"/>
                    <a:pt x="201" y="130"/>
                    <a:pt x="210" y="127"/>
                  </a:cubicBezTo>
                  <a:cubicBezTo>
                    <a:pt x="218" y="124"/>
                    <a:pt x="227" y="118"/>
                    <a:pt x="231" y="109"/>
                  </a:cubicBezTo>
                  <a:cubicBezTo>
                    <a:pt x="234" y="102"/>
                    <a:pt x="237" y="92"/>
                    <a:pt x="237" y="82"/>
                  </a:cubicBezTo>
                  <a:cubicBezTo>
                    <a:pt x="237" y="69"/>
                    <a:pt x="233" y="55"/>
                    <a:pt x="222" y="47"/>
                  </a:cubicBezTo>
                  <a:cubicBezTo>
                    <a:pt x="215" y="41"/>
                    <a:pt x="208" y="39"/>
                    <a:pt x="201" y="39"/>
                  </a:cubicBezTo>
                  <a:cubicBezTo>
                    <a:pt x="188" y="39"/>
                    <a:pt x="177" y="46"/>
                    <a:pt x="170" y="54"/>
                  </a:cubicBezTo>
                  <a:cubicBezTo>
                    <a:pt x="165" y="60"/>
                    <a:pt x="163" y="69"/>
                    <a:pt x="163" y="77"/>
                  </a:cubicBezTo>
                  <a:cubicBezTo>
                    <a:pt x="163" y="84"/>
                    <a:pt x="164" y="91"/>
                    <a:pt x="169" y="96"/>
                  </a:cubicBezTo>
                  <a:cubicBezTo>
                    <a:pt x="174" y="100"/>
                    <a:pt x="181" y="103"/>
                    <a:pt x="188" y="103"/>
                  </a:cubicBezTo>
                  <a:cubicBezTo>
                    <a:pt x="192" y="103"/>
                    <a:pt x="197" y="102"/>
                    <a:pt x="200" y="100"/>
                  </a:cubicBezTo>
                  <a:cubicBezTo>
                    <a:pt x="204" y="98"/>
                    <a:pt x="207" y="95"/>
                    <a:pt x="209" y="91"/>
                  </a:cubicBezTo>
                  <a:cubicBezTo>
                    <a:pt x="211" y="88"/>
                    <a:pt x="212" y="84"/>
                    <a:pt x="212" y="81"/>
                  </a:cubicBezTo>
                  <a:cubicBezTo>
                    <a:pt x="212" y="76"/>
                    <a:pt x="209" y="70"/>
                    <a:pt x="206" y="67"/>
                  </a:cubicBezTo>
                  <a:cubicBezTo>
                    <a:pt x="203" y="63"/>
                    <a:pt x="199" y="60"/>
                    <a:pt x="195" y="59"/>
                  </a:cubicBezTo>
                  <a:cubicBezTo>
                    <a:pt x="194" y="59"/>
                    <a:pt x="192" y="58"/>
                    <a:pt x="190" y="58"/>
                  </a:cubicBezTo>
                  <a:cubicBezTo>
                    <a:pt x="186" y="58"/>
                    <a:pt x="181" y="60"/>
                    <a:pt x="177" y="64"/>
                  </a:cubicBezTo>
                  <a:cubicBezTo>
                    <a:pt x="173" y="67"/>
                    <a:pt x="170" y="73"/>
                    <a:pt x="170" y="81"/>
                  </a:cubicBezTo>
                  <a:cubicBezTo>
                    <a:pt x="170" y="81"/>
                    <a:pt x="170" y="81"/>
                    <a:pt x="170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1" y="80"/>
                    <a:pt x="171" y="80"/>
                    <a:pt x="171" y="80"/>
                  </a:cubicBezTo>
                  <a:cubicBezTo>
                    <a:pt x="171" y="80"/>
                    <a:pt x="159" y="88"/>
                    <a:pt x="147" y="99"/>
                  </a:cubicBezTo>
                  <a:cubicBezTo>
                    <a:pt x="141" y="104"/>
                    <a:pt x="134" y="109"/>
                    <a:pt x="129" y="115"/>
                  </a:cubicBezTo>
                  <a:cubicBezTo>
                    <a:pt x="124" y="120"/>
                    <a:pt x="120" y="125"/>
                    <a:pt x="118" y="130"/>
                  </a:cubicBezTo>
                  <a:cubicBezTo>
                    <a:pt x="114" y="138"/>
                    <a:pt x="113" y="142"/>
                    <a:pt x="112" y="145"/>
                  </a:cubicBezTo>
                  <a:cubicBezTo>
                    <a:pt x="111" y="149"/>
                    <a:pt x="109" y="153"/>
                    <a:pt x="102" y="161"/>
                  </a:cubicBezTo>
                  <a:cubicBezTo>
                    <a:pt x="95" y="170"/>
                    <a:pt x="91" y="176"/>
                    <a:pt x="85" y="181"/>
                  </a:cubicBezTo>
                  <a:cubicBezTo>
                    <a:pt x="80" y="185"/>
                    <a:pt x="74" y="188"/>
                    <a:pt x="65" y="189"/>
                  </a:cubicBezTo>
                  <a:cubicBezTo>
                    <a:pt x="56" y="190"/>
                    <a:pt x="42" y="190"/>
                    <a:pt x="30" y="193"/>
                  </a:cubicBezTo>
                  <a:cubicBezTo>
                    <a:pt x="23" y="195"/>
                    <a:pt x="17" y="197"/>
                    <a:pt x="13" y="201"/>
                  </a:cubicBezTo>
                  <a:cubicBezTo>
                    <a:pt x="8" y="205"/>
                    <a:pt x="4" y="211"/>
                    <a:pt x="2" y="218"/>
                  </a:cubicBezTo>
                  <a:cubicBezTo>
                    <a:pt x="0" y="229"/>
                    <a:pt x="0" y="229"/>
                    <a:pt x="0" y="22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5" y="219"/>
                    <a:pt x="5" y="219"/>
                    <a:pt x="5" y="219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6" y="219"/>
                    <a:pt x="10" y="213"/>
                    <a:pt x="24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3" y="209"/>
                    <a:pt x="23" y="209"/>
                    <a:pt x="23" y="209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8" y="209"/>
                    <a:pt x="3" y="217"/>
                    <a:pt x="3" y="217"/>
                  </a:cubicBezTo>
                  <a:cubicBezTo>
                    <a:pt x="4" y="218"/>
                    <a:pt x="4" y="218"/>
                    <a:pt x="4" y="218"/>
                  </a:cubicBezTo>
                  <a:cubicBezTo>
                    <a:pt x="6" y="219"/>
                    <a:pt x="6" y="219"/>
                    <a:pt x="6" y="219"/>
                  </a:cubicBezTo>
                  <a:cubicBezTo>
                    <a:pt x="8" y="212"/>
                    <a:pt x="11" y="208"/>
                    <a:pt x="15" y="204"/>
                  </a:cubicBezTo>
                  <a:cubicBezTo>
                    <a:pt x="21" y="199"/>
                    <a:pt x="31" y="197"/>
                    <a:pt x="40" y="195"/>
                  </a:cubicBezTo>
                  <a:cubicBezTo>
                    <a:pt x="49" y="194"/>
                    <a:pt x="59" y="194"/>
                    <a:pt x="66" y="193"/>
                  </a:cubicBezTo>
                  <a:cubicBezTo>
                    <a:pt x="75" y="192"/>
                    <a:pt x="82" y="189"/>
                    <a:pt x="88" y="184"/>
                  </a:cubicBezTo>
                  <a:cubicBezTo>
                    <a:pt x="94" y="179"/>
                    <a:pt x="99" y="172"/>
                    <a:pt x="105" y="164"/>
                  </a:cubicBezTo>
                  <a:cubicBezTo>
                    <a:pt x="112" y="155"/>
                    <a:pt x="114" y="151"/>
                    <a:pt x="116" y="147"/>
                  </a:cubicBezTo>
                  <a:cubicBezTo>
                    <a:pt x="117" y="143"/>
                    <a:pt x="118" y="139"/>
                    <a:pt x="121" y="131"/>
                  </a:cubicBezTo>
                  <a:cubicBezTo>
                    <a:pt x="123" y="128"/>
                    <a:pt x="127" y="123"/>
                    <a:pt x="132" y="118"/>
                  </a:cubicBezTo>
                  <a:cubicBezTo>
                    <a:pt x="140" y="110"/>
                    <a:pt x="150" y="101"/>
                    <a:pt x="158" y="95"/>
                  </a:cubicBezTo>
                  <a:cubicBezTo>
                    <a:pt x="163" y="91"/>
                    <a:pt x="166" y="88"/>
                    <a:pt x="169" y="86"/>
                  </a:cubicBezTo>
                  <a:cubicBezTo>
                    <a:pt x="172" y="84"/>
                    <a:pt x="173" y="83"/>
                    <a:pt x="173" y="83"/>
                  </a:cubicBezTo>
                  <a:cubicBezTo>
                    <a:pt x="174" y="83"/>
                    <a:pt x="174" y="83"/>
                    <a:pt x="174" y="83"/>
                  </a:cubicBezTo>
                  <a:cubicBezTo>
                    <a:pt x="174" y="82"/>
                    <a:pt x="174" y="82"/>
                    <a:pt x="174" y="82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74"/>
                    <a:pt x="176" y="69"/>
                    <a:pt x="179" y="66"/>
                  </a:cubicBezTo>
                  <a:cubicBezTo>
                    <a:pt x="182" y="64"/>
                    <a:pt x="187" y="62"/>
                    <a:pt x="190" y="62"/>
                  </a:cubicBezTo>
                  <a:cubicBezTo>
                    <a:pt x="192" y="62"/>
                    <a:pt x="193" y="63"/>
                    <a:pt x="194" y="63"/>
                  </a:cubicBezTo>
                  <a:cubicBezTo>
                    <a:pt x="197" y="64"/>
                    <a:pt x="201" y="66"/>
                    <a:pt x="203" y="69"/>
                  </a:cubicBezTo>
                  <a:cubicBezTo>
                    <a:pt x="206" y="72"/>
                    <a:pt x="208" y="77"/>
                    <a:pt x="208" y="81"/>
                  </a:cubicBezTo>
                  <a:cubicBezTo>
                    <a:pt x="208" y="84"/>
                    <a:pt x="207" y="86"/>
                    <a:pt x="206" y="89"/>
                  </a:cubicBezTo>
                  <a:cubicBezTo>
                    <a:pt x="204" y="92"/>
                    <a:pt x="202" y="95"/>
                    <a:pt x="198" y="96"/>
                  </a:cubicBezTo>
                  <a:cubicBezTo>
                    <a:pt x="195" y="98"/>
                    <a:pt x="192" y="99"/>
                    <a:pt x="188" y="99"/>
                  </a:cubicBezTo>
                  <a:cubicBezTo>
                    <a:pt x="182" y="99"/>
                    <a:pt x="175" y="96"/>
                    <a:pt x="172" y="93"/>
                  </a:cubicBezTo>
                  <a:cubicBezTo>
                    <a:pt x="168" y="89"/>
                    <a:pt x="167" y="83"/>
                    <a:pt x="167" y="77"/>
                  </a:cubicBezTo>
                  <a:cubicBezTo>
                    <a:pt x="167" y="70"/>
                    <a:pt x="169" y="62"/>
                    <a:pt x="174" y="56"/>
                  </a:cubicBezTo>
                  <a:cubicBezTo>
                    <a:pt x="179" y="50"/>
                    <a:pt x="190" y="43"/>
                    <a:pt x="201" y="43"/>
                  </a:cubicBezTo>
                  <a:cubicBezTo>
                    <a:pt x="207" y="43"/>
                    <a:pt x="213" y="45"/>
                    <a:pt x="220" y="50"/>
                  </a:cubicBezTo>
                  <a:cubicBezTo>
                    <a:pt x="229" y="57"/>
                    <a:pt x="233" y="69"/>
                    <a:pt x="233" y="82"/>
                  </a:cubicBezTo>
                  <a:cubicBezTo>
                    <a:pt x="233" y="91"/>
                    <a:pt x="230" y="101"/>
                    <a:pt x="227" y="108"/>
                  </a:cubicBezTo>
                  <a:cubicBezTo>
                    <a:pt x="224" y="115"/>
                    <a:pt x="216" y="120"/>
                    <a:pt x="208" y="123"/>
                  </a:cubicBezTo>
                  <a:cubicBezTo>
                    <a:pt x="204" y="125"/>
                    <a:pt x="200" y="126"/>
                    <a:pt x="198" y="127"/>
                  </a:cubicBezTo>
                  <a:cubicBezTo>
                    <a:pt x="196" y="127"/>
                    <a:pt x="195" y="128"/>
                    <a:pt x="195" y="128"/>
                  </a:cubicBezTo>
                  <a:cubicBezTo>
                    <a:pt x="194" y="128"/>
                    <a:pt x="194" y="128"/>
                    <a:pt x="194" y="128"/>
                  </a:cubicBezTo>
                  <a:cubicBezTo>
                    <a:pt x="193" y="128"/>
                    <a:pt x="193" y="128"/>
                    <a:pt x="193" y="128"/>
                  </a:cubicBezTo>
                  <a:cubicBezTo>
                    <a:pt x="192" y="128"/>
                    <a:pt x="192" y="128"/>
                    <a:pt x="192" y="128"/>
                  </a:cubicBezTo>
                  <a:cubicBezTo>
                    <a:pt x="192" y="129"/>
                    <a:pt x="192" y="129"/>
                    <a:pt x="192" y="129"/>
                  </a:cubicBezTo>
                  <a:cubicBezTo>
                    <a:pt x="189" y="133"/>
                    <a:pt x="185" y="137"/>
                    <a:pt x="180" y="139"/>
                  </a:cubicBezTo>
                  <a:cubicBezTo>
                    <a:pt x="175" y="141"/>
                    <a:pt x="169" y="143"/>
                    <a:pt x="164" y="143"/>
                  </a:cubicBezTo>
                  <a:cubicBezTo>
                    <a:pt x="161" y="143"/>
                    <a:pt x="158" y="142"/>
                    <a:pt x="156" y="141"/>
                  </a:cubicBezTo>
                  <a:cubicBezTo>
                    <a:pt x="151" y="140"/>
                    <a:pt x="146" y="134"/>
                    <a:pt x="143" y="129"/>
                  </a:cubicBezTo>
                  <a:cubicBezTo>
                    <a:pt x="141" y="127"/>
                    <a:pt x="140" y="124"/>
                    <a:pt x="139" y="122"/>
                  </a:cubicBezTo>
                  <a:cubicBezTo>
                    <a:pt x="138" y="122"/>
                    <a:pt x="138" y="121"/>
                    <a:pt x="138" y="120"/>
                  </a:cubicBezTo>
                  <a:cubicBezTo>
                    <a:pt x="138" y="120"/>
                    <a:pt x="138" y="120"/>
                    <a:pt x="138" y="120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7" y="119"/>
                    <a:pt x="137" y="119"/>
                    <a:pt x="137" y="119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6" y="118"/>
                    <a:pt x="136" y="118"/>
                  </a:cubicBezTo>
                  <a:cubicBezTo>
                    <a:pt x="136" y="118"/>
                    <a:pt x="130" y="116"/>
                    <a:pt x="124" y="111"/>
                  </a:cubicBezTo>
                  <a:cubicBezTo>
                    <a:pt x="118" y="106"/>
                    <a:pt x="113" y="98"/>
                    <a:pt x="113" y="86"/>
                  </a:cubicBezTo>
                  <a:cubicBezTo>
                    <a:pt x="113" y="85"/>
                    <a:pt x="113" y="84"/>
                    <a:pt x="113" y="84"/>
                  </a:cubicBezTo>
                  <a:cubicBezTo>
                    <a:pt x="114" y="70"/>
                    <a:pt x="121" y="60"/>
                    <a:pt x="128" y="54"/>
                  </a:cubicBezTo>
                  <a:cubicBezTo>
                    <a:pt x="131" y="51"/>
                    <a:pt x="135" y="49"/>
                    <a:pt x="137" y="47"/>
                  </a:cubicBezTo>
                  <a:cubicBezTo>
                    <a:pt x="138" y="46"/>
                    <a:pt x="140" y="46"/>
                    <a:pt x="140" y="46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1" y="45"/>
                    <a:pt x="141" y="45"/>
                    <a:pt x="141" y="45"/>
                  </a:cubicBezTo>
                  <a:cubicBezTo>
                    <a:pt x="142" y="45"/>
                    <a:pt x="142" y="45"/>
                    <a:pt x="142" y="45"/>
                  </a:cubicBezTo>
                  <a:cubicBezTo>
                    <a:pt x="143" y="44"/>
                    <a:pt x="143" y="44"/>
                    <a:pt x="143" y="44"/>
                  </a:cubicBezTo>
                  <a:cubicBezTo>
                    <a:pt x="145" y="31"/>
                    <a:pt x="151" y="21"/>
                    <a:pt x="160" y="15"/>
                  </a:cubicBezTo>
                  <a:cubicBezTo>
                    <a:pt x="168" y="8"/>
                    <a:pt x="179" y="4"/>
                    <a:pt x="190" y="4"/>
                  </a:cubicBezTo>
                  <a:cubicBezTo>
                    <a:pt x="191" y="4"/>
                    <a:pt x="191" y="4"/>
                    <a:pt x="191" y="4"/>
                  </a:cubicBezTo>
                  <a:cubicBezTo>
                    <a:pt x="201" y="4"/>
                    <a:pt x="211" y="8"/>
                    <a:pt x="218" y="12"/>
                  </a:cubicBezTo>
                  <a:cubicBezTo>
                    <a:pt x="222" y="14"/>
                    <a:pt x="224" y="16"/>
                    <a:pt x="226" y="18"/>
                  </a:cubicBezTo>
                  <a:cubicBezTo>
                    <a:pt x="227" y="19"/>
                    <a:pt x="228" y="19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29" y="20"/>
                    <a:pt x="229" y="20"/>
                    <a:pt x="229" y="20"/>
                  </a:cubicBezTo>
                  <a:cubicBezTo>
                    <a:pt x="230" y="21"/>
                    <a:pt x="230" y="21"/>
                    <a:pt x="230" y="21"/>
                  </a:cubicBezTo>
                  <a:cubicBezTo>
                    <a:pt x="231" y="21"/>
                    <a:pt x="231" y="21"/>
                    <a:pt x="231" y="21"/>
                  </a:cubicBezTo>
                  <a:cubicBezTo>
                    <a:pt x="234" y="20"/>
                    <a:pt x="236" y="20"/>
                    <a:pt x="239" y="20"/>
                  </a:cubicBezTo>
                  <a:cubicBezTo>
                    <a:pt x="254" y="20"/>
                    <a:pt x="268" y="27"/>
                    <a:pt x="276" y="37"/>
                  </a:cubicBezTo>
                  <a:cubicBezTo>
                    <a:pt x="283" y="47"/>
                    <a:pt x="288" y="60"/>
                    <a:pt x="288" y="75"/>
                  </a:cubicBezTo>
                  <a:cubicBezTo>
                    <a:pt x="288" y="78"/>
                    <a:pt x="288" y="82"/>
                    <a:pt x="287" y="85"/>
                  </a:cubicBezTo>
                  <a:cubicBezTo>
                    <a:pt x="286" y="95"/>
                    <a:pt x="281" y="103"/>
                    <a:pt x="277" y="109"/>
                  </a:cubicBezTo>
                  <a:cubicBezTo>
                    <a:pt x="274" y="111"/>
                    <a:pt x="272" y="114"/>
                    <a:pt x="270" y="115"/>
                  </a:cubicBezTo>
                  <a:cubicBezTo>
                    <a:pt x="270" y="116"/>
                    <a:pt x="269" y="116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8" y="117"/>
                    <a:pt x="268" y="117"/>
                    <a:pt x="268" y="117"/>
                  </a:cubicBezTo>
                  <a:cubicBezTo>
                    <a:pt x="267" y="118"/>
                    <a:pt x="267" y="118"/>
                    <a:pt x="267" y="118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19"/>
                    <a:pt x="267" y="119"/>
                    <a:pt x="267" y="119"/>
                  </a:cubicBezTo>
                  <a:cubicBezTo>
                    <a:pt x="267" y="121"/>
                    <a:pt x="266" y="129"/>
                    <a:pt x="263" y="138"/>
                  </a:cubicBezTo>
                  <a:cubicBezTo>
                    <a:pt x="259" y="146"/>
                    <a:pt x="252" y="156"/>
                    <a:pt x="240" y="162"/>
                  </a:cubicBezTo>
                  <a:cubicBezTo>
                    <a:pt x="231" y="166"/>
                    <a:pt x="222" y="167"/>
                    <a:pt x="214" y="167"/>
                  </a:cubicBezTo>
                  <a:cubicBezTo>
                    <a:pt x="205" y="167"/>
                    <a:pt x="198" y="166"/>
                    <a:pt x="192" y="165"/>
                  </a:cubicBezTo>
                  <a:cubicBezTo>
                    <a:pt x="189" y="164"/>
                    <a:pt x="187" y="163"/>
                    <a:pt x="185" y="163"/>
                  </a:cubicBezTo>
                  <a:cubicBezTo>
                    <a:pt x="185" y="162"/>
                    <a:pt x="184" y="162"/>
                    <a:pt x="184" y="162"/>
                  </a:cubicBezTo>
                  <a:cubicBezTo>
                    <a:pt x="183" y="162"/>
                    <a:pt x="183" y="162"/>
                    <a:pt x="183" y="162"/>
                  </a:cubicBezTo>
                  <a:cubicBezTo>
                    <a:pt x="181" y="161"/>
                    <a:pt x="181" y="161"/>
                    <a:pt x="181" y="161"/>
                  </a:cubicBezTo>
                  <a:cubicBezTo>
                    <a:pt x="181" y="163"/>
                    <a:pt x="181" y="163"/>
                    <a:pt x="181" y="163"/>
                  </a:cubicBezTo>
                  <a:cubicBezTo>
                    <a:pt x="179" y="165"/>
                    <a:pt x="176" y="167"/>
                    <a:pt x="172" y="168"/>
                  </a:cubicBezTo>
                  <a:cubicBezTo>
                    <a:pt x="168" y="169"/>
                    <a:pt x="163" y="170"/>
                    <a:pt x="159" y="170"/>
                  </a:cubicBezTo>
                  <a:cubicBezTo>
                    <a:pt x="155" y="170"/>
                    <a:pt x="151" y="169"/>
                    <a:pt x="150" y="169"/>
                  </a:cubicBezTo>
                  <a:cubicBezTo>
                    <a:pt x="148" y="169"/>
                    <a:pt x="145" y="167"/>
                    <a:pt x="141" y="165"/>
                  </a:cubicBezTo>
                  <a:cubicBezTo>
                    <a:pt x="140" y="164"/>
                    <a:pt x="138" y="164"/>
                    <a:pt x="136" y="163"/>
                  </a:cubicBezTo>
                  <a:cubicBezTo>
                    <a:pt x="135" y="162"/>
                    <a:pt x="133" y="162"/>
                    <a:pt x="131" y="162"/>
                  </a:cubicBezTo>
                  <a:cubicBezTo>
                    <a:pt x="130" y="162"/>
                    <a:pt x="129" y="162"/>
                    <a:pt x="128" y="163"/>
                  </a:cubicBezTo>
                  <a:cubicBezTo>
                    <a:pt x="125" y="164"/>
                    <a:pt x="121" y="167"/>
                    <a:pt x="117" y="171"/>
                  </a:cubicBezTo>
                  <a:cubicBezTo>
                    <a:pt x="113" y="175"/>
                    <a:pt x="109" y="179"/>
                    <a:pt x="107" y="182"/>
                  </a:cubicBezTo>
                  <a:cubicBezTo>
                    <a:pt x="102" y="188"/>
                    <a:pt x="89" y="203"/>
                    <a:pt x="71" y="208"/>
                  </a:cubicBezTo>
                  <a:cubicBezTo>
                    <a:pt x="65" y="209"/>
                    <a:pt x="58" y="210"/>
                    <a:pt x="51" y="210"/>
                  </a:cubicBezTo>
                  <a:cubicBezTo>
                    <a:pt x="44" y="210"/>
                    <a:pt x="37" y="209"/>
                    <a:pt x="32" y="209"/>
                  </a:cubicBezTo>
                  <a:cubicBezTo>
                    <a:pt x="30" y="208"/>
                    <a:pt x="27" y="208"/>
                    <a:pt x="26" y="208"/>
                  </a:cubicBezTo>
                  <a:cubicBezTo>
                    <a:pt x="25" y="208"/>
                    <a:pt x="24" y="207"/>
                    <a:pt x="24" y="207"/>
                  </a:cubicBezTo>
                  <a:cubicBezTo>
                    <a:pt x="23" y="207"/>
                    <a:pt x="23" y="207"/>
                    <a:pt x="23" y="207"/>
                  </a:cubicBezTo>
                  <a:cubicBezTo>
                    <a:pt x="23" y="207"/>
                    <a:pt x="23" y="207"/>
                    <a:pt x="23" y="207"/>
                  </a:cubicBezTo>
                  <a:lnTo>
                    <a:pt x="23" y="2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" name="Freeform 19"/>
            <p:cNvSpPr>
              <a:spLocks/>
            </p:cNvSpPr>
            <p:nvPr/>
          </p:nvSpPr>
          <p:spPr bwMode="auto">
            <a:xfrm>
              <a:off x="9926794" y="3408217"/>
              <a:ext cx="360386" cy="357570"/>
            </a:xfrm>
            <a:custGeom>
              <a:avLst/>
              <a:gdLst>
                <a:gd name="T0" fmla="*/ 56 w 108"/>
                <a:gd name="T1" fmla="*/ 37 h 107"/>
                <a:gd name="T2" fmla="*/ 55 w 108"/>
                <a:gd name="T3" fmla="*/ 44 h 107"/>
                <a:gd name="T4" fmla="*/ 48 w 108"/>
                <a:gd name="T5" fmla="*/ 46 h 107"/>
                <a:gd name="T6" fmla="*/ 42 w 108"/>
                <a:gd name="T7" fmla="*/ 39 h 107"/>
                <a:gd name="T8" fmla="*/ 57 w 108"/>
                <a:gd name="T9" fmla="*/ 24 h 107"/>
                <a:gd name="T10" fmla="*/ 74 w 108"/>
                <a:gd name="T11" fmla="*/ 30 h 107"/>
                <a:gd name="T12" fmla="*/ 79 w 108"/>
                <a:gd name="T13" fmla="*/ 42 h 107"/>
                <a:gd name="T14" fmla="*/ 74 w 108"/>
                <a:gd name="T15" fmla="*/ 56 h 107"/>
                <a:gd name="T16" fmla="*/ 56 w 108"/>
                <a:gd name="T17" fmla="*/ 62 h 107"/>
                <a:gd name="T18" fmla="*/ 37 w 108"/>
                <a:gd name="T19" fmla="*/ 36 h 107"/>
                <a:gd name="T20" fmla="*/ 52 w 108"/>
                <a:gd name="T21" fmla="*/ 12 h 107"/>
                <a:gd name="T22" fmla="*/ 73 w 108"/>
                <a:gd name="T23" fmla="*/ 4 h 107"/>
                <a:gd name="T24" fmla="*/ 104 w 108"/>
                <a:gd name="T25" fmla="*/ 41 h 107"/>
                <a:gd name="T26" fmla="*/ 90 w 108"/>
                <a:gd name="T27" fmla="*/ 76 h 107"/>
                <a:gd name="T28" fmla="*/ 63 w 108"/>
                <a:gd name="T29" fmla="*/ 89 h 107"/>
                <a:gd name="T30" fmla="*/ 63 w 108"/>
                <a:gd name="T31" fmla="*/ 90 h 107"/>
                <a:gd name="T32" fmla="*/ 40 w 108"/>
                <a:gd name="T33" fmla="*/ 103 h 107"/>
                <a:gd name="T34" fmla="*/ 18 w 108"/>
                <a:gd name="T35" fmla="*/ 94 h 107"/>
                <a:gd name="T36" fmla="*/ 8 w 108"/>
                <a:gd name="T37" fmla="*/ 80 h 107"/>
                <a:gd name="T38" fmla="*/ 0 w 108"/>
                <a:gd name="T39" fmla="*/ 80 h 107"/>
                <a:gd name="T40" fmla="*/ 7 w 108"/>
                <a:gd name="T41" fmla="*/ 81 h 107"/>
                <a:gd name="T42" fmla="*/ 15 w 108"/>
                <a:gd name="T43" fmla="*/ 97 h 107"/>
                <a:gd name="T44" fmla="*/ 40 w 108"/>
                <a:gd name="T45" fmla="*/ 107 h 107"/>
                <a:gd name="T46" fmla="*/ 67 w 108"/>
                <a:gd name="T47" fmla="*/ 92 h 107"/>
                <a:gd name="T48" fmla="*/ 65 w 108"/>
                <a:gd name="T49" fmla="*/ 93 h 107"/>
                <a:gd name="T50" fmla="*/ 108 w 108"/>
                <a:gd name="T51" fmla="*/ 45 h 107"/>
                <a:gd name="T52" fmla="*/ 96 w 108"/>
                <a:gd name="T53" fmla="*/ 10 h 107"/>
                <a:gd name="T54" fmla="*/ 72 w 108"/>
                <a:gd name="T55" fmla="*/ 0 h 107"/>
                <a:gd name="T56" fmla="*/ 35 w 108"/>
                <a:gd name="T57" fmla="*/ 26 h 107"/>
                <a:gd name="T58" fmla="*/ 39 w 108"/>
                <a:gd name="T59" fmla="*/ 55 h 107"/>
                <a:gd name="T60" fmla="*/ 59 w 108"/>
                <a:gd name="T61" fmla="*/ 66 h 107"/>
                <a:gd name="T62" fmla="*/ 83 w 108"/>
                <a:gd name="T63" fmla="*/ 42 h 107"/>
                <a:gd name="T64" fmla="*/ 83 w 108"/>
                <a:gd name="T65" fmla="*/ 42 h 107"/>
                <a:gd name="T66" fmla="*/ 59 w 108"/>
                <a:gd name="T67" fmla="*/ 20 h 107"/>
                <a:gd name="T68" fmla="*/ 43 w 108"/>
                <a:gd name="T69" fmla="*/ 26 h 107"/>
                <a:gd name="T70" fmla="*/ 41 w 108"/>
                <a:gd name="T71" fmla="*/ 46 h 107"/>
                <a:gd name="T72" fmla="*/ 50 w 108"/>
                <a:gd name="T73" fmla="*/ 50 h 107"/>
                <a:gd name="T74" fmla="*/ 60 w 108"/>
                <a:gd name="T75" fmla="*/ 41 h 107"/>
                <a:gd name="T76" fmla="*/ 56 w 108"/>
                <a:gd name="T77" fmla="*/ 3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" h="107">
                  <a:moveTo>
                    <a:pt x="56" y="37"/>
                  </a:moveTo>
                  <a:cubicBezTo>
                    <a:pt x="56" y="37"/>
                    <a:pt x="56" y="37"/>
                    <a:pt x="56" y="37"/>
                  </a:cubicBezTo>
                  <a:cubicBezTo>
                    <a:pt x="56" y="38"/>
                    <a:pt x="56" y="39"/>
                    <a:pt x="56" y="41"/>
                  </a:cubicBezTo>
                  <a:cubicBezTo>
                    <a:pt x="56" y="42"/>
                    <a:pt x="56" y="44"/>
                    <a:pt x="55" y="44"/>
                  </a:cubicBezTo>
                  <a:cubicBezTo>
                    <a:pt x="55" y="45"/>
                    <a:pt x="53" y="46"/>
                    <a:pt x="50" y="46"/>
                  </a:cubicBezTo>
                  <a:cubicBezTo>
                    <a:pt x="50" y="46"/>
                    <a:pt x="49" y="46"/>
                    <a:pt x="48" y="46"/>
                  </a:cubicBezTo>
                  <a:cubicBezTo>
                    <a:pt x="46" y="46"/>
                    <a:pt x="45" y="45"/>
                    <a:pt x="44" y="44"/>
                  </a:cubicBezTo>
                  <a:cubicBezTo>
                    <a:pt x="43" y="42"/>
                    <a:pt x="42" y="41"/>
                    <a:pt x="42" y="39"/>
                  </a:cubicBezTo>
                  <a:cubicBezTo>
                    <a:pt x="42" y="36"/>
                    <a:pt x="44" y="32"/>
                    <a:pt x="46" y="29"/>
                  </a:cubicBezTo>
                  <a:cubicBezTo>
                    <a:pt x="49" y="26"/>
                    <a:pt x="52" y="24"/>
                    <a:pt x="57" y="24"/>
                  </a:cubicBezTo>
                  <a:cubicBezTo>
                    <a:pt x="57" y="24"/>
                    <a:pt x="58" y="24"/>
                    <a:pt x="58" y="24"/>
                  </a:cubicBezTo>
                  <a:cubicBezTo>
                    <a:pt x="66" y="25"/>
                    <a:pt x="71" y="27"/>
                    <a:pt x="74" y="30"/>
                  </a:cubicBezTo>
                  <a:cubicBezTo>
                    <a:pt x="77" y="33"/>
                    <a:pt x="78" y="37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8" y="47"/>
                    <a:pt x="77" y="52"/>
                    <a:pt x="74" y="56"/>
                  </a:cubicBezTo>
                  <a:cubicBezTo>
                    <a:pt x="70" y="59"/>
                    <a:pt x="66" y="62"/>
                    <a:pt x="59" y="62"/>
                  </a:cubicBezTo>
                  <a:cubicBezTo>
                    <a:pt x="58" y="62"/>
                    <a:pt x="57" y="62"/>
                    <a:pt x="56" y="62"/>
                  </a:cubicBezTo>
                  <a:cubicBezTo>
                    <a:pt x="50" y="61"/>
                    <a:pt x="45" y="57"/>
                    <a:pt x="42" y="52"/>
                  </a:cubicBezTo>
                  <a:cubicBezTo>
                    <a:pt x="39" y="48"/>
                    <a:pt x="37" y="41"/>
                    <a:pt x="37" y="36"/>
                  </a:cubicBezTo>
                  <a:cubicBezTo>
                    <a:pt x="37" y="33"/>
                    <a:pt x="38" y="30"/>
                    <a:pt x="39" y="28"/>
                  </a:cubicBezTo>
                  <a:cubicBezTo>
                    <a:pt x="42" y="23"/>
                    <a:pt x="46" y="17"/>
                    <a:pt x="52" y="12"/>
                  </a:cubicBezTo>
                  <a:cubicBezTo>
                    <a:pt x="57" y="7"/>
                    <a:pt x="64" y="4"/>
                    <a:pt x="72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81" y="4"/>
                    <a:pt x="88" y="7"/>
                    <a:pt x="93" y="12"/>
                  </a:cubicBezTo>
                  <a:cubicBezTo>
                    <a:pt x="98" y="18"/>
                    <a:pt x="102" y="27"/>
                    <a:pt x="104" y="41"/>
                  </a:cubicBezTo>
                  <a:cubicBezTo>
                    <a:pt x="104" y="42"/>
                    <a:pt x="104" y="44"/>
                    <a:pt x="104" y="45"/>
                  </a:cubicBezTo>
                  <a:cubicBezTo>
                    <a:pt x="104" y="57"/>
                    <a:pt x="98" y="68"/>
                    <a:pt x="90" y="76"/>
                  </a:cubicBezTo>
                  <a:cubicBezTo>
                    <a:pt x="83" y="84"/>
                    <a:pt x="73" y="89"/>
                    <a:pt x="65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1" y="93"/>
                    <a:pt x="58" y="97"/>
                  </a:cubicBezTo>
                  <a:cubicBezTo>
                    <a:pt x="54" y="100"/>
                    <a:pt x="49" y="103"/>
                    <a:pt x="40" y="103"/>
                  </a:cubicBezTo>
                  <a:cubicBezTo>
                    <a:pt x="39" y="103"/>
                    <a:pt x="39" y="103"/>
                    <a:pt x="39" y="103"/>
                  </a:cubicBezTo>
                  <a:cubicBezTo>
                    <a:pt x="30" y="103"/>
                    <a:pt x="23" y="99"/>
                    <a:pt x="18" y="94"/>
                  </a:cubicBezTo>
                  <a:cubicBezTo>
                    <a:pt x="13" y="90"/>
                    <a:pt x="9" y="84"/>
                    <a:pt x="9" y="81"/>
                  </a:cubicBezTo>
                  <a:cubicBezTo>
                    <a:pt x="8" y="80"/>
                    <a:pt x="8" y="80"/>
                    <a:pt x="8" y="80"/>
                  </a:cubicBezTo>
                  <a:cubicBezTo>
                    <a:pt x="1" y="77"/>
                    <a:pt x="1" y="77"/>
                    <a:pt x="1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6" y="86"/>
                    <a:pt x="9" y="92"/>
                    <a:pt x="15" y="97"/>
                  </a:cubicBezTo>
                  <a:cubicBezTo>
                    <a:pt x="21" y="103"/>
                    <a:pt x="29" y="107"/>
                    <a:pt x="39" y="107"/>
                  </a:cubicBezTo>
                  <a:cubicBezTo>
                    <a:pt x="39" y="107"/>
                    <a:pt x="39" y="107"/>
                    <a:pt x="40" y="107"/>
                  </a:cubicBezTo>
                  <a:cubicBezTo>
                    <a:pt x="50" y="107"/>
                    <a:pt x="57" y="103"/>
                    <a:pt x="61" y="99"/>
                  </a:cubicBezTo>
                  <a:cubicBezTo>
                    <a:pt x="65" y="95"/>
                    <a:pt x="67" y="92"/>
                    <a:pt x="67" y="92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74" y="93"/>
                    <a:pt x="85" y="87"/>
                    <a:pt x="93" y="79"/>
                  </a:cubicBezTo>
                  <a:cubicBezTo>
                    <a:pt x="102" y="71"/>
                    <a:pt x="108" y="59"/>
                    <a:pt x="108" y="45"/>
                  </a:cubicBezTo>
                  <a:cubicBezTo>
                    <a:pt x="108" y="44"/>
                    <a:pt x="108" y="42"/>
                    <a:pt x="108" y="40"/>
                  </a:cubicBezTo>
                  <a:cubicBezTo>
                    <a:pt x="106" y="26"/>
                    <a:pt x="102" y="16"/>
                    <a:pt x="96" y="10"/>
                  </a:cubicBezTo>
                  <a:cubicBezTo>
                    <a:pt x="90" y="3"/>
                    <a:pt x="82" y="0"/>
                    <a:pt x="73" y="0"/>
                  </a:cubicBezTo>
                  <a:cubicBezTo>
                    <a:pt x="73" y="0"/>
                    <a:pt x="72" y="0"/>
                    <a:pt x="72" y="0"/>
                  </a:cubicBezTo>
                  <a:cubicBezTo>
                    <a:pt x="63" y="0"/>
                    <a:pt x="55" y="4"/>
                    <a:pt x="49" y="9"/>
                  </a:cubicBezTo>
                  <a:cubicBezTo>
                    <a:pt x="43" y="14"/>
                    <a:pt x="38" y="20"/>
                    <a:pt x="35" y="26"/>
                  </a:cubicBezTo>
                  <a:cubicBezTo>
                    <a:pt x="34" y="29"/>
                    <a:pt x="33" y="32"/>
                    <a:pt x="33" y="36"/>
                  </a:cubicBezTo>
                  <a:cubicBezTo>
                    <a:pt x="33" y="42"/>
                    <a:pt x="35" y="49"/>
                    <a:pt x="39" y="55"/>
                  </a:cubicBezTo>
                  <a:cubicBezTo>
                    <a:pt x="42" y="60"/>
                    <a:pt x="48" y="65"/>
                    <a:pt x="55" y="66"/>
                  </a:cubicBezTo>
                  <a:cubicBezTo>
                    <a:pt x="56" y="66"/>
                    <a:pt x="58" y="66"/>
                    <a:pt x="59" y="66"/>
                  </a:cubicBezTo>
                  <a:cubicBezTo>
                    <a:pt x="67" y="66"/>
                    <a:pt x="73" y="63"/>
                    <a:pt x="77" y="58"/>
                  </a:cubicBezTo>
                  <a:cubicBezTo>
                    <a:pt x="81" y="54"/>
                    <a:pt x="82" y="48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83" y="36"/>
                    <a:pt x="81" y="31"/>
                    <a:pt x="77" y="27"/>
                  </a:cubicBezTo>
                  <a:cubicBezTo>
                    <a:pt x="73" y="23"/>
                    <a:pt x="67" y="21"/>
                    <a:pt x="59" y="20"/>
                  </a:cubicBezTo>
                  <a:cubicBezTo>
                    <a:pt x="58" y="20"/>
                    <a:pt x="57" y="20"/>
                    <a:pt x="57" y="20"/>
                  </a:cubicBezTo>
                  <a:cubicBezTo>
                    <a:pt x="51" y="20"/>
                    <a:pt x="46" y="22"/>
                    <a:pt x="43" y="26"/>
                  </a:cubicBezTo>
                  <a:cubicBezTo>
                    <a:pt x="40" y="30"/>
                    <a:pt x="38" y="35"/>
                    <a:pt x="38" y="39"/>
                  </a:cubicBezTo>
                  <a:cubicBezTo>
                    <a:pt x="38" y="41"/>
                    <a:pt x="39" y="44"/>
                    <a:pt x="41" y="46"/>
                  </a:cubicBezTo>
                  <a:cubicBezTo>
                    <a:pt x="42" y="48"/>
                    <a:pt x="45" y="49"/>
                    <a:pt x="48" y="50"/>
                  </a:cubicBezTo>
                  <a:cubicBezTo>
                    <a:pt x="49" y="50"/>
                    <a:pt x="50" y="50"/>
                    <a:pt x="50" y="50"/>
                  </a:cubicBezTo>
                  <a:cubicBezTo>
                    <a:pt x="54" y="50"/>
                    <a:pt x="57" y="49"/>
                    <a:pt x="58" y="47"/>
                  </a:cubicBezTo>
                  <a:cubicBezTo>
                    <a:pt x="60" y="45"/>
                    <a:pt x="60" y="43"/>
                    <a:pt x="60" y="41"/>
                  </a:cubicBezTo>
                  <a:cubicBezTo>
                    <a:pt x="60" y="38"/>
                    <a:pt x="60" y="36"/>
                    <a:pt x="59" y="36"/>
                  </a:cubicBezTo>
                  <a:lnTo>
                    <a:pt x="56" y="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50" name="文本框 49"/>
          <p:cNvSpPr txBox="1"/>
          <p:nvPr/>
        </p:nvSpPr>
        <p:spPr>
          <a:xfrm>
            <a:off x="2860003" y="2369498"/>
            <a:ext cx="1265235" cy="1633682"/>
          </a:xfrm>
          <a:custGeom>
            <a:avLst/>
            <a:gdLst/>
            <a:ahLst/>
            <a:cxnLst/>
            <a:rect l="l" t="t" r="r" b="b"/>
            <a:pathLst>
              <a:path w="443789" h="573024">
                <a:moveTo>
                  <a:pt x="10973" y="0"/>
                </a:moveTo>
                <a:lnTo>
                  <a:pt x="363931" y="0"/>
                </a:lnTo>
                <a:cubicBezTo>
                  <a:pt x="386169" y="623"/>
                  <a:pt x="404787" y="9132"/>
                  <a:pt x="419786" y="25527"/>
                </a:cubicBezTo>
                <a:cubicBezTo>
                  <a:pt x="434785" y="41923"/>
                  <a:pt x="442582" y="62472"/>
                  <a:pt x="443179" y="87173"/>
                </a:cubicBezTo>
                <a:lnTo>
                  <a:pt x="443179" y="217018"/>
                </a:lnTo>
                <a:cubicBezTo>
                  <a:pt x="442582" y="242012"/>
                  <a:pt x="434785" y="262738"/>
                  <a:pt x="419786" y="279197"/>
                </a:cubicBezTo>
                <a:cubicBezTo>
                  <a:pt x="404787" y="295656"/>
                  <a:pt x="386169" y="304191"/>
                  <a:pt x="363931" y="304800"/>
                </a:cubicBezTo>
                <a:lnTo>
                  <a:pt x="143256" y="304800"/>
                </a:lnTo>
                <a:cubicBezTo>
                  <a:pt x="128245" y="305232"/>
                  <a:pt x="115748" y="310922"/>
                  <a:pt x="105766" y="321869"/>
                </a:cubicBezTo>
                <a:cubicBezTo>
                  <a:pt x="95784" y="332817"/>
                  <a:pt x="90602" y="346431"/>
                  <a:pt x="90221" y="362712"/>
                </a:cubicBezTo>
                <a:lnTo>
                  <a:pt x="90221" y="515112"/>
                </a:lnTo>
                <a:cubicBezTo>
                  <a:pt x="90386" y="521653"/>
                  <a:pt x="92494" y="527012"/>
                  <a:pt x="96546" y="531191"/>
                </a:cubicBezTo>
                <a:cubicBezTo>
                  <a:pt x="100597" y="535369"/>
                  <a:pt x="105601" y="537528"/>
                  <a:pt x="111557" y="537668"/>
                </a:cubicBezTo>
                <a:lnTo>
                  <a:pt x="443789" y="537668"/>
                </a:lnTo>
                <a:lnTo>
                  <a:pt x="443789" y="573024"/>
                </a:lnTo>
                <a:lnTo>
                  <a:pt x="37186" y="573024"/>
                </a:lnTo>
                <a:cubicBezTo>
                  <a:pt x="26569" y="572770"/>
                  <a:pt x="17780" y="568859"/>
                  <a:pt x="10821" y="561290"/>
                </a:cubicBezTo>
                <a:cubicBezTo>
                  <a:pt x="3861" y="553720"/>
                  <a:pt x="254" y="544018"/>
                  <a:pt x="0" y="532181"/>
                </a:cubicBezTo>
                <a:lnTo>
                  <a:pt x="0" y="357226"/>
                </a:lnTo>
                <a:cubicBezTo>
                  <a:pt x="572" y="332524"/>
                  <a:pt x="8268" y="311976"/>
                  <a:pt x="23089" y="295580"/>
                </a:cubicBezTo>
                <a:cubicBezTo>
                  <a:pt x="37910" y="279184"/>
                  <a:pt x="56426" y="270675"/>
                  <a:pt x="78639" y="270053"/>
                </a:cubicBezTo>
                <a:lnTo>
                  <a:pt x="299314" y="270053"/>
                </a:lnTo>
                <a:cubicBezTo>
                  <a:pt x="314325" y="269596"/>
                  <a:pt x="326822" y="263805"/>
                  <a:pt x="336804" y="252680"/>
                </a:cubicBezTo>
                <a:cubicBezTo>
                  <a:pt x="346786" y="241554"/>
                  <a:pt x="351968" y="227838"/>
                  <a:pt x="352349" y="211532"/>
                </a:cubicBezTo>
                <a:lnTo>
                  <a:pt x="352349" y="93269"/>
                </a:lnTo>
                <a:cubicBezTo>
                  <a:pt x="351968" y="76988"/>
                  <a:pt x="346786" y="63373"/>
                  <a:pt x="336804" y="52426"/>
                </a:cubicBezTo>
                <a:cubicBezTo>
                  <a:pt x="326822" y="41478"/>
                  <a:pt x="314325" y="35789"/>
                  <a:pt x="299314" y="35357"/>
                </a:cubicBezTo>
                <a:lnTo>
                  <a:pt x="10973" y="35357"/>
                </a:lnTo>
                <a:lnTo>
                  <a:pt x="10973" y="0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bg1">
                <a:lumMod val="75000"/>
              </a:schemeClr>
            </a:solidFill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>
              <a:defRPr sz="4800" b="1" spc="1500">
                <a:solidFill>
                  <a:schemeClr val="bg1"/>
                </a:solidFill>
                <a:latin typeface="造字工房朗倩（非商用）常规体" pitchFamily="50" charset="-122"/>
                <a:ea typeface="造字工房朗倩（非商用）常规体" pitchFamily="50" charset="-122"/>
              </a:defRPr>
            </a:lvl1pPr>
          </a:lstStyle>
          <a:p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92647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>
        <p14:prism isContent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组合 122"/>
          <p:cNvGrpSpPr/>
          <p:nvPr/>
        </p:nvGrpSpPr>
        <p:grpSpPr>
          <a:xfrm>
            <a:off x="7329575" y="3975698"/>
            <a:ext cx="324855" cy="1930444"/>
            <a:chOff x="3725638" y="3462142"/>
            <a:chExt cx="235203" cy="1397689"/>
          </a:xfrm>
        </p:grpSpPr>
        <p:cxnSp>
          <p:nvCxnSpPr>
            <p:cNvPr id="124" name="直接连接符 123"/>
            <p:cNvCxnSpPr/>
            <p:nvPr/>
          </p:nvCxnSpPr>
          <p:spPr>
            <a:xfrm flipV="1">
              <a:off x="3843239" y="3501268"/>
              <a:ext cx="1" cy="1358563"/>
            </a:xfrm>
            <a:prstGeom prst="line">
              <a:avLst/>
            </a:prstGeom>
            <a:ln w="15875" cap="rnd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等腰三角形 124"/>
            <p:cNvSpPr/>
            <p:nvPr/>
          </p:nvSpPr>
          <p:spPr>
            <a:xfrm flipV="1">
              <a:off x="3725638" y="3462142"/>
              <a:ext cx="235203" cy="78248"/>
            </a:xfrm>
            <a:prstGeom prst="triangle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72" name="组合 71"/>
          <p:cNvGrpSpPr/>
          <p:nvPr/>
        </p:nvGrpSpPr>
        <p:grpSpPr>
          <a:xfrm>
            <a:off x="1197550" y="2611427"/>
            <a:ext cx="324855" cy="3346402"/>
            <a:chOff x="1398513" y="3468730"/>
            <a:chExt cx="235203" cy="2422877"/>
          </a:xfrm>
        </p:grpSpPr>
        <p:cxnSp>
          <p:nvCxnSpPr>
            <p:cNvPr id="73" name="直接连接符 72"/>
            <p:cNvCxnSpPr/>
            <p:nvPr/>
          </p:nvCxnSpPr>
          <p:spPr>
            <a:xfrm flipV="1">
              <a:off x="1516114" y="3507855"/>
              <a:ext cx="1" cy="2383752"/>
            </a:xfrm>
            <a:prstGeom prst="line">
              <a:avLst/>
            </a:prstGeom>
            <a:ln w="15875" cap="rnd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等腰三角形 73"/>
            <p:cNvSpPr/>
            <p:nvPr/>
          </p:nvSpPr>
          <p:spPr>
            <a:xfrm flipV="1">
              <a:off x="1398513" y="3468730"/>
              <a:ext cx="235203" cy="78248"/>
            </a:xfrm>
            <a:prstGeom prst="triangle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550863" y="476672"/>
            <a:ext cx="4267870" cy="1011343"/>
            <a:chOff x="1085865" y="1078800"/>
            <a:chExt cx="4267870" cy="1011343"/>
          </a:xfrm>
        </p:grpSpPr>
        <p:grpSp>
          <p:nvGrpSpPr>
            <p:cNvPr id="15" name="组合 14"/>
            <p:cNvGrpSpPr/>
            <p:nvPr/>
          </p:nvGrpSpPr>
          <p:grpSpPr>
            <a:xfrm>
              <a:off x="1085865" y="1580726"/>
              <a:ext cx="996360" cy="509417"/>
              <a:chOff x="2723375" y="1952801"/>
              <a:chExt cx="996360" cy="509417"/>
            </a:xfrm>
          </p:grpSpPr>
          <p:sp>
            <p:nvSpPr>
              <p:cNvPr id="2" name="Freeform 11"/>
              <p:cNvSpPr>
                <a:spLocks/>
              </p:cNvSpPr>
              <p:nvPr/>
            </p:nvSpPr>
            <p:spPr bwMode="auto">
              <a:xfrm>
                <a:off x="2723375" y="1952801"/>
                <a:ext cx="996360" cy="509417"/>
              </a:xfrm>
              <a:custGeom>
                <a:avLst/>
                <a:gdLst>
                  <a:gd name="T0" fmla="*/ 272 w 337"/>
                  <a:gd name="T1" fmla="*/ 84 h 172"/>
                  <a:gd name="T2" fmla="*/ 202 w 337"/>
                  <a:gd name="T3" fmla="*/ 79 h 172"/>
                  <a:gd name="T4" fmla="*/ 189 w 337"/>
                  <a:gd name="T5" fmla="*/ 60 h 172"/>
                  <a:gd name="T6" fmla="*/ 159 w 337"/>
                  <a:gd name="T7" fmla="*/ 44 h 172"/>
                  <a:gd name="T8" fmla="*/ 103 w 337"/>
                  <a:gd name="T9" fmla="*/ 0 h 172"/>
                  <a:gd name="T10" fmla="*/ 65 w 337"/>
                  <a:gd name="T11" fmla="*/ 15 h 172"/>
                  <a:gd name="T12" fmla="*/ 0 w 337"/>
                  <a:gd name="T13" fmla="*/ 76 h 172"/>
                  <a:gd name="T14" fmla="*/ 25 w 337"/>
                  <a:gd name="T15" fmla="*/ 131 h 172"/>
                  <a:gd name="T16" fmla="*/ 107 w 337"/>
                  <a:gd name="T17" fmla="*/ 160 h 172"/>
                  <a:gd name="T18" fmla="*/ 170 w 337"/>
                  <a:gd name="T19" fmla="*/ 125 h 172"/>
                  <a:gd name="T20" fmla="*/ 169 w 337"/>
                  <a:gd name="T21" fmla="*/ 88 h 172"/>
                  <a:gd name="T22" fmla="*/ 127 w 337"/>
                  <a:gd name="T23" fmla="*/ 59 h 172"/>
                  <a:gd name="T24" fmla="*/ 97 w 337"/>
                  <a:gd name="T25" fmla="*/ 48 h 172"/>
                  <a:gd name="T26" fmla="*/ 50 w 337"/>
                  <a:gd name="T27" fmla="*/ 102 h 172"/>
                  <a:gd name="T28" fmla="*/ 113 w 337"/>
                  <a:gd name="T29" fmla="*/ 122 h 172"/>
                  <a:gd name="T30" fmla="*/ 122 w 337"/>
                  <a:gd name="T31" fmla="*/ 103 h 172"/>
                  <a:gd name="T32" fmla="*/ 78 w 337"/>
                  <a:gd name="T33" fmla="*/ 88 h 172"/>
                  <a:gd name="T34" fmla="*/ 112 w 337"/>
                  <a:gd name="T35" fmla="*/ 112 h 172"/>
                  <a:gd name="T36" fmla="*/ 172 w 337"/>
                  <a:gd name="T37" fmla="*/ 115 h 172"/>
                  <a:gd name="T38" fmla="*/ 240 w 337"/>
                  <a:gd name="T39" fmla="*/ 98 h 172"/>
                  <a:gd name="T40" fmla="*/ 327 w 337"/>
                  <a:gd name="T41" fmla="*/ 128 h 172"/>
                  <a:gd name="T42" fmla="*/ 325 w 337"/>
                  <a:gd name="T43" fmla="*/ 124 h 172"/>
                  <a:gd name="T44" fmla="*/ 323 w 337"/>
                  <a:gd name="T45" fmla="*/ 124 h 172"/>
                  <a:gd name="T46" fmla="*/ 306 w 337"/>
                  <a:gd name="T47" fmla="*/ 119 h 172"/>
                  <a:gd name="T48" fmla="*/ 326 w 337"/>
                  <a:gd name="T49" fmla="*/ 126 h 172"/>
                  <a:gd name="T50" fmla="*/ 264 w 337"/>
                  <a:gd name="T51" fmla="*/ 102 h 172"/>
                  <a:gd name="T52" fmla="*/ 181 w 337"/>
                  <a:gd name="T53" fmla="*/ 109 h 172"/>
                  <a:gd name="T54" fmla="*/ 115 w 337"/>
                  <a:gd name="T55" fmla="*/ 109 h 172"/>
                  <a:gd name="T56" fmla="*/ 95 w 337"/>
                  <a:gd name="T57" fmla="*/ 117 h 172"/>
                  <a:gd name="T58" fmla="*/ 91 w 337"/>
                  <a:gd name="T59" fmla="*/ 82 h 172"/>
                  <a:gd name="T60" fmla="*/ 120 w 337"/>
                  <a:gd name="T61" fmla="*/ 103 h 172"/>
                  <a:gd name="T62" fmla="*/ 92 w 337"/>
                  <a:gd name="T63" fmla="*/ 128 h 172"/>
                  <a:gd name="T64" fmla="*/ 54 w 337"/>
                  <a:gd name="T65" fmla="*/ 97 h 172"/>
                  <a:gd name="T66" fmla="*/ 117 w 337"/>
                  <a:gd name="T67" fmla="*/ 57 h 172"/>
                  <a:gd name="T68" fmla="*/ 127 w 337"/>
                  <a:gd name="T69" fmla="*/ 63 h 172"/>
                  <a:gd name="T70" fmla="*/ 163 w 337"/>
                  <a:gd name="T71" fmla="*/ 78 h 172"/>
                  <a:gd name="T72" fmla="*/ 162 w 337"/>
                  <a:gd name="T73" fmla="*/ 106 h 172"/>
                  <a:gd name="T74" fmla="*/ 162 w 337"/>
                  <a:gd name="T75" fmla="*/ 109 h 172"/>
                  <a:gd name="T76" fmla="*/ 113 w 337"/>
                  <a:gd name="T77" fmla="*/ 160 h 172"/>
                  <a:gd name="T78" fmla="*/ 107 w 337"/>
                  <a:gd name="T79" fmla="*/ 158 h 172"/>
                  <a:gd name="T80" fmla="*/ 29 w 337"/>
                  <a:gd name="T81" fmla="*/ 130 h 172"/>
                  <a:gd name="T82" fmla="*/ 27 w 337"/>
                  <a:gd name="T83" fmla="*/ 116 h 172"/>
                  <a:gd name="T84" fmla="*/ 4 w 337"/>
                  <a:gd name="T85" fmla="*/ 72 h 172"/>
                  <a:gd name="T86" fmla="*/ 64 w 337"/>
                  <a:gd name="T87" fmla="*/ 19 h 172"/>
                  <a:gd name="T88" fmla="*/ 67 w 337"/>
                  <a:gd name="T89" fmla="*/ 19 h 172"/>
                  <a:gd name="T90" fmla="*/ 155 w 337"/>
                  <a:gd name="T91" fmla="*/ 40 h 172"/>
                  <a:gd name="T92" fmla="*/ 158 w 337"/>
                  <a:gd name="T93" fmla="*/ 46 h 172"/>
                  <a:gd name="T94" fmla="*/ 186 w 337"/>
                  <a:gd name="T95" fmla="*/ 62 h 172"/>
                  <a:gd name="T96" fmla="*/ 202 w 337"/>
                  <a:gd name="T97" fmla="*/ 83 h 172"/>
                  <a:gd name="T98" fmla="*/ 270 w 337"/>
                  <a:gd name="T99" fmla="*/ 88 h 172"/>
                  <a:gd name="T100" fmla="*/ 305 w 337"/>
                  <a:gd name="T101" fmla="*/ 121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37" h="172">
                    <a:moveTo>
                      <a:pt x="306" y="119"/>
                    </a:move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8" y="118"/>
                      <a:pt x="303" y="112"/>
                      <a:pt x="296" y="105"/>
                    </a:cubicBezTo>
                    <a:cubicBezTo>
                      <a:pt x="289" y="98"/>
                      <a:pt x="281" y="89"/>
                      <a:pt x="272" y="84"/>
                    </a:cubicBezTo>
                    <a:cubicBezTo>
                      <a:pt x="261" y="78"/>
                      <a:pt x="249" y="77"/>
                      <a:pt x="240" y="77"/>
                    </a:cubicBezTo>
                    <a:cubicBezTo>
                      <a:pt x="234" y="77"/>
                      <a:pt x="229" y="77"/>
                      <a:pt x="226" y="78"/>
                    </a:cubicBezTo>
                    <a:cubicBezTo>
                      <a:pt x="222" y="79"/>
                      <a:pt x="216" y="79"/>
                      <a:pt x="211" y="79"/>
                    </a:cubicBezTo>
                    <a:cubicBezTo>
                      <a:pt x="208" y="79"/>
                      <a:pt x="205" y="79"/>
                      <a:pt x="202" y="79"/>
                    </a:cubicBezTo>
                    <a:cubicBezTo>
                      <a:pt x="200" y="78"/>
                      <a:pt x="198" y="78"/>
                      <a:pt x="198" y="77"/>
                    </a:cubicBezTo>
                    <a:cubicBezTo>
                      <a:pt x="196" y="76"/>
                      <a:pt x="195" y="73"/>
                      <a:pt x="194" y="69"/>
                    </a:cubicBezTo>
                    <a:cubicBezTo>
                      <a:pt x="193" y="68"/>
                      <a:pt x="192" y="66"/>
                      <a:pt x="192" y="64"/>
                    </a:cubicBezTo>
                    <a:cubicBezTo>
                      <a:pt x="191" y="63"/>
                      <a:pt x="190" y="61"/>
                      <a:pt x="189" y="60"/>
                    </a:cubicBezTo>
                    <a:cubicBezTo>
                      <a:pt x="188" y="58"/>
                      <a:pt x="184" y="53"/>
                      <a:pt x="179" y="49"/>
                    </a:cubicBezTo>
                    <a:cubicBezTo>
                      <a:pt x="174" y="45"/>
                      <a:pt x="168" y="42"/>
                      <a:pt x="162" y="42"/>
                    </a:cubicBezTo>
                    <a:cubicBezTo>
                      <a:pt x="161" y="42"/>
                      <a:pt x="160" y="42"/>
                      <a:pt x="159" y="42"/>
                    </a:cubicBezTo>
                    <a:cubicBezTo>
                      <a:pt x="159" y="44"/>
                      <a:pt x="159" y="44"/>
                      <a:pt x="159" y="44"/>
                    </a:cubicBezTo>
                    <a:cubicBezTo>
                      <a:pt x="161" y="43"/>
                      <a:pt x="161" y="43"/>
                      <a:pt x="161" y="43"/>
                    </a:cubicBezTo>
                    <a:cubicBezTo>
                      <a:pt x="161" y="43"/>
                      <a:pt x="157" y="35"/>
                      <a:pt x="150" y="26"/>
                    </a:cubicBezTo>
                    <a:cubicBezTo>
                      <a:pt x="143" y="17"/>
                      <a:pt x="132" y="7"/>
                      <a:pt x="117" y="2"/>
                    </a:cubicBezTo>
                    <a:cubicBezTo>
                      <a:pt x="112" y="0"/>
                      <a:pt x="107" y="0"/>
                      <a:pt x="103" y="0"/>
                    </a:cubicBezTo>
                    <a:cubicBezTo>
                      <a:pt x="91" y="0"/>
                      <a:pt x="82" y="4"/>
                      <a:pt x="75" y="8"/>
                    </a:cubicBezTo>
                    <a:cubicBezTo>
                      <a:pt x="68" y="12"/>
                      <a:pt x="64" y="16"/>
                      <a:pt x="64" y="16"/>
                    </a:cubicBezTo>
                    <a:cubicBezTo>
                      <a:pt x="65" y="17"/>
                      <a:pt x="65" y="17"/>
                      <a:pt x="65" y="17"/>
                    </a:cubicBezTo>
                    <a:cubicBezTo>
                      <a:pt x="65" y="15"/>
                      <a:pt x="65" y="15"/>
                      <a:pt x="65" y="15"/>
                    </a:cubicBezTo>
                    <a:cubicBezTo>
                      <a:pt x="65" y="15"/>
                      <a:pt x="63" y="15"/>
                      <a:pt x="60" y="15"/>
                    </a:cubicBezTo>
                    <a:cubicBezTo>
                      <a:pt x="52" y="15"/>
                      <a:pt x="38" y="17"/>
                      <a:pt x="26" y="26"/>
                    </a:cubicBezTo>
                    <a:cubicBezTo>
                      <a:pt x="10" y="39"/>
                      <a:pt x="2" y="56"/>
                      <a:pt x="0" y="72"/>
                    </a:cubicBezTo>
                    <a:cubicBezTo>
                      <a:pt x="0" y="73"/>
                      <a:pt x="0" y="74"/>
                      <a:pt x="0" y="76"/>
                    </a:cubicBezTo>
                    <a:cubicBezTo>
                      <a:pt x="0" y="91"/>
                      <a:pt x="8" y="108"/>
                      <a:pt x="24" y="118"/>
                    </a:cubicBezTo>
                    <a:cubicBezTo>
                      <a:pt x="25" y="116"/>
                      <a:pt x="25" y="116"/>
                      <a:pt x="25" y="116"/>
                    </a:cubicBezTo>
                    <a:cubicBezTo>
                      <a:pt x="23" y="116"/>
                      <a:pt x="23" y="116"/>
                      <a:pt x="23" y="116"/>
                    </a:cubicBezTo>
                    <a:cubicBezTo>
                      <a:pt x="23" y="117"/>
                      <a:pt x="23" y="123"/>
                      <a:pt x="25" y="131"/>
                    </a:cubicBezTo>
                    <a:cubicBezTo>
                      <a:pt x="28" y="139"/>
                      <a:pt x="33" y="150"/>
                      <a:pt x="41" y="158"/>
                    </a:cubicBezTo>
                    <a:cubicBezTo>
                      <a:pt x="51" y="167"/>
                      <a:pt x="64" y="172"/>
                      <a:pt x="77" y="172"/>
                    </a:cubicBezTo>
                    <a:cubicBezTo>
                      <a:pt x="88" y="172"/>
                      <a:pt x="98" y="169"/>
                      <a:pt x="108" y="162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6" y="162"/>
                      <a:pt x="106" y="162"/>
                      <a:pt x="106" y="162"/>
                    </a:cubicBezTo>
                    <a:cubicBezTo>
                      <a:pt x="106" y="162"/>
                      <a:pt x="114" y="165"/>
                      <a:pt x="125" y="165"/>
                    </a:cubicBezTo>
                    <a:cubicBezTo>
                      <a:pt x="135" y="165"/>
                      <a:pt x="147" y="163"/>
                      <a:pt x="158" y="153"/>
                    </a:cubicBezTo>
                    <a:cubicBezTo>
                      <a:pt x="167" y="143"/>
                      <a:pt x="170" y="133"/>
                      <a:pt x="170" y="125"/>
                    </a:cubicBezTo>
                    <a:cubicBezTo>
                      <a:pt x="170" y="114"/>
                      <a:pt x="165" y="107"/>
                      <a:pt x="165" y="107"/>
                    </a:cubicBezTo>
                    <a:cubicBezTo>
                      <a:pt x="163" y="108"/>
                      <a:pt x="163" y="108"/>
                      <a:pt x="163" y="108"/>
                    </a:cubicBezTo>
                    <a:cubicBezTo>
                      <a:pt x="165" y="108"/>
                      <a:pt x="165" y="108"/>
                      <a:pt x="165" y="108"/>
                    </a:cubicBezTo>
                    <a:cubicBezTo>
                      <a:pt x="165" y="108"/>
                      <a:pt x="169" y="98"/>
                      <a:pt x="169" y="88"/>
                    </a:cubicBezTo>
                    <a:cubicBezTo>
                      <a:pt x="169" y="84"/>
                      <a:pt x="169" y="80"/>
                      <a:pt x="167" y="76"/>
                    </a:cubicBezTo>
                    <a:cubicBezTo>
                      <a:pt x="164" y="71"/>
                      <a:pt x="159" y="67"/>
                      <a:pt x="153" y="63"/>
                    </a:cubicBezTo>
                    <a:cubicBezTo>
                      <a:pt x="148" y="60"/>
                      <a:pt x="141" y="58"/>
                      <a:pt x="134" y="58"/>
                    </a:cubicBezTo>
                    <a:cubicBezTo>
                      <a:pt x="132" y="58"/>
                      <a:pt x="129" y="58"/>
                      <a:pt x="127" y="59"/>
                    </a:cubicBezTo>
                    <a:cubicBezTo>
                      <a:pt x="128" y="61"/>
                      <a:pt x="128" y="61"/>
                      <a:pt x="128" y="61"/>
                    </a:cubicBezTo>
                    <a:cubicBezTo>
                      <a:pt x="129" y="59"/>
                      <a:pt x="129" y="59"/>
                      <a:pt x="129" y="59"/>
                    </a:cubicBezTo>
                    <a:cubicBezTo>
                      <a:pt x="129" y="59"/>
                      <a:pt x="124" y="56"/>
                      <a:pt x="118" y="54"/>
                    </a:cubicBezTo>
                    <a:cubicBezTo>
                      <a:pt x="112" y="51"/>
                      <a:pt x="104" y="48"/>
                      <a:pt x="97" y="48"/>
                    </a:cubicBezTo>
                    <a:cubicBezTo>
                      <a:pt x="93" y="48"/>
                      <a:pt x="90" y="49"/>
                      <a:pt x="86" y="50"/>
                    </a:cubicBezTo>
                    <a:cubicBezTo>
                      <a:pt x="78" y="54"/>
                      <a:pt x="69" y="60"/>
                      <a:pt x="62" y="68"/>
                    </a:cubicBezTo>
                    <a:cubicBezTo>
                      <a:pt x="55" y="76"/>
                      <a:pt x="50" y="86"/>
                      <a:pt x="50" y="97"/>
                    </a:cubicBezTo>
                    <a:cubicBezTo>
                      <a:pt x="50" y="99"/>
                      <a:pt x="50" y="100"/>
                      <a:pt x="50" y="102"/>
                    </a:cubicBezTo>
                    <a:cubicBezTo>
                      <a:pt x="52" y="113"/>
                      <a:pt x="57" y="121"/>
                      <a:pt x="65" y="126"/>
                    </a:cubicBezTo>
                    <a:cubicBezTo>
                      <a:pt x="72" y="131"/>
                      <a:pt x="81" y="133"/>
                      <a:pt x="88" y="133"/>
                    </a:cubicBezTo>
                    <a:cubicBezTo>
                      <a:pt x="89" y="133"/>
                      <a:pt x="91" y="132"/>
                      <a:pt x="92" y="132"/>
                    </a:cubicBezTo>
                    <a:cubicBezTo>
                      <a:pt x="100" y="131"/>
                      <a:pt x="107" y="127"/>
                      <a:pt x="113" y="122"/>
                    </a:cubicBezTo>
                    <a:cubicBezTo>
                      <a:pt x="118" y="117"/>
                      <a:pt x="122" y="110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103"/>
                      <a:pt x="122" y="103"/>
                      <a:pt x="122" y="103"/>
                    </a:cubicBezTo>
                    <a:cubicBezTo>
                      <a:pt x="122" y="97"/>
                      <a:pt x="119" y="90"/>
                      <a:pt x="114" y="86"/>
                    </a:cubicBezTo>
                    <a:cubicBezTo>
                      <a:pt x="110" y="81"/>
                      <a:pt x="103" y="77"/>
                      <a:pt x="96" y="77"/>
                    </a:cubicBezTo>
                    <a:cubicBezTo>
                      <a:pt x="94" y="77"/>
                      <a:pt x="92" y="78"/>
                      <a:pt x="90" y="79"/>
                    </a:cubicBezTo>
                    <a:cubicBezTo>
                      <a:pt x="84" y="81"/>
                      <a:pt x="81" y="84"/>
                      <a:pt x="78" y="88"/>
                    </a:cubicBezTo>
                    <a:cubicBezTo>
                      <a:pt x="76" y="92"/>
                      <a:pt x="75" y="96"/>
                      <a:pt x="75" y="100"/>
                    </a:cubicBezTo>
                    <a:cubicBezTo>
                      <a:pt x="75" y="105"/>
                      <a:pt x="76" y="108"/>
                      <a:pt x="78" y="112"/>
                    </a:cubicBezTo>
                    <a:cubicBezTo>
                      <a:pt x="81" y="117"/>
                      <a:pt x="88" y="121"/>
                      <a:pt x="95" y="121"/>
                    </a:cubicBezTo>
                    <a:cubicBezTo>
                      <a:pt x="100" y="121"/>
                      <a:pt x="107" y="118"/>
                      <a:pt x="112" y="112"/>
                    </a:cubicBezTo>
                    <a:cubicBezTo>
                      <a:pt x="110" y="111"/>
                      <a:pt x="110" y="111"/>
                      <a:pt x="110" y="111"/>
                    </a:cubicBezTo>
                    <a:cubicBezTo>
                      <a:pt x="110" y="113"/>
                      <a:pt x="110" y="113"/>
                      <a:pt x="110" y="113"/>
                    </a:cubicBezTo>
                    <a:cubicBezTo>
                      <a:pt x="110" y="113"/>
                      <a:pt x="136" y="116"/>
                      <a:pt x="158" y="116"/>
                    </a:cubicBezTo>
                    <a:cubicBezTo>
                      <a:pt x="163" y="116"/>
                      <a:pt x="168" y="116"/>
                      <a:pt x="172" y="115"/>
                    </a:cubicBezTo>
                    <a:cubicBezTo>
                      <a:pt x="176" y="115"/>
                      <a:pt x="180" y="114"/>
                      <a:pt x="183" y="113"/>
                    </a:cubicBezTo>
                    <a:cubicBezTo>
                      <a:pt x="191" y="109"/>
                      <a:pt x="194" y="107"/>
                      <a:pt x="198" y="105"/>
                    </a:cubicBezTo>
                    <a:cubicBezTo>
                      <a:pt x="201" y="104"/>
                      <a:pt x="205" y="102"/>
                      <a:pt x="216" y="101"/>
                    </a:cubicBezTo>
                    <a:cubicBezTo>
                      <a:pt x="225" y="99"/>
                      <a:pt x="233" y="98"/>
                      <a:pt x="240" y="98"/>
                    </a:cubicBezTo>
                    <a:cubicBezTo>
                      <a:pt x="248" y="98"/>
                      <a:pt x="254" y="100"/>
                      <a:pt x="262" y="106"/>
                    </a:cubicBezTo>
                    <a:cubicBezTo>
                      <a:pt x="267" y="110"/>
                      <a:pt x="275" y="117"/>
                      <a:pt x="283" y="122"/>
                    </a:cubicBezTo>
                    <a:cubicBezTo>
                      <a:pt x="292" y="128"/>
                      <a:pt x="301" y="133"/>
                      <a:pt x="311" y="133"/>
                    </a:cubicBezTo>
                    <a:cubicBezTo>
                      <a:pt x="316" y="133"/>
                      <a:pt x="322" y="131"/>
                      <a:pt x="327" y="128"/>
                    </a:cubicBezTo>
                    <a:cubicBezTo>
                      <a:pt x="337" y="121"/>
                      <a:pt x="337" y="121"/>
                      <a:pt x="337" y="121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6" y="124"/>
                      <a:pt x="326" y="124"/>
                      <a:pt x="326" y="124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5" y="124"/>
                      <a:pt x="325" y="124"/>
                      <a:pt x="323" y="124"/>
                    </a:cubicBezTo>
                    <a:cubicBezTo>
                      <a:pt x="320" y="124"/>
                      <a:pt x="315" y="123"/>
                      <a:pt x="307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8" y="118"/>
                      <a:pt x="308" y="118"/>
                      <a:pt x="308" y="118"/>
                    </a:cubicBezTo>
                    <a:cubicBezTo>
                      <a:pt x="306" y="119"/>
                      <a:pt x="306" y="119"/>
                      <a:pt x="306" y="119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13" y="127"/>
                      <a:pt x="320" y="128"/>
                      <a:pt x="323" y="128"/>
                    </a:cubicBezTo>
                    <a:cubicBezTo>
                      <a:pt x="325" y="128"/>
                      <a:pt x="326" y="128"/>
                      <a:pt x="326" y="128"/>
                    </a:cubicBezTo>
                    <a:cubicBezTo>
                      <a:pt x="326" y="126"/>
                      <a:pt x="326" y="126"/>
                      <a:pt x="326" y="126"/>
                    </a:cubicBezTo>
                    <a:cubicBezTo>
                      <a:pt x="325" y="124"/>
                      <a:pt x="325" y="124"/>
                      <a:pt x="325" y="124"/>
                    </a:cubicBezTo>
                    <a:cubicBezTo>
                      <a:pt x="320" y="127"/>
                      <a:pt x="316" y="129"/>
                      <a:pt x="311" y="129"/>
                    </a:cubicBezTo>
                    <a:cubicBezTo>
                      <a:pt x="302" y="129"/>
                      <a:pt x="294" y="125"/>
                      <a:pt x="286" y="119"/>
                    </a:cubicBezTo>
                    <a:cubicBezTo>
                      <a:pt x="277" y="113"/>
                      <a:pt x="270" y="107"/>
                      <a:pt x="264" y="102"/>
                    </a:cubicBezTo>
                    <a:cubicBezTo>
                      <a:pt x="256" y="96"/>
                      <a:pt x="248" y="94"/>
                      <a:pt x="240" y="94"/>
                    </a:cubicBezTo>
                    <a:cubicBezTo>
                      <a:pt x="232" y="94"/>
                      <a:pt x="225" y="95"/>
                      <a:pt x="215" y="97"/>
                    </a:cubicBezTo>
                    <a:cubicBezTo>
                      <a:pt x="205" y="98"/>
                      <a:pt x="200" y="100"/>
                      <a:pt x="196" y="102"/>
                    </a:cubicBezTo>
                    <a:cubicBezTo>
                      <a:pt x="192" y="104"/>
                      <a:pt x="189" y="106"/>
                      <a:pt x="181" y="109"/>
                    </a:cubicBezTo>
                    <a:cubicBezTo>
                      <a:pt x="179" y="110"/>
                      <a:pt x="176" y="111"/>
                      <a:pt x="172" y="111"/>
                    </a:cubicBezTo>
                    <a:cubicBezTo>
                      <a:pt x="167" y="112"/>
                      <a:pt x="163" y="112"/>
                      <a:pt x="158" y="112"/>
                    </a:cubicBezTo>
                    <a:cubicBezTo>
                      <a:pt x="147" y="112"/>
                      <a:pt x="135" y="111"/>
                      <a:pt x="126" y="110"/>
                    </a:cubicBezTo>
                    <a:cubicBezTo>
                      <a:pt x="122" y="110"/>
                      <a:pt x="118" y="110"/>
                      <a:pt x="115" y="109"/>
                    </a:cubicBezTo>
                    <a:cubicBezTo>
                      <a:pt x="112" y="109"/>
                      <a:pt x="111" y="109"/>
                      <a:pt x="111" y="109"/>
                    </a:cubicBezTo>
                    <a:cubicBezTo>
                      <a:pt x="110" y="109"/>
                      <a:pt x="110" y="109"/>
                      <a:pt x="110" y="109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04" y="115"/>
                      <a:pt x="99" y="117"/>
                      <a:pt x="95" y="117"/>
                    </a:cubicBezTo>
                    <a:cubicBezTo>
                      <a:pt x="89" y="117"/>
                      <a:pt x="84" y="113"/>
                      <a:pt x="81" y="109"/>
                    </a:cubicBezTo>
                    <a:cubicBezTo>
                      <a:pt x="80" y="107"/>
                      <a:pt x="79" y="104"/>
                      <a:pt x="79" y="100"/>
                    </a:cubicBezTo>
                    <a:cubicBezTo>
                      <a:pt x="79" y="97"/>
                      <a:pt x="80" y="93"/>
                      <a:pt x="82" y="90"/>
                    </a:cubicBezTo>
                    <a:cubicBezTo>
                      <a:pt x="84" y="87"/>
                      <a:pt x="87" y="84"/>
                      <a:pt x="91" y="82"/>
                    </a:cubicBezTo>
                    <a:cubicBezTo>
                      <a:pt x="93" y="82"/>
                      <a:pt x="95" y="81"/>
                      <a:pt x="96" y="81"/>
                    </a:cubicBezTo>
                    <a:cubicBezTo>
                      <a:pt x="102" y="81"/>
                      <a:pt x="107" y="84"/>
                      <a:pt x="111" y="88"/>
                    </a:cubicBezTo>
                    <a:cubicBezTo>
                      <a:pt x="115" y="93"/>
                      <a:pt x="118" y="98"/>
                      <a:pt x="118" y="103"/>
                    </a:cubicBezTo>
                    <a:cubicBezTo>
                      <a:pt x="120" y="103"/>
                      <a:pt x="120" y="103"/>
                      <a:pt x="120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3"/>
                      <a:pt x="118" y="103"/>
                      <a:pt x="118" y="103"/>
                    </a:cubicBezTo>
                    <a:cubicBezTo>
                      <a:pt x="118" y="108"/>
                      <a:pt x="115" y="114"/>
                      <a:pt x="110" y="119"/>
                    </a:cubicBezTo>
                    <a:cubicBezTo>
                      <a:pt x="105" y="124"/>
                      <a:pt x="98" y="127"/>
                      <a:pt x="92" y="128"/>
                    </a:cubicBezTo>
                    <a:cubicBezTo>
                      <a:pt x="91" y="128"/>
                      <a:pt x="89" y="129"/>
                      <a:pt x="88" y="129"/>
                    </a:cubicBezTo>
                    <a:cubicBezTo>
                      <a:pt x="81" y="129"/>
                      <a:pt x="73" y="127"/>
                      <a:pt x="67" y="122"/>
                    </a:cubicBezTo>
                    <a:cubicBezTo>
                      <a:pt x="60" y="118"/>
                      <a:pt x="55" y="111"/>
                      <a:pt x="54" y="102"/>
                    </a:cubicBezTo>
                    <a:cubicBezTo>
                      <a:pt x="54" y="100"/>
                      <a:pt x="54" y="99"/>
                      <a:pt x="54" y="97"/>
                    </a:cubicBezTo>
                    <a:cubicBezTo>
                      <a:pt x="54" y="87"/>
                      <a:pt x="58" y="78"/>
                      <a:pt x="65" y="70"/>
                    </a:cubicBezTo>
                    <a:cubicBezTo>
                      <a:pt x="72" y="63"/>
                      <a:pt x="81" y="57"/>
                      <a:pt x="88" y="54"/>
                    </a:cubicBezTo>
                    <a:cubicBezTo>
                      <a:pt x="90" y="53"/>
                      <a:pt x="93" y="52"/>
                      <a:pt x="97" y="52"/>
                    </a:cubicBezTo>
                    <a:cubicBezTo>
                      <a:pt x="103" y="52"/>
                      <a:pt x="111" y="55"/>
                      <a:pt x="117" y="57"/>
                    </a:cubicBezTo>
                    <a:cubicBezTo>
                      <a:pt x="120" y="59"/>
                      <a:pt x="122" y="60"/>
                      <a:pt x="124" y="61"/>
                    </a:cubicBezTo>
                    <a:cubicBezTo>
                      <a:pt x="125" y="61"/>
                      <a:pt x="125" y="62"/>
                      <a:pt x="126" y="62"/>
                    </a:cubicBezTo>
                    <a:cubicBezTo>
                      <a:pt x="126" y="62"/>
                      <a:pt x="126" y="62"/>
                      <a:pt x="126" y="62"/>
                    </a:cubicBezTo>
                    <a:cubicBezTo>
                      <a:pt x="127" y="63"/>
                      <a:pt x="127" y="63"/>
                      <a:pt x="127" y="63"/>
                    </a:cubicBezTo>
                    <a:cubicBezTo>
                      <a:pt x="128" y="63"/>
                      <a:pt x="128" y="63"/>
                      <a:pt x="128" y="63"/>
                    </a:cubicBezTo>
                    <a:cubicBezTo>
                      <a:pt x="130" y="62"/>
                      <a:pt x="132" y="62"/>
                      <a:pt x="134" y="62"/>
                    </a:cubicBezTo>
                    <a:cubicBezTo>
                      <a:pt x="140" y="62"/>
                      <a:pt x="146" y="64"/>
                      <a:pt x="151" y="67"/>
                    </a:cubicBezTo>
                    <a:cubicBezTo>
                      <a:pt x="156" y="70"/>
                      <a:pt x="161" y="74"/>
                      <a:pt x="163" y="78"/>
                    </a:cubicBezTo>
                    <a:cubicBezTo>
                      <a:pt x="165" y="81"/>
                      <a:pt x="165" y="85"/>
                      <a:pt x="165" y="88"/>
                    </a:cubicBezTo>
                    <a:cubicBezTo>
                      <a:pt x="165" y="93"/>
                      <a:pt x="164" y="97"/>
                      <a:pt x="163" y="101"/>
                    </a:cubicBezTo>
                    <a:cubicBezTo>
                      <a:pt x="163" y="103"/>
                      <a:pt x="162" y="104"/>
                      <a:pt x="162" y="105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1" y="107"/>
                      <a:pt x="161" y="107"/>
                      <a:pt x="161" y="107"/>
                    </a:cubicBezTo>
                    <a:cubicBezTo>
                      <a:pt x="161" y="108"/>
                      <a:pt x="161" y="108"/>
                      <a:pt x="161" y="108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2" y="109"/>
                      <a:pt x="162" y="109"/>
                    </a:cubicBezTo>
                    <a:cubicBezTo>
                      <a:pt x="162" y="109"/>
                      <a:pt x="166" y="116"/>
                      <a:pt x="166" y="125"/>
                    </a:cubicBezTo>
                    <a:cubicBezTo>
                      <a:pt x="166" y="133"/>
                      <a:pt x="163" y="141"/>
                      <a:pt x="155" y="150"/>
                    </a:cubicBezTo>
                    <a:cubicBezTo>
                      <a:pt x="145" y="159"/>
                      <a:pt x="134" y="161"/>
                      <a:pt x="125" y="161"/>
                    </a:cubicBezTo>
                    <a:cubicBezTo>
                      <a:pt x="120" y="161"/>
                      <a:pt x="116" y="161"/>
                      <a:pt x="113" y="160"/>
                    </a:cubicBezTo>
                    <a:cubicBezTo>
                      <a:pt x="111" y="160"/>
                      <a:pt x="110" y="159"/>
                      <a:pt x="109" y="159"/>
                    </a:cubicBezTo>
                    <a:cubicBezTo>
                      <a:pt x="109" y="159"/>
                      <a:pt x="108" y="159"/>
                      <a:pt x="108" y="159"/>
                    </a:cubicBezTo>
                    <a:cubicBezTo>
                      <a:pt x="108" y="158"/>
                      <a:pt x="108" y="158"/>
                      <a:pt x="108" y="158"/>
                    </a:cubicBezTo>
                    <a:cubicBezTo>
                      <a:pt x="107" y="158"/>
                      <a:pt x="107" y="158"/>
                      <a:pt x="107" y="158"/>
                    </a:cubicBezTo>
                    <a:cubicBezTo>
                      <a:pt x="106" y="159"/>
                      <a:pt x="106" y="159"/>
                      <a:pt x="106" y="159"/>
                    </a:cubicBezTo>
                    <a:cubicBezTo>
                      <a:pt x="97" y="165"/>
                      <a:pt x="87" y="168"/>
                      <a:pt x="77" y="168"/>
                    </a:cubicBezTo>
                    <a:cubicBezTo>
                      <a:pt x="65" y="168"/>
                      <a:pt x="53" y="163"/>
                      <a:pt x="44" y="155"/>
                    </a:cubicBezTo>
                    <a:cubicBezTo>
                      <a:pt x="36" y="148"/>
                      <a:pt x="32" y="138"/>
                      <a:pt x="29" y="130"/>
                    </a:cubicBezTo>
                    <a:cubicBezTo>
                      <a:pt x="28" y="126"/>
                      <a:pt x="27" y="123"/>
                      <a:pt x="27" y="120"/>
                    </a:cubicBezTo>
                    <a:cubicBezTo>
                      <a:pt x="27" y="119"/>
                      <a:pt x="27" y="118"/>
                      <a:pt x="27" y="117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6"/>
                      <a:pt x="27" y="116"/>
                      <a:pt x="27" y="116"/>
                    </a:cubicBezTo>
                    <a:cubicBezTo>
                      <a:pt x="27" y="115"/>
                      <a:pt x="27" y="115"/>
                      <a:pt x="27" y="115"/>
                    </a:cubicBezTo>
                    <a:cubicBezTo>
                      <a:pt x="26" y="115"/>
                      <a:pt x="26" y="115"/>
                      <a:pt x="26" y="115"/>
                    </a:cubicBezTo>
                    <a:cubicBezTo>
                      <a:pt x="12" y="105"/>
                      <a:pt x="4" y="89"/>
                      <a:pt x="4" y="76"/>
                    </a:cubicBezTo>
                    <a:cubicBezTo>
                      <a:pt x="4" y="75"/>
                      <a:pt x="4" y="73"/>
                      <a:pt x="4" y="72"/>
                    </a:cubicBezTo>
                    <a:cubicBezTo>
                      <a:pt x="6" y="57"/>
                      <a:pt x="13" y="41"/>
                      <a:pt x="29" y="29"/>
                    </a:cubicBezTo>
                    <a:cubicBezTo>
                      <a:pt x="40" y="21"/>
                      <a:pt x="53" y="19"/>
                      <a:pt x="60" y="19"/>
                    </a:cubicBezTo>
                    <a:cubicBezTo>
                      <a:pt x="61" y="19"/>
                      <a:pt x="63" y="19"/>
                      <a:pt x="63" y="19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5" y="19"/>
                      <a:pt x="65" y="19"/>
                      <a:pt x="65" y="19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6" y="19"/>
                      <a:pt x="66" y="19"/>
                      <a:pt x="66" y="19"/>
                    </a:cubicBezTo>
                    <a:cubicBezTo>
                      <a:pt x="67" y="19"/>
                      <a:pt x="67" y="19"/>
                      <a:pt x="67" y="19"/>
                    </a:cubicBezTo>
                    <a:cubicBezTo>
                      <a:pt x="68" y="17"/>
                      <a:pt x="83" y="3"/>
                      <a:pt x="103" y="4"/>
                    </a:cubicBezTo>
                    <a:cubicBezTo>
                      <a:pt x="107" y="4"/>
                      <a:pt x="111" y="4"/>
                      <a:pt x="116" y="6"/>
                    </a:cubicBezTo>
                    <a:cubicBezTo>
                      <a:pt x="129" y="10"/>
                      <a:pt x="140" y="20"/>
                      <a:pt x="147" y="29"/>
                    </a:cubicBezTo>
                    <a:cubicBezTo>
                      <a:pt x="150" y="33"/>
                      <a:pt x="153" y="37"/>
                      <a:pt x="155" y="40"/>
                    </a:cubicBezTo>
                    <a:cubicBezTo>
                      <a:pt x="156" y="41"/>
                      <a:pt x="156" y="43"/>
                      <a:pt x="157" y="43"/>
                    </a:cubicBezTo>
                    <a:cubicBezTo>
                      <a:pt x="157" y="44"/>
                      <a:pt x="157" y="44"/>
                      <a:pt x="157" y="44"/>
                    </a:cubicBezTo>
                    <a:cubicBezTo>
                      <a:pt x="157" y="45"/>
                      <a:pt x="157" y="45"/>
                      <a:pt x="157" y="45"/>
                    </a:cubicBezTo>
                    <a:cubicBezTo>
                      <a:pt x="158" y="46"/>
                      <a:pt x="158" y="46"/>
                      <a:pt x="158" y="46"/>
                    </a:cubicBezTo>
                    <a:cubicBezTo>
                      <a:pt x="160" y="46"/>
                      <a:pt x="160" y="46"/>
                      <a:pt x="160" y="46"/>
                    </a:cubicBezTo>
                    <a:cubicBezTo>
                      <a:pt x="160" y="46"/>
                      <a:pt x="161" y="46"/>
                      <a:pt x="162" y="46"/>
                    </a:cubicBezTo>
                    <a:cubicBezTo>
                      <a:pt x="166" y="45"/>
                      <a:pt x="172" y="49"/>
                      <a:pt x="177" y="53"/>
                    </a:cubicBezTo>
                    <a:cubicBezTo>
                      <a:pt x="181" y="56"/>
                      <a:pt x="185" y="61"/>
                      <a:pt x="186" y="62"/>
                    </a:cubicBezTo>
                    <a:cubicBezTo>
                      <a:pt x="187" y="63"/>
                      <a:pt x="187" y="64"/>
                      <a:pt x="188" y="66"/>
                    </a:cubicBezTo>
                    <a:cubicBezTo>
                      <a:pt x="189" y="68"/>
                      <a:pt x="190" y="71"/>
                      <a:pt x="191" y="73"/>
                    </a:cubicBezTo>
                    <a:cubicBezTo>
                      <a:pt x="192" y="76"/>
                      <a:pt x="193" y="79"/>
                      <a:pt x="195" y="80"/>
                    </a:cubicBezTo>
                    <a:cubicBezTo>
                      <a:pt x="197" y="82"/>
                      <a:pt x="199" y="82"/>
                      <a:pt x="202" y="83"/>
                    </a:cubicBezTo>
                    <a:cubicBezTo>
                      <a:pt x="204" y="83"/>
                      <a:pt x="208" y="83"/>
                      <a:pt x="211" y="83"/>
                    </a:cubicBezTo>
                    <a:cubicBezTo>
                      <a:pt x="217" y="83"/>
                      <a:pt x="223" y="83"/>
                      <a:pt x="227" y="82"/>
                    </a:cubicBezTo>
                    <a:cubicBezTo>
                      <a:pt x="230" y="81"/>
                      <a:pt x="234" y="81"/>
                      <a:pt x="240" y="81"/>
                    </a:cubicBezTo>
                    <a:cubicBezTo>
                      <a:pt x="249" y="81"/>
                      <a:pt x="260" y="82"/>
                      <a:pt x="270" y="88"/>
                    </a:cubicBezTo>
                    <a:cubicBezTo>
                      <a:pt x="278" y="92"/>
                      <a:pt x="287" y="101"/>
                      <a:pt x="293" y="108"/>
                    </a:cubicBezTo>
                    <a:cubicBezTo>
                      <a:pt x="297" y="111"/>
                      <a:pt x="300" y="114"/>
                      <a:pt x="302" y="117"/>
                    </a:cubicBezTo>
                    <a:cubicBezTo>
                      <a:pt x="302" y="118"/>
                      <a:pt x="303" y="119"/>
                      <a:pt x="304" y="120"/>
                    </a:cubicBezTo>
                    <a:cubicBezTo>
                      <a:pt x="304" y="120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5" y="121"/>
                      <a:pt x="305" y="121"/>
                      <a:pt x="305" y="121"/>
                    </a:cubicBezTo>
                    <a:cubicBezTo>
                      <a:pt x="306" y="119"/>
                      <a:pt x="306" y="119"/>
                      <a:pt x="306" y="119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3" name="Freeform 13"/>
              <p:cNvSpPr>
                <a:spLocks/>
              </p:cNvSpPr>
              <p:nvPr/>
            </p:nvSpPr>
            <p:spPr bwMode="auto">
              <a:xfrm>
                <a:off x="2868210" y="2101381"/>
                <a:ext cx="352097" cy="239725"/>
              </a:xfrm>
              <a:custGeom>
                <a:avLst/>
                <a:gdLst>
                  <a:gd name="T0" fmla="*/ 48 w 119"/>
                  <a:gd name="T1" fmla="*/ 56 h 81"/>
                  <a:gd name="T2" fmla="*/ 48 w 119"/>
                  <a:gd name="T3" fmla="*/ 56 h 81"/>
                  <a:gd name="T4" fmla="*/ 50 w 119"/>
                  <a:gd name="T5" fmla="*/ 53 h 81"/>
                  <a:gd name="T6" fmla="*/ 52 w 119"/>
                  <a:gd name="T7" fmla="*/ 52 h 81"/>
                  <a:gd name="T8" fmla="*/ 54 w 119"/>
                  <a:gd name="T9" fmla="*/ 51 h 81"/>
                  <a:gd name="T10" fmla="*/ 60 w 119"/>
                  <a:gd name="T11" fmla="*/ 55 h 81"/>
                  <a:gd name="T12" fmla="*/ 62 w 119"/>
                  <a:gd name="T13" fmla="*/ 59 h 81"/>
                  <a:gd name="T14" fmla="*/ 57 w 119"/>
                  <a:gd name="T15" fmla="*/ 66 h 81"/>
                  <a:gd name="T16" fmla="*/ 47 w 119"/>
                  <a:gd name="T17" fmla="*/ 69 h 81"/>
                  <a:gd name="T18" fmla="*/ 37 w 119"/>
                  <a:gd name="T19" fmla="*/ 64 h 81"/>
                  <a:gd name="T20" fmla="*/ 30 w 119"/>
                  <a:gd name="T21" fmla="*/ 48 h 81"/>
                  <a:gd name="T22" fmla="*/ 35 w 119"/>
                  <a:gd name="T23" fmla="*/ 37 h 81"/>
                  <a:gd name="T24" fmla="*/ 50 w 119"/>
                  <a:gd name="T25" fmla="*/ 30 h 81"/>
                  <a:gd name="T26" fmla="*/ 65 w 119"/>
                  <a:gd name="T27" fmla="*/ 38 h 81"/>
                  <a:gd name="T28" fmla="*/ 69 w 119"/>
                  <a:gd name="T29" fmla="*/ 50 h 81"/>
                  <a:gd name="T30" fmla="*/ 64 w 119"/>
                  <a:gd name="T31" fmla="*/ 65 h 81"/>
                  <a:gd name="T32" fmla="*/ 54 w 119"/>
                  <a:gd name="T33" fmla="*/ 74 h 81"/>
                  <a:gd name="T34" fmla="*/ 37 w 119"/>
                  <a:gd name="T35" fmla="*/ 77 h 81"/>
                  <a:gd name="T36" fmla="*/ 13 w 119"/>
                  <a:gd name="T37" fmla="*/ 68 h 81"/>
                  <a:gd name="T38" fmla="*/ 4 w 119"/>
                  <a:gd name="T39" fmla="*/ 49 h 81"/>
                  <a:gd name="T40" fmla="*/ 16 w 119"/>
                  <a:gd name="T41" fmla="*/ 21 h 81"/>
                  <a:gd name="T42" fmla="*/ 52 w 119"/>
                  <a:gd name="T43" fmla="*/ 4 h 81"/>
                  <a:gd name="T44" fmla="*/ 77 w 119"/>
                  <a:gd name="T45" fmla="*/ 12 h 81"/>
                  <a:gd name="T46" fmla="*/ 78 w 119"/>
                  <a:gd name="T47" fmla="*/ 13 h 81"/>
                  <a:gd name="T48" fmla="*/ 79 w 119"/>
                  <a:gd name="T49" fmla="*/ 13 h 81"/>
                  <a:gd name="T50" fmla="*/ 79 w 119"/>
                  <a:gd name="T51" fmla="*/ 13 h 81"/>
                  <a:gd name="T52" fmla="*/ 87 w 119"/>
                  <a:gd name="T53" fmla="*/ 11 h 81"/>
                  <a:gd name="T54" fmla="*/ 105 w 119"/>
                  <a:gd name="T55" fmla="*/ 19 h 81"/>
                  <a:gd name="T56" fmla="*/ 115 w 119"/>
                  <a:gd name="T57" fmla="*/ 43 h 81"/>
                  <a:gd name="T58" fmla="*/ 113 w 119"/>
                  <a:gd name="T59" fmla="*/ 57 h 81"/>
                  <a:gd name="T60" fmla="*/ 112 w 119"/>
                  <a:gd name="T61" fmla="*/ 57 h 81"/>
                  <a:gd name="T62" fmla="*/ 115 w 119"/>
                  <a:gd name="T63" fmla="*/ 65 h 81"/>
                  <a:gd name="T64" fmla="*/ 119 w 119"/>
                  <a:gd name="T65" fmla="*/ 63 h 81"/>
                  <a:gd name="T66" fmla="*/ 116 w 119"/>
                  <a:gd name="T67" fmla="*/ 57 h 81"/>
                  <a:gd name="T68" fmla="*/ 114 w 119"/>
                  <a:gd name="T69" fmla="*/ 58 h 81"/>
                  <a:gd name="T70" fmla="*/ 116 w 119"/>
                  <a:gd name="T71" fmla="*/ 59 h 81"/>
                  <a:gd name="T72" fmla="*/ 119 w 119"/>
                  <a:gd name="T73" fmla="*/ 43 h 81"/>
                  <a:gd name="T74" fmla="*/ 108 w 119"/>
                  <a:gd name="T75" fmla="*/ 16 h 81"/>
                  <a:gd name="T76" fmla="*/ 87 w 119"/>
                  <a:gd name="T77" fmla="*/ 7 h 81"/>
                  <a:gd name="T78" fmla="*/ 78 w 119"/>
                  <a:gd name="T79" fmla="*/ 9 h 81"/>
                  <a:gd name="T80" fmla="*/ 79 w 119"/>
                  <a:gd name="T81" fmla="*/ 11 h 81"/>
                  <a:gd name="T82" fmla="*/ 80 w 119"/>
                  <a:gd name="T83" fmla="*/ 9 h 81"/>
                  <a:gd name="T84" fmla="*/ 52 w 119"/>
                  <a:gd name="T85" fmla="*/ 0 h 81"/>
                  <a:gd name="T86" fmla="*/ 13 w 119"/>
                  <a:gd name="T87" fmla="*/ 18 h 81"/>
                  <a:gd name="T88" fmla="*/ 0 w 119"/>
                  <a:gd name="T89" fmla="*/ 49 h 81"/>
                  <a:gd name="T90" fmla="*/ 10 w 119"/>
                  <a:gd name="T91" fmla="*/ 71 h 81"/>
                  <a:gd name="T92" fmla="*/ 37 w 119"/>
                  <a:gd name="T93" fmla="*/ 81 h 81"/>
                  <a:gd name="T94" fmla="*/ 55 w 119"/>
                  <a:gd name="T95" fmla="*/ 78 h 81"/>
                  <a:gd name="T96" fmla="*/ 68 w 119"/>
                  <a:gd name="T97" fmla="*/ 67 h 81"/>
                  <a:gd name="T98" fmla="*/ 73 w 119"/>
                  <a:gd name="T99" fmla="*/ 50 h 81"/>
                  <a:gd name="T100" fmla="*/ 68 w 119"/>
                  <a:gd name="T101" fmla="*/ 36 h 81"/>
                  <a:gd name="T102" fmla="*/ 50 w 119"/>
                  <a:gd name="T103" fmla="*/ 26 h 81"/>
                  <a:gd name="T104" fmla="*/ 32 w 119"/>
                  <a:gd name="T105" fmla="*/ 34 h 81"/>
                  <a:gd name="T106" fmla="*/ 26 w 119"/>
                  <a:gd name="T107" fmla="*/ 48 h 81"/>
                  <a:gd name="T108" fmla="*/ 34 w 119"/>
                  <a:gd name="T109" fmla="*/ 67 h 81"/>
                  <a:gd name="T110" fmla="*/ 47 w 119"/>
                  <a:gd name="T111" fmla="*/ 73 h 81"/>
                  <a:gd name="T112" fmla="*/ 60 w 119"/>
                  <a:gd name="T113" fmla="*/ 69 h 81"/>
                  <a:gd name="T114" fmla="*/ 66 w 119"/>
                  <a:gd name="T115" fmla="*/ 59 h 81"/>
                  <a:gd name="T116" fmla="*/ 63 w 119"/>
                  <a:gd name="T117" fmla="*/ 52 h 81"/>
                  <a:gd name="T118" fmla="*/ 54 w 119"/>
                  <a:gd name="T119" fmla="*/ 47 h 81"/>
                  <a:gd name="T120" fmla="*/ 50 w 119"/>
                  <a:gd name="T121" fmla="*/ 48 h 81"/>
                  <a:gd name="T122" fmla="*/ 45 w 119"/>
                  <a:gd name="T123" fmla="*/ 54 h 81"/>
                  <a:gd name="T124" fmla="*/ 48 w 119"/>
                  <a:gd name="T125" fmla="*/ 5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9" h="81">
                    <a:moveTo>
                      <a:pt x="48" y="56"/>
                    </a:moveTo>
                    <a:cubicBezTo>
                      <a:pt x="48" y="56"/>
                      <a:pt x="48" y="56"/>
                      <a:pt x="48" y="56"/>
                    </a:cubicBezTo>
                    <a:cubicBezTo>
                      <a:pt x="49" y="56"/>
                      <a:pt x="49" y="54"/>
                      <a:pt x="50" y="53"/>
                    </a:cubicBezTo>
                    <a:cubicBezTo>
                      <a:pt x="51" y="53"/>
                      <a:pt x="51" y="52"/>
                      <a:pt x="52" y="52"/>
                    </a:cubicBezTo>
                    <a:cubicBezTo>
                      <a:pt x="53" y="51"/>
                      <a:pt x="53" y="51"/>
                      <a:pt x="54" y="51"/>
                    </a:cubicBezTo>
                    <a:cubicBezTo>
                      <a:pt x="55" y="51"/>
                      <a:pt x="57" y="52"/>
                      <a:pt x="60" y="55"/>
                    </a:cubicBezTo>
                    <a:cubicBezTo>
                      <a:pt x="61" y="56"/>
                      <a:pt x="62" y="58"/>
                      <a:pt x="62" y="59"/>
                    </a:cubicBezTo>
                    <a:cubicBezTo>
                      <a:pt x="62" y="61"/>
                      <a:pt x="60" y="64"/>
                      <a:pt x="57" y="66"/>
                    </a:cubicBezTo>
                    <a:cubicBezTo>
                      <a:pt x="55" y="68"/>
                      <a:pt x="51" y="69"/>
                      <a:pt x="47" y="69"/>
                    </a:cubicBezTo>
                    <a:cubicBezTo>
                      <a:pt x="44" y="69"/>
                      <a:pt x="40" y="68"/>
                      <a:pt x="37" y="64"/>
                    </a:cubicBezTo>
                    <a:cubicBezTo>
                      <a:pt x="32" y="58"/>
                      <a:pt x="30" y="53"/>
                      <a:pt x="30" y="48"/>
                    </a:cubicBezTo>
                    <a:cubicBezTo>
                      <a:pt x="30" y="44"/>
                      <a:pt x="32" y="41"/>
                      <a:pt x="35" y="37"/>
                    </a:cubicBezTo>
                    <a:cubicBezTo>
                      <a:pt x="39" y="33"/>
                      <a:pt x="44" y="30"/>
                      <a:pt x="50" y="30"/>
                    </a:cubicBezTo>
                    <a:cubicBezTo>
                      <a:pt x="55" y="30"/>
                      <a:pt x="60" y="32"/>
                      <a:pt x="65" y="38"/>
                    </a:cubicBezTo>
                    <a:cubicBezTo>
                      <a:pt x="68" y="42"/>
                      <a:pt x="69" y="46"/>
                      <a:pt x="69" y="50"/>
                    </a:cubicBezTo>
                    <a:cubicBezTo>
                      <a:pt x="69" y="55"/>
                      <a:pt x="67" y="61"/>
                      <a:pt x="64" y="65"/>
                    </a:cubicBezTo>
                    <a:cubicBezTo>
                      <a:pt x="62" y="70"/>
                      <a:pt x="58" y="73"/>
                      <a:pt x="54" y="74"/>
                    </a:cubicBezTo>
                    <a:cubicBezTo>
                      <a:pt x="49" y="76"/>
                      <a:pt x="43" y="77"/>
                      <a:pt x="37" y="77"/>
                    </a:cubicBezTo>
                    <a:cubicBezTo>
                      <a:pt x="28" y="77"/>
                      <a:pt x="20" y="75"/>
                      <a:pt x="13" y="68"/>
                    </a:cubicBezTo>
                    <a:cubicBezTo>
                      <a:pt x="7" y="63"/>
                      <a:pt x="4" y="56"/>
                      <a:pt x="4" y="49"/>
                    </a:cubicBezTo>
                    <a:cubicBezTo>
                      <a:pt x="4" y="41"/>
                      <a:pt x="7" y="32"/>
                      <a:pt x="16" y="21"/>
                    </a:cubicBezTo>
                    <a:cubicBezTo>
                      <a:pt x="25" y="9"/>
                      <a:pt x="39" y="4"/>
                      <a:pt x="52" y="4"/>
                    </a:cubicBezTo>
                    <a:cubicBezTo>
                      <a:pt x="62" y="4"/>
                      <a:pt x="72" y="7"/>
                      <a:pt x="77" y="12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79" y="13"/>
                      <a:pt x="79" y="13"/>
                      <a:pt x="79" y="13"/>
                    </a:cubicBezTo>
                    <a:cubicBezTo>
                      <a:pt x="80" y="13"/>
                      <a:pt x="82" y="11"/>
                      <a:pt x="87" y="11"/>
                    </a:cubicBezTo>
                    <a:cubicBezTo>
                      <a:pt x="91" y="11"/>
                      <a:pt x="98" y="13"/>
                      <a:pt x="105" y="19"/>
                    </a:cubicBezTo>
                    <a:cubicBezTo>
                      <a:pt x="113" y="25"/>
                      <a:pt x="115" y="35"/>
                      <a:pt x="115" y="43"/>
                    </a:cubicBezTo>
                    <a:cubicBezTo>
                      <a:pt x="115" y="49"/>
                      <a:pt x="114" y="54"/>
                      <a:pt x="113" y="57"/>
                    </a:cubicBezTo>
                    <a:cubicBezTo>
                      <a:pt x="112" y="57"/>
                      <a:pt x="112" y="57"/>
                      <a:pt x="112" y="57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9" y="63"/>
                      <a:pt x="119" y="63"/>
                      <a:pt x="119" y="63"/>
                    </a:cubicBezTo>
                    <a:cubicBezTo>
                      <a:pt x="116" y="57"/>
                      <a:pt x="116" y="57"/>
                      <a:pt x="116" y="57"/>
                    </a:cubicBezTo>
                    <a:cubicBezTo>
                      <a:pt x="114" y="58"/>
                      <a:pt x="114" y="58"/>
                      <a:pt x="114" y="58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8" y="55"/>
                      <a:pt x="119" y="50"/>
                      <a:pt x="119" y="43"/>
                    </a:cubicBezTo>
                    <a:cubicBezTo>
                      <a:pt x="119" y="34"/>
                      <a:pt x="117" y="23"/>
                      <a:pt x="108" y="16"/>
                    </a:cubicBezTo>
                    <a:cubicBezTo>
                      <a:pt x="100" y="9"/>
                      <a:pt x="92" y="7"/>
                      <a:pt x="87" y="7"/>
                    </a:cubicBezTo>
                    <a:cubicBezTo>
                      <a:pt x="81" y="7"/>
                      <a:pt x="78" y="9"/>
                      <a:pt x="78" y="9"/>
                    </a:cubicBezTo>
                    <a:cubicBezTo>
                      <a:pt x="79" y="11"/>
                      <a:pt x="79" y="11"/>
                      <a:pt x="79" y="11"/>
                    </a:cubicBezTo>
                    <a:cubicBezTo>
                      <a:pt x="80" y="9"/>
                      <a:pt x="80" y="9"/>
                      <a:pt x="80" y="9"/>
                    </a:cubicBezTo>
                    <a:cubicBezTo>
                      <a:pt x="73" y="3"/>
                      <a:pt x="63" y="0"/>
                      <a:pt x="52" y="0"/>
                    </a:cubicBezTo>
                    <a:cubicBezTo>
                      <a:pt x="38" y="0"/>
                      <a:pt x="22" y="5"/>
                      <a:pt x="13" y="18"/>
                    </a:cubicBezTo>
                    <a:cubicBezTo>
                      <a:pt x="4" y="30"/>
                      <a:pt x="0" y="40"/>
                      <a:pt x="0" y="49"/>
                    </a:cubicBezTo>
                    <a:cubicBezTo>
                      <a:pt x="0" y="57"/>
                      <a:pt x="4" y="65"/>
                      <a:pt x="10" y="71"/>
                    </a:cubicBezTo>
                    <a:cubicBezTo>
                      <a:pt x="18" y="79"/>
                      <a:pt x="28" y="81"/>
                      <a:pt x="37" y="81"/>
                    </a:cubicBezTo>
                    <a:cubicBezTo>
                      <a:pt x="44" y="81"/>
                      <a:pt x="50" y="80"/>
                      <a:pt x="55" y="78"/>
                    </a:cubicBezTo>
                    <a:cubicBezTo>
                      <a:pt x="60" y="76"/>
                      <a:pt x="65" y="72"/>
                      <a:pt x="68" y="67"/>
                    </a:cubicBezTo>
                    <a:cubicBezTo>
                      <a:pt x="71" y="62"/>
                      <a:pt x="73" y="56"/>
                      <a:pt x="73" y="50"/>
                    </a:cubicBezTo>
                    <a:cubicBezTo>
                      <a:pt x="73" y="45"/>
                      <a:pt x="72" y="40"/>
                      <a:pt x="68" y="36"/>
                    </a:cubicBezTo>
                    <a:cubicBezTo>
                      <a:pt x="63" y="29"/>
                      <a:pt x="56" y="26"/>
                      <a:pt x="50" y="26"/>
                    </a:cubicBezTo>
                    <a:cubicBezTo>
                      <a:pt x="43" y="26"/>
                      <a:pt x="37" y="29"/>
                      <a:pt x="32" y="34"/>
                    </a:cubicBezTo>
                    <a:cubicBezTo>
                      <a:pt x="28" y="38"/>
                      <a:pt x="26" y="43"/>
                      <a:pt x="26" y="48"/>
                    </a:cubicBezTo>
                    <a:cubicBezTo>
                      <a:pt x="26" y="54"/>
                      <a:pt x="29" y="60"/>
                      <a:pt x="34" y="67"/>
                    </a:cubicBezTo>
                    <a:cubicBezTo>
                      <a:pt x="38" y="71"/>
                      <a:pt x="43" y="73"/>
                      <a:pt x="47" y="73"/>
                    </a:cubicBezTo>
                    <a:cubicBezTo>
                      <a:pt x="52" y="73"/>
                      <a:pt x="56" y="71"/>
                      <a:pt x="60" y="69"/>
                    </a:cubicBezTo>
                    <a:cubicBezTo>
                      <a:pt x="63" y="66"/>
                      <a:pt x="65" y="63"/>
                      <a:pt x="66" y="59"/>
                    </a:cubicBezTo>
                    <a:cubicBezTo>
                      <a:pt x="66" y="57"/>
                      <a:pt x="65" y="55"/>
                      <a:pt x="63" y="52"/>
                    </a:cubicBezTo>
                    <a:cubicBezTo>
                      <a:pt x="60" y="49"/>
                      <a:pt x="57" y="47"/>
                      <a:pt x="54" y="47"/>
                    </a:cubicBezTo>
                    <a:cubicBezTo>
                      <a:pt x="52" y="47"/>
                      <a:pt x="51" y="48"/>
                      <a:pt x="50" y="48"/>
                    </a:cubicBezTo>
                    <a:cubicBezTo>
                      <a:pt x="46" y="51"/>
                      <a:pt x="45" y="54"/>
                      <a:pt x="45" y="54"/>
                    </a:cubicBezTo>
                    <a:lnTo>
                      <a:pt x="48" y="5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17" name="文本框 16"/>
            <p:cNvSpPr txBox="1"/>
            <p:nvPr/>
          </p:nvSpPr>
          <p:spPr>
            <a:xfrm>
              <a:off x="1584045" y="1078800"/>
              <a:ext cx="376969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4400" dirty="0" smtClean="0">
                  <a:solidFill>
                    <a:schemeClr val="bg1">
                      <a:lumMod val="95000"/>
                    </a:schemeClr>
                  </a:solidFill>
                  <a:latin typeface="张海山锐谐体" panose="02000000000000000000" pitchFamily="2" charset="-122"/>
                  <a:ea typeface="张海山锐谐体" panose="02000000000000000000" pitchFamily="2" charset="-122"/>
                </a:rPr>
                <a:t>单击添加标题</a:t>
              </a:r>
            </a:p>
          </p:txBody>
        </p:sp>
      </p:grpSp>
      <p:sp>
        <p:nvSpPr>
          <p:cNvPr id="51" name="矩形 50"/>
          <p:cNvSpPr/>
          <p:nvPr/>
        </p:nvSpPr>
        <p:spPr>
          <a:xfrm flipH="1">
            <a:off x="9120857" y="5740819"/>
            <a:ext cx="1521592" cy="434020"/>
          </a:xfrm>
          <a:prstGeom prst="rect">
            <a:avLst/>
          </a:prstGeom>
          <a:solidFill>
            <a:srgbClr val="3E3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9" name="组合 28"/>
          <p:cNvGrpSpPr/>
          <p:nvPr/>
        </p:nvGrpSpPr>
        <p:grpSpPr>
          <a:xfrm>
            <a:off x="8941712" y="2127824"/>
            <a:ext cx="324855" cy="3830005"/>
            <a:chOff x="1398513" y="3468730"/>
            <a:chExt cx="235203" cy="2773017"/>
          </a:xfrm>
        </p:grpSpPr>
        <p:cxnSp>
          <p:nvCxnSpPr>
            <p:cNvPr id="30" name="直接连接符 29"/>
            <p:cNvCxnSpPr>
              <a:stCxn id="51" idx="3"/>
            </p:cNvCxnSpPr>
            <p:nvPr/>
          </p:nvCxnSpPr>
          <p:spPr>
            <a:xfrm flipH="1" flipV="1">
              <a:off x="1500808" y="3507856"/>
              <a:ext cx="27410" cy="2733891"/>
            </a:xfrm>
            <a:prstGeom prst="line">
              <a:avLst/>
            </a:prstGeom>
            <a:ln w="15875" cap="rnd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等腰三角形 30"/>
            <p:cNvSpPr/>
            <p:nvPr/>
          </p:nvSpPr>
          <p:spPr>
            <a:xfrm flipV="1">
              <a:off x="1398513" y="3468730"/>
              <a:ext cx="235203" cy="78248"/>
            </a:xfrm>
            <a:prstGeom prst="triangle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5255537" y="3163774"/>
            <a:ext cx="324855" cy="2772800"/>
            <a:chOff x="1398513" y="3468730"/>
            <a:chExt cx="235203" cy="2007575"/>
          </a:xfrm>
        </p:grpSpPr>
        <p:cxnSp>
          <p:nvCxnSpPr>
            <p:cNvPr id="33" name="直接连接符 32"/>
            <p:cNvCxnSpPr/>
            <p:nvPr/>
          </p:nvCxnSpPr>
          <p:spPr>
            <a:xfrm flipV="1">
              <a:off x="1485691" y="3507855"/>
              <a:ext cx="30424" cy="1968450"/>
            </a:xfrm>
            <a:prstGeom prst="line">
              <a:avLst/>
            </a:prstGeom>
            <a:ln w="15875" cap="rnd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等腰三角形 33"/>
            <p:cNvSpPr/>
            <p:nvPr/>
          </p:nvSpPr>
          <p:spPr>
            <a:xfrm flipV="1">
              <a:off x="1398513" y="3468730"/>
              <a:ext cx="235203" cy="78248"/>
            </a:xfrm>
            <a:prstGeom prst="triangle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0" name="矩形 49"/>
          <p:cNvSpPr/>
          <p:nvPr/>
        </p:nvSpPr>
        <p:spPr>
          <a:xfrm flipH="1">
            <a:off x="4804725" y="5740819"/>
            <a:ext cx="2361544" cy="434020"/>
          </a:xfrm>
          <a:prstGeom prst="rect">
            <a:avLst/>
          </a:prstGeom>
          <a:solidFill>
            <a:srgbClr val="3E3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矩形 51"/>
          <p:cNvSpPr/>
          <p:nvPr/>
        </p:nvSpPr>
        <p:spPr>
          <a:xfrm flipH="1">
            <a:off x="695400" y="5740819"/>
            <a:ext cx="2217640" cy="434020"/>
          </a:xfrm>
          <a:prstGeom prst="rect">
            <a:avLst/>
          </a:prstGeom>
          <a:solidFill>
            <a:srgbClr val="3E3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2" name="矩形 61"/>
          <p:cNvSpPr/>
          <p:nvPr/>
        </p:nvSpPr>
        <p:spPr>
          <a:xfrm flipH="1">
            <a:off x="7030349" y="5740819"/>
            <a:ext cx="2108216" cy="434020"/>
          </a:xfrm>
          <a:prstGeom prst="rect">
            <a:avLst/>
          </a:prstGeom>
          <a:solidFill>
            <a:srgbClr val="3E3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3" name="矩形 62"/>
          <p:cNvSpPr/>
          <p:nvPr/>
        </p:nvSpPr>
        <p:spPr>
          <a:xfrm flipH="1">
            <a:off x="2807050" y="5740819"/>
            <a:ext cx="2108216" cy="434020"/>
          </a:xfrm>
          <a:prstGeom prst="rect">
            <a:avLst/>
          </a:prstGeom>
          <a:solidFill>
            <a:srgbClr val="3E3E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64" name="组合 63"/>
          <p:cNvGrpSpPr/>
          <p:nvPr/>
        </p:nvGrpSpPr>
        <p:grpSpPr>
          <a:xfrm>
            <a:off x="1161672" y="5745293"/>
            <a:ext cx="9622271" cy="400110"/>
            <a:chOff x="1215860" y="2917739"/>
            <a:chExt cx="6966760" cy="289689"/>
          </a:xfrm>
        </p:grpSpPr>
        <p:sp>
          <p:nvSpPr>
            <p:cNvPr id="65" name="TextBox 51"/>
            <p:cNvSpPr txBox="1"/>
            <p:nvPr/>
          </p:nvSpPr>
          <p:spPr>
            <a:xfrm>
              <a:off x="1215860" y="2917739"/>
              <a:ext cx="648072" cy="2896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5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TextBox 52"/>
            <p:cNvSpPr txBox="1"/>
            <p:nvPr/>
          </p:nvSpPr>
          <p:spPr>
            <a:xfrm>
              <a:off x="3743336" y="2917739"/>
              <a:ext cx="648072" cy="2896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7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TextBox 54"/>
            <p:cNvSpPr txBox="1"/>
            <p:nvPr/>
          </p:nvSpPr>
          <p:spPr>
            <a:xfrm>
              <a:off x="6270812" y="2917739"/>
              <a:ext cx="648072" cy="2896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9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TextBox 56"/>
            <p:cNvSpPr txBox="1"/>
            <p:nvPr/>
          </p:nvSpPr>
          <p:spPr>
            <a:xfrm>
              <a:off x="7534548" y="2917739"/>
              <a:ext cx="648072" cy="2896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20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TextBox 57"/>
            <p:cNvSpPr txBox="1"/>
            <p:nvPr/>
          </p:nvSpPr>
          <p:spPr>
            <a:xfrm>
              <a:off x="2479598" y="2917739"/>
              <a:ext cx="648072" cy="2896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6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TextBox 58"/>
            <p:cNvSpPr txBox="1"/>
            <p:nvPr/>
          </p:nvSpPr>
          <p:spPr>
            <a:xfrm>
              <a:off x="5007074" y="2917739"/>
              <a:ext cx="648072" cy="2896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2000" b="1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8</a:t>
              </a:r>
              <a:endParaRPr lang="zh-CN" altLang="en-US" sz="2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1" name="矩形 70"/>
          <p:cNvSpPr/>
          <p:nvPr/>
        </p:nvSpPr>
        <p:spPr>
          <a:xfrm flipH="1">
            <a:off x="4292137" y="5740819"/>
            <a:ext cx="197377" cy="435600"/>
          </a:xfrm>
          <a:prstGeom prst="rect">
            <a:avLst/>
          </a:prstGeom>
          <a:solidFill>
            <a:srgbClr val="9A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6" name="矩形 75"/>
          <p:cNvSpPr/>
          <p:nvPr/>
        </p:nvSpPr>
        <p:spPr>
          <a:xfrm>
            <a:off x="1143280" y="2032952"/>
            <a:ext cx="2251937" cy="510209"/>
          </a:xfrm>
          <a:prstGeom prst="rect">
            <a:avLst/>
          </a:prstGeom>
          <a:solidFill>
            <a:srgbClr val="5E5E5E">
              <a:alpha val="27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77" name="矩形 76"/>
          <p:cNvSpPr/>
          <p:nvPr/>
        </p:nvSpPr>
        <p:spPr>
          <a:xfrm>
            <a:off x="2854372" y="2032952"/>
            <a:ext cx="540845" cy="510209"/>
          </a:xfrm>
          <a:prstGeom prst="rect">
            <a:avLst/>
          </a:prstGeom>
          <a:solidFill>
            <a:srgbClr val="9A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78" name="Group 4"/>
          <p:cNvGrpSpPr>
            <a:grpSpLocks noChangeAspect="1"/>
          </p:cNvGrpSpPr>
          <p:nvPr/>
        </p:nvGrpSpPr>
        <p:grpSpPr bwMode="auto">
          <a:xfrm>
            <a:off x="2998200" y="2148021"/>
            <a:ext cx="278264" cy="280070"/>
            <a:chOff x="2541" y="2054"/>
            <a:chExt cx="308" cy="310"/>
          </a:xfrm>
        </p:grpSpPr>
        <p:sp>
          <p:nvSpPr>
            <p:cNvPr id="81" name="Freeform 5"/>
            <p:cNvSpPr>
              <a:spLocks/>
            </p:cNvSpPr>
            <p:nvPr/>
          </p:nvSpPr>
          <p:spPr bwMode="auto">
            <a:xfrm>
              <a:off x="2541" y="2054"/>
              <a:ext cx="308" cy="310"/>
            </a:xfrm>
            <a:custGeom>
              <a:avLst/>
              <a:gdLst>
                <a:gd name="T0" fmla="*/ 38 w 308"/>
                <a:gd name="T1" fmla="*/ 271 h 310"/>
                <a:gd name="T2" fmla="*/ 308 w 308"/>
                <a:gd name="T3" fmla="*/ 271 h 310"/>
                <a:gd name="T4" fmla="*/ 308 w 308"/>
                <a:gd name="T5" fmla="*/ 310 h 310"/>
                <a:gd name="T6" fmla="*/ 0 w 308"/>
                <a:gd name="T7" fmla="*/ 310 h 310"/>
                <a:gd name="T8" fmla="*/ 0 w 308"/>
                <a:gd name="T9" fmla="*/ 0 h 310"/>
                <a:gd name="T10" fmla="*/ 38 w 308"/>
                <a:gd name="T11" fmla="*/ 0 h 310"/>
                <a:gd name="T12" fmla="*/ 38 w 308"/>
                <a:gd name="T13" fmla="*/ 271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310">
                  <a:moveTo>
                    <a:pt x="38" y="271"/>
                  </a:moveTo>
                  <a:lnTo>
                    <a:pt x="308" y="271"/>
                  </a:lnTo>
                  <a:lnTo>
                    <a:pt x="308" y="310"/>
                  </a:lnTo>
                  <a:lnTo>
                    <a:pt x="0" y="310"/>
                  </a:lnTo>
                  <a:lnTo>
                    <a:pt x="0" y="0"/>
                  </a:lnTo>
                  <a:lnTo>
                    <a:pt x="38" y="0"/>
                  </a:lnTo>
                  <a:lnTo>
                    <a:pt x="38" y="27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2" name="Freeform 6"/>
            <p:cNvSpPr>
              <a:spLocks/>
            </p:cNvSpPr>
            <p:nvPr/>
          </p:nvSpPr>
          <p:spPr bwMode="auto">
            <a:xfrm>
              <a:off x="2599" y="2112"/>
              <a:ext cx="250" cy="194"/>
            </a:xfrm>
            <a:custGeom>
              <a:avLst/>
              <a:gdLst>
                <a:gd name="T0" fmla="*/ 12 w 104"/>
                <a:gd name="T1" fmla="*/ 80 h 80"/>
                <a:gd name="T2" fmla="*/ 0 w 104"/>
                <a:gd name="T3" fmla="*/ 68 h 80"/>
                <a:gd name="T4" fmla="*/ 12 w 104"/>
                <a:gd name="T5" fmla="*/ 56 h 80"/>
                <a:gd name="T6" fmla="*/ 13 w 104"/>
                <a:gd name="T7" fmla="*/ 56 h 80"/>
                <a:gd name="T8" fmla="*/ 26 w 104"/>
                <a:gd name="T9" fmla="*/ 34 h 80"/>
                <a:gd name="T10" fmla="*/ 24 w 104"/>
                <a:gd name="T11" fmla="*/ 28 h 80"/>
                <a:gd name="T12" fmla="*/ 36 w 104"/>
                <a:gd name="T13" fmla="*/ 16 h 80"/>
                <a:gd name="T14" fmla="*/ 48 w 104"/>
                <a:gd name="T15" fmla="*/ 28 h 80"/>
                <a:gd name="T16" fmla="*/ 46 w 104"/>
                <a:gd name="T17" fmla="*/ 34 h 80"/>
                <a:gd name="T18" fmla="*/ 59 w 104"/>
                <a:gd name="T19" fmla="*/ 56 h 80"/>
                <a:gd name="T20" fmla="*/ 60 w 104"/>
                <a:gd name="T21" fmla="*/ 56 h 80"/>
                <a:gd name="T22" fmla="*/ 61 w 104"/>
                <a:gd name="T23" fmla="*/ 56 h 80"/>
                <a:gd name="T24" fmla="*/ 82 w 104"/>
                <a:gd name="T25" fmla="*/ 18 h 80"/>
                <a:gd name="T26" fmla="*/ 80 w 104"/>
                <a:gd name="T27" fmla="*/ 12 h 80"/>
                <a:gd name="T28" fmla="*/ 92 w 104"/>
                <a:gd name="T29" fmla="*/ 0 h 80"/>
                <a:gd name="T30" fmla="*/ 104 w 104"/>
                <a:gd name="T31" fmla="*/ 12 h 80"/>
                <a:gd name="T32" fmla="*/ 92 w 104"/>
                <a:gd name="T33" fmla="*/ 24 h 80"/>
                <a:gd name="T34" fmla="*/ 91 w 104"/>
                <a:gd name="T35" fmla="*/ 24 h 80"/>
                <a:gd name="T36" fmla="*/ 70 w 104"/>
                <a:gd name="T37" fmla="*/ 61 h 80"/>
                <a:gd name="T38" fmla="*/ 72 w 104"/>
                <a:gd name="T39" fmla="*/ 68 h 80"/>
                <a:gd name="T40" fmla="*/ 60 w 104"/>
                <a:gd name="T41" fmla="*/ 80 h 80"/>
                <a:gd name="T42" fmla="*/ 48 w 104"/>
                <a:gd name="T43" fmla="*/ 68 h 80"/>
                <a:gd name="T44" fmla="*/ 50 w 104"/>
                <a:gd name="T45" fmla="*/ 61 h 80"/>
                <a:gd name="T46" fmla="*/ 37 w 104"/>
                <a:gd name="T47" fmla="*/ 39 h 80"/>
                <a:gd name="T48" fmla="*/ 36 w 104"/>
                <a:gd name="T49" fmla="*/ 40 h 80"/>
                <a:gd name="T50" fmla="*/ 35 w 104"/>
                <a:gd name="T51" fmla="*/ 39 h 80"/>
                <a:gd name="T52" fmla="*/ 22 w 104"/>
                <a:gd name="T53" fmla="*/ 61 h 80"/>
                <a:gd name="T54" fmla="*/ 24 w 104"/>
                <a:gd name="T55" fmla="*/ 68 h 80"/>
                <a:gd name="T56" fmla="*/ 12 w 104"/>
                <a:gd name="T5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4" h="80">
                  <a:moveTo>
                    <a:pt x="12" y="80"/>
                  </a:moveTo>
                  <a:cubicBezTo>
                    <a:pt x="5" y="80"/>
                    <a:pt x="0" y="74"/>
                    <a:pt x="0" y="68"/>
                  </a:cubicBezTo>
                  <a:cubicBezTo>
                    <a:pt x="0" y="61"/>
                    <a:pt x="5" y="56"/>
                    <a:pt x="12" y="56"/>
                  </a:cubicBezTo>
                  <a:cubicBezTo>
                    <a:pt x="12" y="56"/>
                    <a:pt x="13" y="56"/>
                    <a:pt x="13" y="56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5" y="32"/>
                    <a:pt x="24" y="30"/>
                    <a:pt x="24" y="28"/>
                  </a:cubicBezTo>
                  <a:cubicBezTo>
                    <a:pt x="24" y="21"/>
                    <a:pt x="29" y="16"/>
                    <a:pt x="36" y="16"/>
                  </a:cubicBezTo>
                  <a:cubicBezTo>
                    <a:pt x="43" y="16"/>
                    <a:pt x="48" y="21"/>
                    <a:pt x="48" y="28"/>
                  </a:cubicBezTo>
                  <a:cubicBezTo>
                    <a:pt x="48" y="30"/>
                    <a:pt x="47" y="32"/>
                    <a:pt x="46" y="34"/>
                  </a:cubicBezTo>
                  <a:cubicBezTo>
                    <a:pt x="59" y="56"/>
                    <a:pt x="59" y="56"/>
                    <a:pt x="59" y="56"/>
                  </a:cubicBezTo>
                  <a:cubicBezTo>
                    <a:pt x="59" y="56"/>
                    <a:pt x="60" y="56"/>
                    <a:pt x="60" y="56"/>
                  </a:cubicBezTo>
                  <a:cubicBezTo>
                    <a:pt x="60" y="56"/>
                    <a:pt x="60" y="56"/>
                    <a:pt x="61" y="56"/>
                  </a:cubicBezTo>
                  <a:cubicBezTo>
                    <a:pt x="82" y="18"/>
                    <a:pt x="82" y="18"/>
                    <a:pt x="82" y="18"/>
                  </a:cubicBezTo>
                  <a:cubicBezTo>
                    <a:pt x="81" y="16"/>
                    <a:pt x="80" y="14"/>
                    <a:pt x="80" y="12"/>
                  </a:cubicBezTo>
                  <a:cubicBezTo>
                    <a:pt x="80" y="5"/>
                    <a:pt x="85" y="0"/>
                    <a:pt x="92" y="0"/>
                  </a:cubicBezTo>
                  <a:cubicBezTo>
                    <a:pt x="99" y="0"/>
                    <a:pt x="104" y="5"/>
                    <a:pt x="104" y="12"/>
                  </a:cubicBezTo>
                  <a:cubicBezTo>
                    <a:pt x="104" y="18"/>
                    <a:pt x="99" y="24"/>
                    <a:pt x="92" y="24"/>
                  </a:cubicBezTo>
                  <a:cubicBezTo>
                    <a:pt x="92" y="24"/>
                    <a:pt x="91" y="24"/>
                    <a:pt x="91" y="24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1" y="63"/>
                    <a:pt x="72" y="65"/>
                    <a:pt x="72" y="68"/>
                  </a:cubicBezTo>
                  <a:cubicBezTo>
                    <a:pt x="72" y="74"/>
                    <a:pt x="67" y="80"/>
                    <a:pt x="60" y="80"/>
                  </a:cubicBezTo>
                  <a:cubicBezTo>
                    <a:pt x="53" y="80"/>
                    <a:pt x="48" y="74"/>
                    <a:pt x="48" y="68"/>
                  </a:cubicBezTo>
                  <a:cubicBezTo>
                    <a:pt x="48" y="65"/>
                    <a:pt x="49" y="63"/>
                    <a:pt x="50" y="61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7" y="40"/>
                    <a:pt x="36" y="40"/>
                    <a:pt x="36" y="40"/>
                  </a:cubicBezTo>
                  <a:cubicBezTo>
                    <a:pt x="36" y="40"/>
                    <a:pt x="35" y="40"/>
                    <a:pt x="35" y="39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3" y="63"/>
                    <a:pt x="24" y="65"/>
                    <a:pt x="24" y="68"/>
                  </a:cubicBezTo>
                  <a:cubicBezTo>
                    <a:pt x="24" y="74"/>
                    <a:pt x="19" y="80"/>
                    <a:pt x="12" y="8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84" name="矩形 83"/>
          <p:cNvSpPr/>
          <p:nvPr/>
        </p:nvSpPr>
        <p:spPr>
          <a:xfrm>
            <a:off x="2253873" y="3141975"/>
            <a:ext cx="1835322" cy="415820"/>
          </a:xfrm>
          <a:prstGeom prst="rect">
            <a:avLst/>
          </a:prstGeom>
          <a:solidFill>
            <a:srgbClr val="5E5E5E">
              <a:alpha val="27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85" name="矩形 84"/>
          <p:cNvSpPr/>
          <p:nvPr/>
        </p:nvSpPr>
        <p:spPr>
          <a:xfrm>
            <a:off x="3648406" y="3141975"/>
            <a:ext cx="440789" cy="415820"/>
          </a:xfrm>
          <a:prstGeom prst="rect">
            <a:avLst/>
          </a:prstGeom>
          <a:solidFill>
            <a:srgbClr val="9A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86" name="Group 9"/>
          <p:cNvGrpSpPr>
            <a:grpSpLocks noChangeAspect="1"/>
          </p:cNvGrpSpPr>
          <p:nvPr/>
        </p:nvGrpSpPr>
        <p:grpSpPr bwMode="auto">
          <a:xfrm flipH="1">
            <a:off x="3743230" y="3260152"/>
            <a:ext cx="306503" cy="179466"/>
            <a:chOff x="2698" y="2096"/>
            <a:chExt cx="304" cy="178"/>
          </a:xfrm>
        </p:grpSpPr>
        <p:sp>
          <p:nvSpPr>
            <p:cNvPr id="88" name="AutoShape 8"/>
            <p:cNvSpPr>
              <a:spLocks noChangeAspect="1" noChangeArrowheads="1" noTextEdit="1"/>
            </p:cNvSpPr>
            <p:nvPr/>
          </p:nvSpPr>
          <p:spPr bwMode="auto">
            <a:xfrm>
              <a:off x="2698" y="2096"/>
              <a:ext cx="304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9" name="Freeform 10"/>
            <p:cNvSpPr>
              <a:spLocks/>
            </p:cNvSpPr>
            <p:nvPr/>
          </p:nvSpPr>
          <p:spPr bwMode="auto">
            <a:xfrm>
              <a:off x="2696" y="2096"/>
              <a:ext cx="308" cy="178"/>
            </a:xfrm>
            <a:custGeom>
              <a:avLst/>
              <a:gdLst>
                <a:gd name="T0" fmla="*/ 128 w 128"/>
                <a:gd name="T1" fmla="*/ 50 h 72"/>
                <a:gd name="T2" fmla="*/ 111 w 128"/>
                <a:gd name="T3" fmla="*/ 29 h 72"/>
                <a:gd name="T4" fmla="*/ 82 w 128"/>
                <a:gd name="T5" fmla="*/ 0 h 72"/>
                <a:gd name="T6" fmla="*/ 58 w 128"/>
                <a:gd name="T7" fmla="*/ 11 h 72"/>
                <a:gd name="T8" fmla="*/ 45 w 128"/>
                <a:gd name="T9" fmla="*/ 5 h 72"/>
                <a:gd name="T10" fmla="*/ 28 w 128"/>
                <a:gd name="T11" fmla="*/ 22 h 72"/>
                <a:gd name="T12" fmla="*/ 29 w 128"/>
                <a:gd name="T13" fmla="*/ 24 h 72"/>
                <a:gd name="T14" fmla="*/ 24 w 128"/>
                <a:gd name="T15" fmla="*/ 24 h 72"/>
                <a:gd name="T16" fmla="*/ 0 w 128"/>
                <a:gd name="T17" fmla="*/ 48 h 72"/>
                <a:gd name="T18" fmla="*/ 24 w 128"/>
                <a:gd name="T19" fmla="*/ 72 h 72"/>
                <a:gd name="T20" fmla="*/ 106 w 128"/>
                <a:gd name="T21" fmla="*/ 72 h 72"/>
                <a:gd name="T22" fmla="*/ 128 w 128"/>
                <a:gd name="T23" fmla="*/ 5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8" h="72">
                  <a:moveTo>
                    <a:pt x="128" y="50"/>
                  </a:moveTo>
                  <a:cubicBezTo>
                    <a:pt x="128" y="40"/>
                    <a:pt x="121" y="31"/>
                    <a:pt x="111" y="29"/>
                  </a:cubicBezTo>
                  <a:cubicBezTo>
                    <a:pt x="111" y="13"/>
                    <a:pt x="98" y="0"/>
                    <a:pt x="82" y="0"/>
                  </a:cubicBezTo>
                  <a:cubicBezTo>
                    <a:pt x="72" y="0"/>
                    <a:pt x="64" y="4"/>
                    <a:pt x="58" y="11"/>
                  </a:cubicBezTo>
                  <a:cubicBezTo>
                    <a:pt x="55" y="7"/>
                    <a:pt x="50" y="5"/>
                    <a:pt x="45" y="5"/>
                  </a:cubicBezTo>
                  <a:cubicBezTo>
                    <a:pt x="36" y="5"/>
                    <a:pt x="28" y="12"/>
                    <a:pt x="28" y="22"/>
                  </a:cubicBezTo>
                  <a:cubicBezTo>
                    <a:pt x="28" y="22"/>
                    <a:pt x="28" y="23"/>
                    <a:pt x="29" y="24"/>
                  </a:cubicBezTo>
                  <a:cubicBezTo>
                    <a:pt x="27" y="24"/>
                    <a:pt x="26" y="24"/>
                    <a:pt x="24" y="24"/>
                  </a:cubicBezTo>
                  <a:cubicBezTo>
                    <a:pt x="11" y="24"/>
                    <a:pt x="0" y="34"/>
                    <a:pt x="0" y="48"/>
                  </a:cubicBezTo>
                  <a:cubicBezTo>
                    <a:pt x="0" y="61"/>
                    <a:pt x="11" y="72"/>
                    <a:pt x="24" y="72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18" y="72"/>
                    <a:pt x="128" y="62"/>
                    <a:pt x="128" y="5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90" name="组合 89"/>
          <p:cNvGrpSpPr/>
          <p:nvPr/>
        </p:nvGrpSpPr>
        <p:grpSpPr>
          <a:xfrm>
            <a:off x="4214991" y="4492076"/>
            <a:ext cx="324855" cy="1248743"/>
            <a:chOff x="3725638" y="3462142"/>
            <a:chExt cx="235203" cy="904121"/>
          </a:xfrm>
        </p:grpSpPr>
        <p:cxnSp>
          <p:nvCxnSpPr>
            <p:cNvPr id="91" name="直接连接符 90"/>
            <p:cNvCxnSpPr>
              <a:stCxn id="71" idx="0"/>
            </p:cNvCxnSpPr>
            <p:nvPr/>
          </p:nvCxnSpPr>
          <p:spPr>
            <a:xfrm flipH="1" flipV="1">
              <a:off x="3848645" y="3508186"/>
              <a:ext cx="4301" cy="858077"/>
            </a:xfrm>
            <a:prstGeom prst="line">
              <a:avLst/>
            </a:prstGeom>
            <a:ln w="15875" cap="rnd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等腰三角形 91"/>
            <p:cNvSpPr/>
            <p:nvPr/>
          </p:nvSpPr>
          <p:spPr>
            <a:xfrm flipV="1">
              <a:off x="3725638" y="3462142"/>
              <a:ext cx="235203" cy="78248"/>
            </a:xfrm>
            <a:prstGeom prst="triangle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4" name="矩形 93"/>
          <p:cNvSpPr/>
          <p:nvPr/>
        </p:nvSpPr>
        <p:spPr>
          <a:xfrm>
            <a:off x="5069329" y="2586623"/>
            <a:ext cx="2657132" cy="510209"/>
          </a:xfrm>
          <a:prstGeom prst="rect">
            <a:avLst/>
          </a:prstGeom>
          <a:solidFill>
            <a:srgbClr val="5E5E5E">
              <a:alpha val="27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95" name="矩形 94"/>
          <p:cNvSpPr/>
          <p:nvPr/>
        </p:nvSpPr>
        <p:spPr>
          <a:xfrm>
            <a:off x="7185616" y="2586623"/>
            <a:ext cx="540845" cy="510209"/>
          </a:xfrm>
          <a:prstGeom prst="rect">
            <a:avLst/>
          </a:prstGeom>
          <a:solidFill>
            <a:srgbClr val="9A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" name="Freeform 14"/>
          <p:cNvSpPr>
            <a:spLocks/>
          </p:cNvSpPr>
          <p:nvPr/>
        </p:nvSpPr>
        <p:spPr bwMode="auto">
          <a:xfrm>
            <a:off x="7270975" y="2693235"/>
            <a:ext cx="347209" cy="296984"/>
          </a:xfrm>
          <a:custGeom>
            <a:avLst/>
            <a:gdLst>
              <a:gd name="T0" fmla="*/ 76 w 132"/>
              <a:gd name="T1" fmla="*/ 0 h 112"/>
              <a:gd name="T2" fmla="*/ 132 w 132"/>
              <a:gd name="T3" fmla="*/ 56 h 112"/>
              <a:gd name="T4" fmla="*/ 76 w 132"/>
              <a:gd name="T5" fmla="*/ 112 h 112"/>
              <a:gd name="T6" fmla="*/ 76 w 132"/>
              <a:gd name="T7" fmla="*/ 100 h 112"/>
              <a:gd name="T8" fmla="*/ 107 w 132"/>
              <a:gd name="T9" fmla="*/ 87 h 112"/>
              <a:gd name="T10" fmla="*/ 120 w 132"/>
              <a:gd name="T11" fmla="*/ 56 h 112"/>
              <a:gd name="T12" fmla="*/ 107 w 132"/>
              <a:gd name="T13" fmla="*/ 25 h 112"/>
              <a:gd name="T14" fmla="*/ 76 w 132"/>
              <a:gd name="T15" fmla="*/ 12 h 112"/>
              <a:gd name="T16" fmla="*/ 45 w 132"/>
              <a:gd name="T17" fmla="*/ 25 h 112"/>
              <a:gd name="T18" fmla="*/ 33 w 132"/>
              <a:gd name="T19" fmla="*/ 48 h 112"/>
              <a:gd name="T20" fmla="*/ 56 w 132"/>
              <a:gd name="T21" fmla="*/ 48 h 112"/>
              <a:gd name="T22" fmla="*/ 28 w 132"/>
              <a:gd name="T23" fmla="*/ 80 h 112"/>
              <a:gd name="T24" fmla="*/ 0 w 132"/>
              <a:gd name="T25" fmla="*/ 48 h 112"/>
              <a:gd name="T26" fmla="*/ 21 w 132"/>
              <a:gd name="T27" fmla="*/ 48 h 112"/>
              <a:gd name="T28" fmla="*/ 76 w 132"/>
              <a:gd name="T29" fmla="*/ 0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32" h="112">
                <a:moveTo>
                  <a:pt x="76" y="0"/>
                </a:moveTo>
                <a:cubicBezTo>
                  <a:pt x="107" y="0"/>
                  <a:pt x="132" y="25"/>
                  <a:pt x="132" y="56"/>
                </a:cubicBezTo>
                <a:cubicBezTo>
                  <a:pt x="132" y="87"/>
                  <a:pt x="107" y="112"/>
                  <a:pt x="76" y="112"/>
                </a:cubicBezTo>
                <a:cubicBezTo>
                  <a:pt x="76" y="100"/>
                  <a:pt x="76" y="100"/>
                  <a:pt x="76" y="100"/>
                </a:cubicBezTo>
                <a:cubicBezTo>
                  <a:pt x="88" y="100"/>
                  <a:pt x="99" y="95"/>
                  <a:pt x="107" y="87"/>
                </a:cubicBezTo>
                <a:cubicBezTo>
                  <a:pt x="115" y="79"/>
                  <a:pt x="120" y="68"/>
                  <a:pt x="120" y="56"/>
                </a:cubicBezTo>
                <a:cubicBezTo>
                  <a:pt x="120" y="44"/>
                  <a:pt x="115" y="33"/>
                  <a:pt x="107" y="25"/>
                </a:cubicBezTo>
                <a:cubicBezTo>
                  <a:pt x="99" y="17"/>
                  <a:pt x="88" y="12"/>
                  <a:pt x="76" y="12"/>
                </a:cubicBezTo>
                <a:cubicBezTo>
                  <a:pt x="64" y="12"/>
                  <a:pt x="53" y="17"/>
                  <a:pt x="45" y="25"/>
                </a:cubicBezTo>
                <a:cubicBezTo>
                  <a:pt x="38" y="31"/>
                  <a:pt x="34" y="39"/>
                  <a:pt x="33" y="48"/>
                </a:cubicBezTo>
                <a:cubicBezTo>
                  <a:pt x="56" y="48"/>
                  <a:pt x="56" y="48"/>
                  <a:pt x="56" y="48"/>
                </a:cubicBezTo>
                <a:cubicBezTo>
                  <a:pt x="28" y="80"/>
                  <a:pt x="28" y="80"/>
                  <a:pt x="28" y="80"/>
                </a:cubicBezTo>
                <a:cubicBezTo>
                  <a:pt x="0" y="48"/>
                  <a:pt x="0" y="48"/>
                  <a:pt x="0" y="48"/>
                </a:cubicBezTo>
                <a:cubicBezTo>
                  <a:pt x="21" y="48"/>
                  <a:pt x="21" y="48"/>
                  <a:pt x="21" y="48"/>
                </a:cubicBezTo>
                <a:cubicBezTo>
                  <a:pt x="24" y="21"/>
                  <a:pt x="48" y="0"/>
                  <a:pt x="76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99" name="Freeform 15"/>
          <p:cNvSpPr>
            <a:spLocks/>
          </p:cNvSpPr>
          <p:nvPr/>
        </p:nvSpPr>
        <p:spPr bwMode="auto">
          <a:xfrm>
            <a:off x="7448947" y="2788773"/>
            <a:ext cx="84073" cy="105909"/>
          </a:xfrm>
          <a:custGeom>
            <a:avLst/>
            <a:gdLst>
              <a:gd name="T0" fmla="*/ 77 w 77"/>
              <a:gd name="T1" fmla="*/ 58 h 97"/>
              <a:gd name="T2" fmla="*/ 77 w 77"/>
              <a:gd name="T3" fmla="*/ 97 h 97"/>
              <a:gd name="T4" fmla="*/ 0 w 77"/>
              <a:gd name="T5" fmla="*/ 97 h 97"/>
              <a:gd name="T6" fmla="*/ 0 w 77"/>
              <a:gd name="T7" fmla="*/ 0 h 97"/>
              <a:gd name="T8" fmla="*/ 39 w 77"/>
              <a:gd name="T9" fmla="*/ 0 h 97"/>
              <a:gd name="T10" fmla="*/ 39 w 77"/>
              <a:gd name="T11" fmla="*/ 58 h 97"/>
              <a:gd name="T12" fmla="*/ 77 w 77"/>
              <a:gd name="T13" fmla="*/ 58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7" h="97">
                <a:moveTo>
                  <a:pt x="77" y="58"/>
                </a:moveTo>
                <a:lnTo>
                  <a:pt x="77" y="97"/>
                </a:lnTo>
                <a:lnTo>
                  <a:pt x="0" y="97"/>
                </a:lnTo>
                <a:lnTo>
                  <a:pt x="0" y="0"/>
                </a:lnTo>
                <a:lnTo>
                  <a:pt x="39" y="0"/>
                </a:lnTo>
                <a:lnTo>
                  <a:pt x="39" y="58"/>
                </a:lnTo>
                <a:lnTo>
                  <a:pt x="77" y="5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01" name="矩形 100"/>
          <p:cNvSpPr/>
          <p:nvPr/>
        </p:nvSpPr>
        <p:spPr>
          <a:xfrm>
            <a:off x="8817617" y="1566780"/>
            <a:ext cx="2251937" cy="510209"/>
          </a:xfrm>
          <a:prstGeom prst="rect">
            <a:avLst/>
          </a:prstGeom>
          <a:solidFill>
            <a:srgbClr val="5E5E5E">
              <a:alpha val="27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2" name="矩形 101"/>
          <p:cNvSpPr/>
          <p:nvPr/>
        </p:nvSpPr>
        <p:spPr>
          <a:xfrm>
            <a:off x="10528709" y="1566780"/>
            <a:ext cx="540845" cy="510209"/>
          </a:xfrm>
          <a:prstGeom prst="rect">
            <a:avLst/>
          </a:prstGeom>
          <a:solidFill>
            <a:srgbClr val="9A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" name="组合 8"/>
          <p:cNvGrpSpPr/>
          <p:nvPr/>
        </p:nvGrpSpPr>
        <p:grpSpPr>
          <a:xfrm>
            <a:off x="10663590" y="1716848"/>
            <a:ext cx="258422" cy="210073"/>
            <a:chOff x="10663590" y="1738677"/>
            <a:chExt cx="258422" cy="210073"/>
          </a:xfrm>
        </p:grpSpPr>
        <p:sp>
          <p:nvSpPr>
            <p:cNvPr id="105" name="Rectangle 19"/>
            <p:cNvSpPr>
              <a:spLocks noChangeArrowheads="1"/>
            </p:cNvSpPr>
            <p:nvPr/>
          </p:nvSpPr>
          <p:spPr bwMode="auto">
            <a:xfrm>
              <a:off x="10663590" y="1917073"/>
              <a:ext cx="258422" cy="316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6" name="Rectangle 20"/>
            <p:cNvSpPr>
              <a:spLocks noChangeArrowheads="1"/>
            </p:cNvSpPr>
            <p:nvPr/>
          </p:nvSpPr>
          <p:spPr bwMode="auto">
            <a:xfrm>
              <a:off x="10696101" y="1852050"/>
              <a:ext cx="31677" cy="4835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7" name="Rectangle 21"/>
            <p:cNvSpPr>
              <a:spLocks noChangeArrowheads="1"/>
            </p:cNvSpPr>
            <p:nvPr/>
          </p:nvSpPr>
          <p:spPr bwMode="auto">
            <a:xfrm>
              <a:off x="10744450" y="1787028"/>
              <a:ext cx="31677" cy="11337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8" name="Rectangle 22"/>
            <p:cNvSpPr>
              <a:spLocks noChangeArrowheads="1"/>
            </p:cNvSpPr>
            <p:nvPr/>
          </p:nvSpPr>
          <p:spPr bwMode="auto">
            <a:xfrm>
              <a:off x="10792801" y="1835377"/>
              <a:ext cx="31677" cy="6502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09" name="Rectangle 23"/>
            <p:cNvSpPr>
              <a:spLocks noChangeArrowheads="1"/>
            </p:cNvSpPr>
            <p:nvPr/>
          </p:nvSpPr>
          <p:spPr bwMode="auto">
            <a:xfrm>
              <a:off x="10841152" y="1738677"/>
              <a:ext cx="32511" cy="1617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</p:grpSp>
      <p:sp>
        <p:nvSpPr>
          <p:cNvPr id="111" name="矩形 110"/>
          <p:cNvSpPr/>
          <p:nvPr/>
        </p:nvSpPr>
        <p:spPr>
          <a:xfrm>
            <a:off x="3974123" y="4031187"/>
            <a:ext cx="1815345" cy="415820"/>
          </a:xfrm>
          <a:prstGeom prst="rect">
            <a:avLst/>
          </a:prstGeom>
          <a:solidFill>
            <a:srgbClr val="5E5E5E">
              <a:alpha val="27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12" name="矩形 111"/>
          <p:cNvSpPr/>
          <p:nvPr/>
        </p:nvSpPr>
        <p:spPr>
          <a:xfrm>
            <a:off x="5348679" y="4031187"/>
            <a:ext cx="440789" cy="415820"/>
          </a:xfrm>
          <a:prstGeom prst="rect">
            <a:avLst/>
          </a:prstGeom>
          <a:solidFill>
            <a:srgbClr val="9A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4" name="AutoShape 25"/>
          <p:cNvSpPr>
            <a:spLocks noChangeAspect="1" noChangeArrowheads="1" noTextEdit="1"/>
          </p:cNvSpPr>
          <p:nvPr/>
        </p:nvSpPr>
        <p:spPr bwMode="auto">
          <a:xfrm>
            <a:off x="5511984" y="4170117"/>
            <a:ext cx="184648" cy="171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115" name="Freeform 27"/>
          <p:cNvSpPr>
            <a:spLocks/>
          </p:cNvSpPr>
          <p:nvPr/>
        </p:nvSpPr>
        <p:spPr bwMode="auto">
          <a:xfrm>
            <a:off x="5511984" y="4171301"/>
            <a:ext cx="183465" cy="171629"/>
          </a:xfrm>
          <a:custGeom>
            <a:avLst/>
            <a:gdLst>
              <a:gd name="T0" fmla="*/ 64 w 128"/>
              <a:gd name="T1" fmla="*/ 0 h 120"/>
              <a:gd name="T2" fmla="*/ 128 w 128"/>
              <a:gd name="T3" fmla="*/ 52 h 120"/>
              <a:gd name="T4" fmla="*/ 64 w 128"/>
              <a:gd name="T5" fmla="*/ 104 h 120"/>
              <a:gd name="T6" fmla="*/ 54 w 128"/>
              <a:gd name="T7" fmla="*/ 103 h 120"/>
              <a:gd name="T8" fmla="*/ 8 w 128"/>
              <a:gd name="T9" fmla="*/ 120 h 120"/>
              <a:gd name="T10" fmla="*/ 8 w 128"/>
              <a:gd name="T11" fmla="*/ 117 h 120"/>
              <a:gd name="T12" fmla="*/ 24 w 128"/>
              <a:gd name="T13" fmla="*/ 96 h 120"/>
              <a:gd name="T14" fmla="*/ 24 w 128"/>
              <a:gd name="T15" fmla="*/ 92 h 120"/>
              <a:gd name="T16" fmla="*/ 0 w 128"/>
              <a:gd name="T17" fmla="*/ 52 h 120"/>
              <a:gd name="T18" fmla="*/ 64 w 128"/>
              <a:gd name="T19" fmla="*/ 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8" h="120">
                <a:moveTo>
                  <a:pt x="64" y="0"/>
                </a:moveTo>
                <a:cubicBezTo>
                  <a:pt x="99" y="0"/>
                  <a:pt x="128" y="23"/>
                  <a:pt x="128" y="52"/>
                </a:cubicBezTo>
                <a:cubicBezTo>
                  <a:pt x="128" y="81"/>
                  <a:pt x="99" y="104"/>
                  <a:pt x="64" y="104"/>
                </a:cubicBezTo>
                <a:cubicBezTo>
                  <a:pt x="61" y="104"/>
                  <a:pt x="57" y="104"/>
                  <a:pt x="54" y="103"/>
                </a:cubicBezTo>
                <a:cubicBezTo>
                  <a:pt x="40" y="117"/>
                  <a:pt x="24" y="120"/>
                  <a:pt x="8" y="120"/>
                </a:cubicBezTo>
                <a:cubicBezTo>
                  <a:pt x="8" y="117"/>
                  <a:pt x="8" y="117"/>
                  <a:pt x="8" y="117"/>
                </a:cubicBezTo>
                <a:cubicBezTo>
                  <a:pt x="17" y="112"/>
                  <a:pt x="24" y="105"/>
                  <a:pt x="24" y="96"/>
                </a:cubicBezTo>
                <a:cubicBezTo>
                  <a:pt x="24" y="95"/>
                  <a:pt x="24" y="94"/>
                  <a:pt x="24" y="92"/>
                </a:cubicBezTo>
                <a:cubicBezTo>
                  <a:pt x="9" y="83"/>
                  <a:pt x="0" y="68"/>
                  <a:pt x="0" y="52"/>
                </a:cubicBezTo>
                <a:cubicBezTo>
                  <a:pt x="0" y="23"/>
                  <a:pt x="29" y="0"/>
                  <a:pt x="64" y="0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lt1"/>
              </a:solidFill>
            </a:endParaRPr>
          </a:p>
        </p:txBody>
      </p:sp>
      <p:sp>
        <p:nvSpPr>
          <p:cNvPr id="117" name="矩形 116"/>
          <p:cNvSpPr/>
          <p:nvPr/>
        </p:nvSpPr>
        <p:spPr>
          <a:xfrm>
            <a:off x="7186897" y="3487878"/>
            <a:ext cx="3092240" cy="415820"/>
          </a:xfrm>
          <a:prstGeom prst="rect">
            <a:avLst/>
          </a:prstGeom>
          <a:solidFill>
            <a:srgbClr val="5E5E5E">
              <a:alpha val="27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9838349" y="3487878"/>
            <a:ext cx="440789" cy="415820"/>
            <a:chOff x="9838349" y="3502628"/>
            <a:chExt cx="440789" cy="415820"/>
          </a:xfrm>
        </p:grpSpPr>
        <p:sp>
          <p:nvSpPr>
            <p:cNvPr id="118" name="矩形 117"/>
            <p:cNvSpPr/>
            <p:nvPr/>
          </p:nvSpPr>
          <p:spPr>
            <a:xfrm>
              <a:off x="9838349" y="3502628"/>
              <a:ext cx="440789" cy="415820"/>
            </a:xfrm>
            <a:prstGeom prst="rect">
              <a:avLst/>
            </a:prstGeom>
            <a:solidFill>
              <a:srgbClr val="9A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0" name="AutoShape 29"/>
            <p:cNvSpPr>
              <a:spLocks noChangeAspect="1" noChangeArrowheads="1" noTextEdit="1"/>
            </p:cNvSpPr>
            <p:nvPr/>
          </p:nvSpPr>
          <p:spPr bwMode="auto">
            <a:xfrm>
              <a:off x="9913247" y="3560126"/>
              <a:ext cx="284695" cy="2773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1" name="Freeform 31"/>
            <p:cNvSpPr>
              <a:spLocks/>
            </p:cNvSpPr>
            <p:nvPr/>
          </p:nvSpPr>
          <p:spPr bwMode="auto">
            <a:xfrm>
              <a:off x="9913247" y="3558302"/>
              <a:ext cx="284695" cy="283782"/>
            </a:xfrm>
            <a:custGeom>
              <a:avLst/>
              <a:gdLst>
                <a:gd name="T0" fmla="*/ 124 w 129"/>
                <a:gd name="T1" fmla="*/ 109 h 129"/>
                <a:gd name="T2" fmla="*/ 94 w 129"/>
                <a:gd name="T3" fmla="*/ 83 h 129"/>
                <a:gd name="T4" fmla="*/ 85 w 129"/>
                <a:gd name="T5" fmla="*/ 79 h 129"/>
                <a:gd name="T6" fmla="*/ 96 w 129"/>
                <a:gd name="T7" fmla="*/ 48 h 129"/>
                <a:gd name="T8" fmla="*/ 48 w 129"/>
                <a:gd name="T9" fmla="*/ 0 h 129"/>
                <a:gd name="T10" fmla="*/ 0 w 129"/>
                <a:gd name="T11" fmla="*/ 48 h 129"/>
                <a:gd name="T12" fmla="*/ 48 w 129"/>
                <a:gd name="T13" fmla="*/ 96 h 129"/>
                <a:gd name="T14" fmla="*/ 79 w 129"/>
                <a:gd name="T15" fmla="*/ 85 h 129"/>
                <a:gd name="T16" fmla="*/ 83 w 129"/>
                <a:gd name="T17" fmla="*/ 94 h 129"/>
                <a:gd name="T18" fmla="*/ 109 w 129"/>
                <a:gd name="T19" fmla="*/ 124 h 129"/>
                <a:gd name="T20" fmla="*/ 125 w 129"/>
                <a:gd name="T21" fmla="*/ 125 h 129"/>
                <a:gd name="T22" fmla="*/ 124 w 129"/>
                <a:gd name="T23" fmla="*/ 10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9" h="129">
                  <a:moveTo>
                    <a:pt x="124" y="109"/>
                  </a:moveTo>
                  <a:cubicBezTo>
                    <a:pt x="94" y="83"/>
                    <a:pt x="94" y="83"/>
                    <a:pt x="94" y="83"/>
                  </a:cubicBezTo>
                  <a:cubicBezTo>
                    <a:pt x="91" y="80"/>
                    <a:pt x="87" y="79"/>
                    <a:pt x="85" y="79"/>
                  </a:cubicBezTo>
                  <a:cubicBezTo>
                    <a:pt x="92" y="71"/>
                    <a:pt x="96" y="60"/>
                    <a:pt x="96" y="48"/>
                  </a:cubicBezTo>
                  <a:cubicBezTo>
                    <a:pt x="96" y="21"/>
                    <a:pt x="75" y="0"/>
                    <a:pt x="48" y="0"/>
                  </a:cubicBezTo>
                  <a:cubicBezTo>
                    <a:pt x="21" y="0"/>
                    <a:pt x="0" y="21"/>
                    <a:pt x="0" y="48"/>
                  </a:cubicBezTo>
                  <a:cubicBezTo>
                    <a:pt x="0" y="75"/>
                    <a:pt x="21" y="96"/>
                    <a:pt x="48" y="96"/>
                  </a:cubicBezTo>
                  <a:cubicBezTo>
                    <a:pt x="60" y="96"/>
                    <a:pt x="71" y="92"/>
                    <a:pt x="79" y="85"/>
                  </a:cubicBezTo>
                  <a:cubicBezTo>
                    <a:pt x="79" y="87"/>
                    <a:pt x="80" y="91"/>
                    <a:pt x="83" y="94"/>
                  </a:cubicBezTo>
                  <a:cubicBezTo>
                    <a:pt x="109" y="124"/>
                    <a:pt x="109" y="124"/>
                    <a:pt x="109" y="124"/>
                  </a:cubicBezTo>
                  <a:cubicBezTo>
                    <a:pt x="113" y="129"/>
                    <a:pt x="121" y="129"/>
                    <a:pt x="125" y="125"/>
                  </a:cubicBezTo>
                  <a:cubicBezTo>
                    <a:pt x="129" y="121"/>
                    <a:pt x="129" y="113"/>
                    <a:pt x="124" y="10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lt1"/>
                </a:solidFill>
              </a:endParaRPr>
            </a:p>
          </p:txBody>
        </p:sp>
        <p:sp>
          <p:nvSpPr>
            <p:cNvPr id="122" name="Oval 32"/>
            <p:cNvSpPr>
              <a:spLocks noChangeArrowheads="1"/>
            </p:cNvSpPr>
            <p:nvPr/>
          </p:nvSpPr>
          <p:spPr bwMode="auto">
            <a:xfrm>
              <a:off x="9948834" y="3592976"/>
              <a:ext cx="140523" cy="141434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grpSp>
        <p:nvGrpSpPr>
          <p:cNvPr id="126" name="组合 125"/>
          <p:cNvGrpSpPr/>
          <p:nvPr/>
        </p:nvGrpSpPr>
        <p:grpSpPr>
          <a:xfrm>
            <a:off x="2361740" y="3599078"/>
            <a:ext cx="324855" cy="2096987"/>
            <a:chOff x="3725638" y="3462142"/>
            <a:chExt cx="235203" cy="1518270"/>
          </a:xfrm>
        </p:grpSpPr>
        <p:cxnSp>
          <p:nvCxnSpPr>
            <p:cNvPr id="127" name="直接连接符 126"/>
            <p:cNvCxnSpPr/>
            <p:nvPr/>
          </p:nvCxnSpPr>
          <p:spPr>
            <a:xfrm flipH="1" flipV="1">
              <a:off x="3843240" y="3501269"/>
              <a:ext cx="16042" cy="1479143"/>
            </a:xfrm>
            <a:prstGeom prst="line">
              <a:avLst/>
            </a:prstGeom>
            <a:ln w="15875" cap="rnd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等腰三角形 127"/>
            <p:cNvSpPr/>
            <p:nvPr/>
          </p:nvSpPr>
          <p:spPr>
            <a:xfrm flipV="1">
              <a:off x="3725638" y="3462142"/>
              <a:ext cx="235203" cy="78248"/>
            </a:xfrm>
            <a:prstGeom prst="triangle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29" name="组合 128"/>
          <p:cNvGrpSpPr/>
          <p:nvPr/>
        </p:nvGrpSpPr>
        <p:grpSpPr>
          <a:xfrm>
            <a:off x="2008664" y="5394111"/>
            <a:ext cx="229896" cy="296534"/>
            <a:chOff x="5232536" y="267494"/>
            <a:chExt cx="390844" cy="504134"/>
          </a:xfrm>
        </p:grpSpPr>
        <p:sp>
          <p:nvSpPr>
            <p:cNvPr id="130" name="圆角矩形 129"/>
            <p:cNvSpPr/>
            <p:nvPr/>
          </p:nvSpPr>
          <p:spPr>
            <a:xfrm>
              <a:off x="5232536" y="267494"/>
              <a:ext cx="390844" cy="404217"/>
            </a:xfrm>
            <a:prstGeom prst="roundRect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1" name="等腰三角形 130"/>
            <p:cNvSpPr/>
            <p:nvPr/>
          </p:nvSpPr>
          <p:spPr>
            <a:xfrm flipV="1">
              <a:off x="5297845" y="693380"/>
              <a:ext cx="235203" cy="78248"/>
            </a:xfrm>
            <a:prstGeom prst="triangle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2" name="椭圆 131"/>
            <p:cNvSpPr/>
            <p:nvPr/>
          </p:nvSpPr>
          <p:spPr>
            <a:xfrm>
              <a:off x="5361914" y="403558"/>
              <a:ext cx="132088" cy="132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3" name="组合 132"/>
          <p:cNvGrpSpPr/>
          <p:nvPr/>
        </p:nvGrpSpPr>
        <p:grpSpPr>
          <a:xfrm>
            <a:off x="2722562" y="5394111"/>
            <a:ext cx="229896" cy="296534"/>
            <a:chOff x="5232536" y="267494"/>
            <a:chExt cx="390844" cy="504134"/>
          </a:xfrm>
        </p:grpSpPr>
        <p:sp>
          <p:nvSpPr>
            <p:cNvPr id="134" name="圆角矩形 133"/>
            <p:cNvSpPr/>
            <p:nvPr/>
          </p:nvSpPr>
          <p:spPr>
            <a:xfrm>
              <a:off x="5232536" y="267494"/>
              <a:ext cx="390844" cy="404217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5" name="等腰三角形 134"/>
            <p:cNvSpPr/>
            <p:nvPr/>
          </p:nvSpPr>
          <p:spPr>
            <a:xfrm flipV="1">
              <a:off x="5297845" y="693380"/>
              <a:ext cx="235203" cy="78248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6" name="椭圆 135"/>
            <p:cNvSpPr/>
            <p:nvPr/>
          </p:nvSpPr>
          <p:spPr>
            <a:xfrm>
              <a:off x="5361914" y="403558"/>
              <a:ext cx="132088" cy="132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37" name="组合 136"/>
          <p:cNvGrpSpPr/>
          <p:nvPr/>
        </p:nvGrpSpPr>
        <p:grpSpPr>
          <a:xfrm>
            <a:off x="3736508" y="5377022"/>
            <a:ext cx="229896" cy="296534"/>
            <a:chOff x="5232536" y="267494"/>
            <a:chExt cx="390844" cy="504134"/>
          </a:xfrm>
        </p:grpSpPr>
        <p:sp>
          <p:nvSpPr>
            <p:cNvPr id="138" name="圆角矩形 137"/>
            <p:cNvSpPr/>
            <p:nvPr/>
          </p:nvSpPr>
          <p:spPr>
            <a:xfrm>
              <a:off x="5232536" y="267494"/>
              <a:ext cx="390844" cy="404217"/>
            </a:xfrm>
            <a:prstGeom prst="roundRect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39" name="等腰三角形 138"/>
            <p:cNvSpPr/>
            <p:nvPr/>
          </p:nvSpPr>
          <p:spPr>
            <a:xfrm flipV="1">
              <a:off x="5297845" y="693380"/>
              <a:ext cx="235203" cy="78248"/>
            </a:xfrm>
            <a:prstGeom prst="triangle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0" name="椭圆 139"/>
            <p:cNvSpPr/>
            <p:nvPr/>
          </p:nvSpPr>
          <p:spPr>
            <a:xfrm>
              <a:off x="5361914" y="403558"/>
              <a:ext cx="132088" cy="132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4053505" y="5394111"/>
            <a:ext cx="229896" cy="296534"/>
            <a:chOff x="5232536" y="267494"/>
            <a:chExt cx="390844" cy="504134"/>
          </a:xfrm>
        </p:grpSpPr>
        <p:sp>
          <p:nvSpPr>
            <p:cNvPr id="142" name="圆角矩形 141"/>
            <p:cNvSpPr/>
            <p:nvPr/>
          </p:nvSpPr>
          <p:spPr>
            <a:xfrm>
              <a:off x="5232536" y="267494"/>
              <a:ext cx="390844" cy="404217"/>
            </a:xfrm>
            <a:prstGeom prst="roundRect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3" name="等腰三角形 142"/>
            <p:cNvSpPr/>
            <p:nvPr/>
          </p:nvSpPr>
          <p:spPr>
            <a:xfrm flipV="1">
              <a:off x="5297845" y="693380"/>
              <a:ext cx="235203" cy="78248"/>
            </a:xfrm>
            <a:prstGeom prst="triangle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4" name="椭圆 143"/>
            <p:cNvSpPr/>
            <p:nvPr/>
          </p:nvSpPr>
          <p:spPr>
            <a:xfrm>
              <a:off x="5361914" y="403558"/>
              <a:ext cx="132088" cy="132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5" name="组合 144"/>
          <p:cNvGrpSpPr/>
          <p:nvPr/>
        </p:nvGrpSpPr>
        <p:grpSpPr>
          <a:xfrm>
            <a:off x="5316064" y="5434731"/>
            <a:ext cx="229896" cy="296534"/>
            <a:chOff x="5232536" y="267494"/>
            <a:chExt cx="390844" cy="504134"/>
          </a:xfrm>
        </p:grpSpPr>
        <p:sp>
          <p:nvSpPr>
            <p:cNvPr id="146" name="圆角矩形 145"/>
            <p:cNvSpPr/>
            <p:nvPr/>
          </p:nvSpPr>
          <p:spPr>
            <a:xfrm>
              <a:off x="5232536" y="267494"/>
              <a:ext cx="390844" cy="404217"/>
            </a:xfrm>
            <a:prstGeom prst="roundRect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7" name="等腰三角形 146"/>
            <p:cNvSpPr/>
            <p:nvPr/>
          </p:nvSpPr>
          <p:spPr>
            <a:xfrm flipV="1">
              <a:off x="5297845" y="693380"/>
              <a:ext cx="235203" cy="78248"/>
            </a:xfrm>
            <a:prstGeom prst="triangle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48" name="椭圆 147"/>
            <p:cNvSpPr/>
            <p:nvPr/>
          </p:nvSpPr>
          <p:spPr>
            <a:xfrm>
              <a:off x="5361914" y="403558"/>
              <a:ext cx="132088" cy="132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49" name="组合 148"/>
          <p:cNvGrpSpPr/>
          <p:nvPr/>
        </p:nvGrpSpPr>
        <p:grpSpPr>
          <a:xfrm>
            <a:off x="6064838" y="5394111"/>
            <a:ext cx="229896" cy="296534"/>
            <a:chOff x="5232536" y="267494"/>
            <a:chExt cx="390844" cy="504134"/>
          </a:xfrm>
        </p:grpSpPr>
        <p:sp>
          <p:nvSpPr>
            <p:cNvPr id="150" name="圆角矩形 149"/>
            <p:cNvSpPr/>
            <p:nvPr/>
          </p:nvSpPr>
          <p:spPr>
            <a:xfrm>
              <a:off x="5232536" y="267494"/>
              <a:ext cx="390844" cy="404217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1" name="等腰三角形 150"/>
            <p:cNvSpPr/>
            <p:nvPr/>
          </p:nvSpPr>
          <p:spPr>
            <a:xfrm flipV="1">
              <a:off x="5297845" y="693380"/>
              <a:ext cx="235203" cy="78248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2" name="椭圆 151"/>
            <p:cNvSpPr/>
            <p:nvPr/>
          </p:nvSpPr>
          <p:spPr>
            <a:xfrm>
              <a:off x="5361914" y="403558"/>
              <a:ext cx="132088" cy="132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53" name="组合 152"/>
          <p:cNvGrpSpPr/>
          <p:nvPr/>
        </p:nvGrpSpPr>
        <p:grpSpPr>
          <a:xfrm>
            <a:off x="8977198" y="5394111"/>
            <a:ext cx="229896" cy="296534"/>
            <a:chOff x="5232536" y="267494"/>
            <a:chExt cx="390844" cy="504134"/>
          </a:xfrm>
        </p:grpSpPr>
        <p:sp>
          <p:nvSpPr>
            <p:cNvPr id="154" name="圆角矩形 153"/>
            <p:cNvSpPr/>
            <p:nvPr/>
          </p:nvSpPr>
          <p:spPr>
            <a:xfrm>
              <a:off x="5232536" y="267494"/>
              <a:ext cx="390844" cy="404217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5" name="等腰三角形 154"/>
            <p:cNvSpPr/>
            <p:nvPr/>
          </p:nvSpPr>
          <p:spPr>
            <a:xfrm flipV="1">
              <a:off x="5297845" y="693380"/>
              <a:ext cx="235203" cy="78248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6" name="椭圆 155"/>
            <p:cNvSpPr/>
            <p:nvPr/>
          </p:nvSpPr>
          <p:spPr>
            <a:xfrm>
              <a:off x="5361914" y="403558"/>
              <a:ext cx="132088" cy="132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57" name="组合 156"/>
          <p:cNvGrpSpPr/>
          <p:nvPr/>
        </p:nvGrpSpPr>
        <p:grpSpPr>
          <a:xfrm>
            <a:off x="9626414" y="5376655"/>
            <a:ext cx="229896" cy="296534"/>
            <a:chOff x="5232536" y="267494"/>
            <a:chExt cx="390844" cy="504134"/>
          </a:xfrm>
        </p:grpSpPr>
        <p:sp>
          <p:nvSpPr>
            <p:cNvPr id="158" name="圆角矩形 157"/>
            <p:cNvSpPr/>
            <p:nvPr/>
          </p:nvSpPr>
          <p:spPr>
            <a:xfrm>
              <a:off x="5232536" y="267494"/>
              <a:ext cx="390844" cy="404217"/>
            </a:xfrm>
            <a:prstGeom prst="round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59" name="等腰三角形 158"/>
            <p:cNvSpPr/>
            <p:nvPr/>
          </p:nvSpPr>
          <p:spPr>
            <a:xfrm flipV="1">
              <a:off x="5297845" y="693380"/>
              <a:ext cx="235203" cy="78248"/>
            </a:xfrm>
            <a:prstGeom prst="triangl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0" name="椭圆 159"/>
            <p:cNvSpPr/>
            <p:nvPr/>
          </p:nvSpPr>
          <p:spPr>
            <a:xfrm>
              <a:off x="5361914" y="403558"/>
              <a:ext cx="132088" cy="132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grpSp>
        <p:nvGrpSpPr>
          <p:cNvPr id="161" name="组合 160"/>
          <p:cNvGrpSpPr/>
          <p:nvPr/>
        </p:nvGrpSpPr>
        <p:grpSpPr>
          <a:xfrm>
            <a:off x="9195355" y="5394111"/>
            <a:ext cx="229896" cy="296534"/>
            <a:chOff x="5232536" y="267494"/>
            <a:chExt cx="390844" cy="504134"/>
          </a:xfrm>
        </p:grpSpPr>
        <p:sp>
          <p:nvSpPr>
            <p:cNvPr id="162" name="圆角矩形 161"/>
            <p:cNvSpPr/>
            <p:nvPr/>
          </p:nvSpPr>
          <p:spPr>
            <a:xfrm>
              <a:off x="5232536" y="267494"/>
              <a:ext cx="390844" cy="404217"/>
            </a:xfrm>
            <a:prstGeom prst="roundRect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3" name="等腰三角形 162"/>
            <p:cNvSpPr/>
            <p:nvPr/>
          </p:nvSpPr>
          <p:spPr>
            <a:xfrm flipV="1">
              <a:off x="5297845" y="693380"/>
              <a:ext cx="235203" cy="78248"/>
            </a:xfrm>
            <a:prstGeom prst="triangle">
              <a:avLst/>
            </a:prstGeom>
            <a:solidFill>
              <a:srgbClr val="6C6C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64" name="椭圆 163"/>
            <p:cNvSpPr/>
            <p:nvPr/>
          </p:nvSpPr>
          <p:spPr>
            <a:xfrm>
              <a:off x="5361914" y="403558"/>
              <a:ext cx="132088" cy="1320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65" name="矩形 1"/>
          <p:cNvSpPr>
            <a:spLocks noChangeArrowheads="1"/>
          </p:cNvSpPr>
          <p:nvPr/>
        </p:nvSpPr>
        <p:spPr bwMode="auto">
          <a:xfrm>
            <a:off x="1236032" y="2034141"/>
            <a:ext cx="2094494" cy="458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说明文本</a:t>
            </a:r>
            <a:endParaRPr lang="zh-CN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6" name="矩形 1"/>
          <p:cNvSpPr>
            <a:spLocks noChangeArrowheads="1"/>
          </p:cNvSpPr>
          <p:nvPr/>
        </p:nvSpPr>
        <p:spPr bwMode="auto">
          <a:xfrm>
            <a:off x="2365545" y="3138370"/>
            <a:ext cx="2094494" cy="377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说明文本</a:t>
            </a:r>
            <a:endParaRPr lang="zh-CN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7" name="矩形 1"/>
          <p:cNvSpPr>
            <a:spLocks noChangeArrowheads="1"/>
          </p:cNvSpPr>
          <p:nvPr/>
        </p:nvSpPr>
        <p:spPr bwMode="auto">
          <a:xfrm>
            <a:off x="4039713" y="4014186"/>
            <a:ext cx="2094494" cy="377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zh-CN" altLang="en-US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说明文本</a:t>
            </a:r>
            <a:endParaRPr lang="zh-CN" altLang="zh-CN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8" name="矩形 1"/>
          <p:cNvSpPr>
            <a:spLocks noChangeArrowheads="1"/>
          </p:cNvSpPr>
          <p:nvPr/>
        </p:nvSpPr>
        <p:spPr bwMode="auto">
          <a:xfrm>
            <a:off x="5181557" y="2587812"/>
            <a:ext cx="2094494" cy="458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说明文本</a:t>
            </a:r>
            <a:endParaRPr lang="zh-CN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9" name="矩形 1"/>
          <p:cNvSpPr>
            <a:spLocks noChangeArrowheads="1"/>
          </p:cNvSpPr>
          <p:nvPr/>
        </p:nvSpPr>
        <p:spPr bwMode="auto">
          <a:xfrm>
            <a:off x="7329575" y="3441873"/>
            <a:ext cx="2094494" cy="458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说明文本</a:t>
            </a:r>
            <a:endParaRPr lang="zh-CN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0" name="矩形 1"/>
          <p:cNvSpPr>
            <a:spLocks noChangeArrowheads="1"/>
          </p:cNvSpPr>
          <p:nvPr/>
        </p:nvSpPr>
        <p:spPr bwMode="auto">
          <a:xfrm>
            <a:off x="8817617" y="1567969"/>
            <a:ext cx="2094494" cy="458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>
              <a:lnSpc>
                <a:spcPct val="150000"/>
              </a:lnSpc>
            </a:pPr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说明文本</a:t>
            </a:r>
            <a:endParaRPr lang="zh-CN" altLang="zh-CN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720364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300">
        <p14:pan dir="r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XJ7y_Dkc0WYOaP4MHDC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zMAWd5DoUi0HxzMhoEb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oJVpPA0k0CHvn4VipVpIw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solidFill>
              <a:schemeClr val="bg1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0</TotalTime>
  <Words>832</Words>
  <Application>Microsoft Office PowerPoint</Application>
  <PresentationFormat>自定义</PresentationFormat>
  <Paragraphs>145</Paragraphs>
  <Slides>24</Slides>
  <Notes>0</Notes>
  <HiddenSlides>0</HiddenSlides>
  <MMClips>0</MMClips>
  <ScaleCrop>false</ScaleCrop>
  <HeadingPairs>
    <vt:vector size="6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4</vt:i4>
      </vt:variant>
    </vt:vector>
  </HeadingPairs>
  <TitlesOfParts>
    <vt:vector size="31" baseType="lpstr">
      <vt:lpstr>Arial</vt:lpstr>
      <vt:lpstr>宋体</vt:lpstr>
      <vt:lpstr>Calibri</vt:lpstr>
      <vt:lpstr>张海山锐谐体</vt:lpstr>
      <vt:lpstr>Meiryo UI</vt:lpstr>
      <vt:lpstr>微软雅黑</vt:lpstr>
      <vt:lpstr>Office 主题</vt:lpstr>
      <vt:lpstr>幻灯片 1</vt:lpstr>
      <vt:lpstr>幻灯片 2</vt:lpstr>
      <vt:lpstr>幻灯片 3</vt:lpstr>
      <vt:lpstr>幻灯片 4</vt:lpstr>
      <vt:lpstr>幻灯片 5</vt:lpstr>
      <vt:lpstr>幻灯片 6</vt:lpstr>
      <vt:lpstr>幻灯片 7</vt:lpstr>
      <vt:lpstr>幻灯片 8</vt:lpstr>
      <vt:lpstr>幻灯片 9</vt:lpstr>
      <vt:lpstr>幻灯片 10</vt:lpstr>
      <vt:lpstr>幻灯片 11</vt:lpstr>
      <vt:lpstr>幻灯片 12</vt:lpstr>
      <vt:lpstr>幻灯片 13</vt:lpstr>
      <vt:lpstr>幻灯片 14</vt:lpstr>
      <vt:lpstr>幻灯片 15</vt:lpstr>
      <vt:lpstr>幻灯片 16</vt:lpstr>
      <vt:lpstr>幻灯片 17</vt:lpstr>
      <vt:lpstr>幻灯片 18</vt:lpstr>
      <vt:lpstr>幻灯片 19</vt:lpstr>
      <vt:lpstr>幻灯片 20</vt:lpstr>
      <vt:lpstr>幻灯片 21</vt:lpstr>
      <vt:lpstr>幻灯片 22</vt:lpstr>
      <vt:lpstr>幻灯片 23</vt:lpstr>
      <vt:lpstr>幻灯片 2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goblin123dan</dc:creator>
  <cp:lastModifiedBy>微软用户</cp:lastModifiedBy>
  <cp:revision>131</cp:revision>
  <dcterms:created xsi:type="dcterms:W3CDTF">2014-10-07T12:14:33Z</dcterms:created>
  <dcterms:modified xsi:type="dcterms:W3CDTF">2015-09-29T00:39:39Z</dcterms:modified>
</cp:coreProperties>
</file>